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v" ContentType="video/x-ms-wmv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67" r:id="rId5"/>
  </p:sldMasterIdLst>
  <p:notesMasterIdLst>
    <p:notesMasterId r:id="rId34"/>
  </p:notesMasterIdLst>
  <p:sldIdLst>
    <p:sldId id="258" r:id="rId6"/>
    <p:sldId id="690" r:id="rId7"/>
    <p:sldId id="1826" r:id="rId8"/>
    <p:sldId id="1841" r:id="rId9"/>
    <p:sldId id="347" r:id="rId10"/>
    <p:sldId id="336" r:id="rId11"/>
    <p:sldId id="1837" r:id="rId12"/>
    <p:sldId id="300" r:id="rId13"/>
    <p:sldId id="1842" r:id="rId14"/>
    <p:sldId id="1859" r:id="rId15"/>
    <p:sldId id="1860" r:id="rId16"/>
    <p:sldId id="1820" r:id="rId17"/>
    <p:sldId id="1845" r:id="rId18"/>
    <p:sldId id="1844" r:id="rId19"/>
    <p:sldId id="1846" r:id="rId20"/>
    <p:sldId id="285" r:id="rId21"/>
    <p:sldId id="1847" r:id="rId22"/>
    <p:sldId id="263" r:id="rId23"/>
    <p:sldId id="281" r:id="rId24"/>
    <p:sldId id="1834" r:id="rId25"/>
    <p:sldId id="256" r:id="rId26"/>
    <p:sldId id="257" r:id="rId27"/>
    <p:sldId id="1848" r:id="rId28"/>
    <p:sldId id="1853" r:id="rId29"/>
    <p:sldId id="317" r:id="rId30"/>
    <p:sldId id="1850" r:id="rId31"/>
    <p:sldId id="1851" r:id="rId32"/>
    <p:sldId id="1857" r:id="rId3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FF"/>
    <a:srgbClr val="CC3399"/>
    <a:srgbClr val="006866"/>
    <a:srgbClr val="008E8C"/>
    <a:srgbClr val="3276C8"/>
    <a:srgbClr val="0B5569"/>
    <a:srgbClr val="6A3D9C"/>
    <a:srgbClr val="245C60"/>
    <a:srgbClr val="B87011"/>
    <a:srgbClr val="36BD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20" autoAdjust="0"/>
    <p:restoredTop sz="94665"/>
  </p:normalViewPr>
  <p:slideViewPr>
    <p:cSldViewPr snapToGrid="0" snapToObjects="1">
      <p:cViewPr varScale="1">
        <p:scale>
          <a:sx n="78" d="100"/>
          <a:sy n="78" d="100"/>
        </p:scale>
        <p:origin x="628" y="4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-416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crf.local\crf\IVUS\IVUS%20TRIALS\Current\Define%20PCI\SAS_Data\04MAR2019\vessel_level_04MAR20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DEFINE\04MAR2019\vessel_level_04MAR20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xVal>
            <c:numRef>
              <c:f>Figure1A!$D$47:$D$1525</c:f>
              <c:numCache>
                <c:formatCode>General</c:formatCode>
                <c:ptCount val="1479"/>
                <c:pt idx="0">
                  <c:v>1</c:v>
                </c:pt>
                <c:pt idx="1">
                  <c:v>2</c:v>
                </c:pt>
                <c:pt idx="3">
                  <c:v>1</c:v>
                </c:pt>
                <c:pt idx="4">
                  <c:v>2</c:v>
                </c:pt>
                <c:pt idx="6">
                  <c:v>1</c:v>
                </c:pt>
                <c:pt idx="7">
                  <c:v>2</c:v>
                </c:pt>
                <c:pt idx="9">
                  <c:v>1</c:v>
                </c:pt>
                <c:pt idx="10">
                  <c:v>2</c:v>
                </c:pt>
                <c:pt idx="12">
                  <c:v>1</c:v>
                </c:pt>
                <c:pt idx="13">
                  <c:v>2</c:v>
                </c:pt>
                <c:pt idx="15">
                  <c:v>1</c:v>
                </c:pt>
                <c:pt idx="16">
                  <c:v>2</c:v>
                </c:pt>
                <c:pt idx="18">
                  <c:v>1</c:v>
                </c:pt>
                <c:pt idx="19">
                  <c:v>2</c:v>
                </c:pt>
                <c:pt idx="21">
                  <c:v>1</c:v>
                </c:pt>
                <c:pt idx="22">
                  <c:v>2</c:v>
                </c:pt>
                <c:pt idx="24">
                  <c:v>1</c:v>
                </c:pt>
                <c:pt idx="25">
                  <c:v>2</c:v>
                </c:pt>
                <c:pt idx="27">
                  <c:v>1</c:v>
                </c:pt>
                <c:pt idx="28">
                  <c:v>2</c:v>
                </c:pt>
                <c:pt idx="30">
                  <c:v>1</c:v>
                </c:pt>
                <c:pt idx="31">
                  <c:v>2</c:v>
                </c:pt>
                <c:pt idx="33">
                  <c:v>1</c:v>
                </c:pt>
                <c:pt idx="34">
                  <c:v>2</c:v>
                </c:pt>
                <c:pt idx="36">
                  <c:v>1</c:v>
                </c:pt>
                <c:pt idx="37">
                  <c:v>2</c:v>
                </c:pt>
                <c:pt idx="39">
                  <c:v>1</c:v>
                </c:pt>
                <c:pt idx="40">
                  <c:v>2</c:v>
                </c:pt>
                <c:pt idx="42">
                  <c:v>1</c:v>
                </c:pt>
                <c:pt idx="43">
                  <c:v>2</c:v>
                </c:pt>
                <c:pt idx="45">
                  <c:v>1</c:v>
                </c:pt>
                <c:pt idx="46">
                  <c:v>2</c:v>
                </c:pt>
                <c:pt idx="48">
                  <c:v>1</c:v>
                </c:pt>
                <c:pt idx="49">
                  <c:v>2</c:v>
                </c:pt>
                <c:pt idx="51">
                  <c:v>1</c:v>
                </c:pt>
                <c:pt idx="52">
                  <c:v>2</c:v>
                </c:pt>
                <c:pt idx="54">
                  <c:v>1</c:v>
                </c:pt>
                <c:pt idx="55">
                  <c:v>2</c:v>
                </c:pt>
                <c:pt idx="57">
                  <c:v>1</c:v>
                </c:pt>
                <c:pt idx="58">
                  <c:v>2</c:v>
                </c:pt>
                <c:pt idx="60">
                  <c:v>1</c:v>
                </c:pt>
                <c:pt idx="61">
                  <c:v>2</c:v>
                </c:pt>
                <c:pt idx="63">
                  <c:v>1</c:v>
                </c:pt>
                <c:pt idx="64">
                  <c:v>2</c:v>
                </c:pt>
                <c:pt idx="66">
                  <c:v>1</c:v>
                </c:pt>
                <c:pt idx="67">
                  <c:v>2</c:v>
                </c:pt>
                <c:pt idx="69">
                  <c:v>1</c:v>
                </c:pt>
                <c:pt idx="70">
                  <c:v>2</c:v>
                </c:pt>
                <c:pt idx="72">
                  <c:v>1</c:v>
                </c:pt>
                <c:pt idx="73">
                  <c:v>2</c:v>
                </c:pt>
                <c:pt idx="75">
                  <c:v>1</c:v>
                </c:pt>
                <c:pt idx="76">
                  <c:v>2</c:v>
                </c:pt>
                <c:pt idx="78">
                  <c:v>1</c:v>
                </c:pt>
                <c:pt idx="79">
                  <c:v>2</c:v>
                </c:pt>
                <c:pt idx="81">
                  <c:v>1</c:v>
                </c:pt>
                <c:pt idx="82">
                  <c:v>2</c:v>
                </c:pt>
                <c:pt idx="84">
                  <c:v>1</c:v>
                </c:pt>
                <c:pt idx="85">
                  <c:v>2</c:v>
                </c:pt>
                <c:pt idx="87">
                  <c:v>1</c:v>
                </c:pt>
                <c:pt idx="88">
                  <c:v>2</c:v>
                </c:pt>
                <c:pt idx="90">
                  <c:v>1</c:v>
                </c:pt>
                <c:pt idx="91">
                  <c:v>2</c:v>
                </c:pt>
                <c:pt idx="93">
                  <c:v>1</c:v>
                </c:pt>
                <c:pt idx="94">
                  <c:v>2</c:v>
                </c:pt>
                <c:pt idx="96">
                  <c:v>1</c:v>
                </c:pt>
                <c:pt idx="97">
                  <c:v>2</c:v>
                </c:pt>
                <c:pt idx="99">
                  <c:v>1</c:v>
                </c:pt>
                <c:pt idx="100">
                  <c:v>2</c:v>
                </c:pt>
                <c:pt idx="102">
                  <c:v>1</c:v>
                </c:pt>
                <c:pt idx="103">
                  <c:v>2</c:v>
                </c:pt>
                <c:pt idx="105">
                  <c:v>1</c:v>
                </c:pt>
                <c:pt idx="106">
                  <c:v>2</c:v>
                </c:pt>
                <c:pt idx="108">
                  <c:v>1</c:v>
                </c:pt>
                <c:pt idx="109">
                  <c:v>2</c:v>
                </c:pt>
                <c:pt idx="111">
                  <c:v>1</c:v>
                </c:pt>
                <c:pt idx="112">
                  <c:v>2</c:v>
                </c:pt>
                <c:pt idx="114">
                  <c:v>1</c:v>
                </c:pt>
                <c:pt idx="115">
                  <c:v>2</c:v>
                </c:pt>
                <c:pt idx="117">
                  <c:v>1</c:v>
                </c:pt>
                <c:pt idx="118">
                  <c:v>2</c:v>
                </c:pt>
                <c:pt idx="120">
                  <c:v>1</c:v>
                </c:pt>
                <c:pt idx="121">
                  <c:v>2</c:v>
                </c:pt>
                <c:pt idx="123">
                  <c:v>1</c:v>
                </c:pt>
                <c:pt idx="124">
                  <c:v>2</c:v>
                </c:pt>
                <c:pt idx="126">
                  <c:v>1</c:v>
                </c:pt>
                <c:pt idx="127">
                  <c:v>2</c:v>
                </c:pt>
                <c:pt idx="129">
                  <c:v>1</c:v>
                </c:pt>
                <c:pt idx="130">
                  <c:v>2</c:v>
                </c:pt>
                <c:pt idx="132">
                  <c:v>1</c:v>
                </c:pt>
                <c:pt idx="133">
                  <c:v>2</c:v>
                </c:pt>
                <c:pt idx="135">
                  <c:v>1</c:v>
                </c:pt>
                <c:pt idx="136">
                  <c:v>2</c:v>
                </c:pt>
                <c:pt idx="138">
                  <c:v>1</c:v>
                </c:pt>
                <c:pt idx="139">
                  <c:v>2</c:v>
                </c:pt>
                <c:pt idx="141">
                  <c:v>1</c:v>
                </c:pt>
                <c:pt idx="142">
                  <c:v>2</c:v>
                </c:pt>
                <c:pt idx="144">
                  <c:v>1</c:v>
                </c:pt>
                <c:pt idx="145">
                  <c:v>2</c:v>
                </c:pt>
                <c:pt idx="147">
                  <c:v>1</c:v>
                </c:pt>
                <c:pt idx="148">
                  <c:v>2</c:v>
                </c:pt>
                <c:pt idx="150">
                  <c:v>1</c:v>
                </c:pt>
                <c:pt idx="151">
                  <c:v>2</c:v>
                </c:pt>
                <c:pt idx="153">
                  <c:v>1</c:v>
                </c:pt>
                <c:pt idx="154">
                  <c:v>2</c:v>
                </c:pt>
                <c:pt idx="156">
                  <c:v>1</c:v>
                </c:pt>
                <c:pt idx="157">
                  <c:v>2</c:v>
                </c:pt>
                <c:pt idx="159">
                  <c:v>1</c:v>
                </c:pt>
                <c:pt idx="160">
                  <c:v>2</c:v>
                </c:pt>
                <c:pt idx="162">
                  <c:v>1</c:v>
                </c:pt>
                <c:pt idx="163">
                  <c:v>2</c:v>
                </c:pt>
                <c:pt idx="165">
                  <c:v>1</c:v>
                </c:pt>
                <c:pt idx="166">
                  <c:v>2</c:v>
                </c:pt>
                <c:pt idx="168">
                  <c:v>1</c:v>
                </c:pt>
                <c:pt idx="169">
                  <c:v>2</c:v>
                </c:pt>
                <c:pt idx="171">
                  <c:v>1</c:v>
                </c:pt>
                <c:pt idx="172">
                  <c:v>2</c:v>
                </c:pt>
                <c:pt idx="174">
                  <c:v>1</c:v>
                </c:pt>
                <c:pt idx="175">
                  <c:v>2</c:v>
                </c:pt>
                <c:pt idx="177">
                  <c:v>1</c:v>
                </c:pt>
                <c:pt idx="178">
                  <c:v>2</c:v>
                </c:pt>
                <c:pt idx="180">
                  <c:v>1</c:v>
                </c:pt>
                <c:pt idx="181">
                  <c:v>2</c:v>
                </c:pt>
                <c:pt idx="183">
                  <c:v>1</c:v>
                </c:pt>
                <c:pt idx="184">
                  <c:v>2</c:v>
                </c:pt>
                <c:pt idx="186">
                  <c:v>1</c:v>
                </c:pt>
                <c:pt idx="187">
                  <c:v>2</c:v>
                </c:pt>
                <c:pt idx="189">
                  <c:v>1</c:v>
                </c:pt>
                <c:pt idx="190">
                  <c:v>2</c:v>
                </c:pt>
                <c:pt idx="192">
                  <c:v>1</c:v>
                </c:pt>
                <c:pt idx="193">
                  <c:v>2</c:v>
                </c:pt>
                <c:pt idx="195">
                  <c:v>1</c:v>
                </c:pt>
                <c:pt idx="196">
                  <c:v>2</c:v>
                </c:pt>
                <c:pt idx="198">
                  <c:v>1</c:v>
                </c:pt>
                <c:pt idx="199">
                  <c:v>2</c:v>
                </c:pt>
                <c:pt idx="201">
                  <c:v>1</c:v>
                </c:pt>
                <c:pt idx="202">
                  <c:v>2</c:v>
                </c:pt>
                <c:pt idx="204">
                  <c:v>1</c:v>
                </c:pt>
                <c:pt idx="205">
                  <c:v>2</c:v>
                </c:pt>
                <c:pt idx="207">
                  <c:v>1</c:v>
                </c:pt>
                <c:pt idx="208">
                  <c:v>2</c:v>
                </c:pt>
                <c:pt idx="210">
                  <c:v>1</c:v>
                </c:pt>
                <c:pt idx="211">
                  <c:v>2</c:v>
                </c:pt>
                <c:pt idx="213">
                  <c:v>1</c:v>
                </c:pt>
                <c:pt idx="214">
                  <c:v>2</c:v>
                </c:pt>
                <c:pt idx="216">
                  <c:v>1</c:v>
                </c:pt>
                <c:pt idx="217">
                  <c:v>2</c:v>
                </c:pt>
                <c:pt idx="219">
                  <c:v>1</c:v>
                </c:pt>
                <c:pt idx="220">
                  <c:v>2</c:v>
                </c:pt>
                <c:pt idx="222">
                  <c:v>1</c:v>
                </c:pt>
                <c:pt idx="223">
                  <c:v>2</c:v>
                </c:pt>
                <c:pt idx="225">
                  <c:v>1</c:v>
                </c:pt>
                <c:pt idx="226">
                  <c:v>2</c:v>
                </c:pt>
                <c:pt idx="228">
                  <c:v>1</c:v>
                </c:pt>
                <c:pt idx="229">
                  <c:v>2</c:v>
                </c:pt>
                <c:pt idx="231">
                  <c:v>1</c:v>
                </c:pt>
                <c:pt idx="232">
                  <c:v>2</c:v>
                </c:pt>
                <c:pt idx="234">
                  <c:v>1</c:v>
                </c:pt>
                <c:pt idx="235">
                  <c:v>2</c:v>
                </c:pt>
                <c:pt idx="237">
                  <c:v>1</c:v>
                </c:pt>
                <c:pt idx="238">
                  <c:v>2</c:v>
                </c:pt>
                <c:pt idx="240">
                  <c:v>1</c:v>
                </c:pt>
                <c:pt idx="241">
                  <c:v>2</c:v>
                </c:pt>
                <c:pt idx="243">
                  <c:v>1</c:v>
                </c:pt>
                <c:pt idx="244">
                  <c:v>2</c:v>
                </c:pt>
                <c:pt idx="246">
                  <c:v>1</c:v>
                </c:pt>
                <c:pt idx="247">
                  <c:v>2</c:v>
                </c:pt>
                <c:pt idx="249">
                  <c:v>1</c:v>
                </c:pt>
                <c:pt idx="250">
                  <c:v>2</c:v>
                </c:pt>
                <c:pt idx="252">
                  <c:v>1</c:v>
                </c:pt>
                <c:pt idx="253">
                  <c:v>2</c:v>
                </c:pt>
                <c:pt idx="255">
                  <c:v>1</c:v>
                </c:pt>
                <c:pt idx="256">
                  <c:v>2</c:v>
                </c:pt>
                <c:pt idx="258">
                  <c:v>1</c:v>
                </c:pt>
                <c:pt idx="259">
                  <c:v>2</c:v>
                </c:pt>
                <c:pt idx="261">
                  <c:v>1</c:v>
                </c:pt>
                <c:pt idx="262">
                  <c:v>2</c:v>
                </c:pt>
                <c:pt idx="264">
                  <c:v>1</c:v>
                </c:pt>
                <c:pt idx="265">
                  <c:v>2</c:v>
                </c:pt>
                <c:pt idx="267">
                  <c:v>1</c:v>
                </c:pt>
                <c:pt idx="268">
                  <c:v>2</c:v>
                </c:pt>
                <c:pt idx="270">
                  <c:v>1</c:v>
                </c:pt>
                <c:pt idx="271">
                  <c:v>2</c:v>
                </c:pt>
                <c:pt idx="273">
                  <c:v>1</c:v>
                </c:pt>
                <c:pt idx="274">
                  <c:v>2</c:v>
                </c:pt>
                <c:pt idx="276">
                  <c:v>1</c:v>
                </c:pt>
                <c:pt idx="277">
                  <c:v>2</c:v>
                </c:pt>
                <c:pt idx="279">
                  <c:v>1</c:v>
                </c:pt>
                <c:pt idx="280">
                  <c:v>2</c:v>
                </c:pt>
                <c:pt idx="282">
                  <c:v>1</c:v>
                </c:pt>
                <c:pt idx="283">
                  <c:v>2</c:v>
                </c:pt>
                <c:pt idx="285">
                  <c:v>1</c:v>
                </c:pt>
                <c:pt idx="286">
                  <c:v>2</c:v>
                </c:pt>
                <c:pt idx="288">
                  <c:v>1</c:v>
                </c:pt>
                <c:pt idx="289">
                  <c:v>2</c:v>
                </c:pt>
                <c:pt idx="291">
                  <c:v>1</c:v>
                </c:pt>
                <c:pt idx="292">
                  <c:v>2</c:v>
                </c:pt>
                <c:pt idx="294">
                  <c:v>1</c:v>
                </c:pt>
                <c:pt idx="295">
                  <c:v>2</c:v>
                </c:pt>
                <c:pt idx="297">
                  <c:v>1</c:v>
                </c:pt>
                <c:pt idx="298">
                  <c:v>2</c:v>
                </c:pt>
                <c:pt idx="300">
                  <c:v>1</c:v>
                </c:pt>
                <c:pt idx="301">
                  <c:v>2</c:v>
                </c:pt>
                <c:pt idx="303">
                  <c:v>1</c:v>
                </c:pt>
                <c:pt idx="304">
                  <c:v>2</c:v>
                </c:pt>
                <c:pt idx="306">
                  <c:v>1</c:v>
                </c:pt>
                <c:pt idx="307">
                  <c:v>2</c:v>
                </c:pt>
                <c:pt idx="309">
                  <c:v>1</c:v>
                </c:pt>
                <c:pt idx="310">
                  <c:v>2</c:v>
                </c:pt>
                <c:pt idx="312">
                  <c:v>1</c:v>
                </c:pt>
                <c:pt idx="313">
                  <c:v>2</c:v>
                </c:pt>
                <c:pt idx="315">
                  <c:v>1</c:v>
                </c:pt>
                <c:pt idx="316">
                  <c:v>2</c:v>
                </c:pt>
                <c:pt idx="318">
                  <c:v>1</c:v>
                </c:pt>
                <c:pt idx="319">
                  <c:v>2</c:v>
                </c:pt>
                <c:pt idx="321">
                  <c:v>1</c:v>
                </c:pt>
                <c:pt idx="322">
                  <c:v>2</c:v>
                </c:pt>
                <c:pt idx="324">
                  <c:v>1</c:v>
                </c:pt>
                <c:pt idx="325">
                  <c:v>2</c:v>
                </c:pt>
                <c:pt idx="327">
                  <c:v>1</c:v>
                </c:pt>
                <c:pt idx="328">
                  <c:v>2</c:v>
                </c:pt>
                <c:pt idx="330">
                  <c:v>1</c:v>
                </c:pt>
                <c:pt idx="331">
                  <c:v>2</c:v>
                </c:pt>
                <c:pt idx="333">
                  <c:v>1</c:v>
                </c:pt>
                <c:pt idx="334">
                  <c:v>2</c:v>
                </c:pt>
                <c:pt idx="336">
                  <c:v>1</c:v>
                </c:pt>
                <c:pt idx="337">
                  <c:v>2</c:v>
                </c:pt>
                <c:pt idx="339">
                  <c:v>1</c:v>
                </c:pt>
                <c:pt idx="340">
                  <c:v>2</c:v>
                </c:pt>
                <c:pt idx="342">
                  <c:v>1</c:v>
                </c:pt>
                <c:pt idx="343">
                  <c:v>2</c:v>
                </c:pt>
                <c:pt idx="345">
                  <c:v>1</c:v>
                </c:pt>
                <c:pt idx="346">
                  <c:v>2</c:v>
                </c:pt>
                <c:pt idx="348">
                  <c:v>1</c:v>
                </c:pt>
                <c:pt idx="349">
                  <c:v>2</c:v>
                </c:pt>
                <c:pt idx="351">
                  <c:v>1</c:v>
                </c:pt>
                <c:pt idx="352">
                  <c:v>2</c:v>
                </c:pt>
                <c:pt idx="354">
                  <c:v>1</c:v>
                </c:pt>
                <c:pt idx="355">
                  <c:v>2</c:v>
                </c:pt>
                <c:pt idx="357">
                  <c:v>1</c:v>
                </c:pt>
                <c:pt idx="358">
                  <c:v>2</c:v>
                </c:pt>
                <c:pt idx="360">
                  <c:v>1</c:v>
                </c:pt>
                <c:pt idx="361">
                  <c:v>2</c:v>
                </c:pt>
                <c:pt idx="363">
                  <c:v>1</c:v>
                </c:pt>
                <c:pt idx="364">
                  <c:v>2</c:v>
                </c:pt>
                <c:pt idx="366">
                  <c:v>1</c:v>
                </c:pt>
                <c:pt idx="367">
                  <c:v>2</c:v>
                </c:pt>
                <c:pt idx="369">
                  <c:v>1</c:v>
                </c:pt>
                <c:pt idx="370">
                  <c:v>2</c:v>
                </c:pt>
                <c:pt idx="372">
                  <c:v>1</c:v>
                </c:pt>
                <c:pt idx="373">
                  <c:v>2</c:v>
                </c:pt>
                <c:pt idx="375">
                  <c:v>1</c:v>
                </c:pt>
                <c:pt idx="376">
                  <c:v>2</c:v>
                </c:pt>
                <c:pt idx="378">
                  <c:v>1</c:v>
                </c:pt>
                <c:pt idx="379">
                  <c:v>2</c:v>
                </c:pt>
                <c:pt idx="381">
                  <c:v>1</c:v>
                </c:pt>
                <c:pt idx="382">
                  <c:v>2</c:v>
                </c:pt>
                <c:pt idx="384">
                  <c:v>1</c:v>
                </c:pt>
                <c:pt idx="385">
                  <c:v>2</c:v>
                </c:pt>
                <c:pt idx="387">
                  <c:v>1</c:v>
                </c:pt>
                <c:pt idx="388">
                  <c:v>2</c:v>
                </c:pt>
                <c:pt idx="390">
                  <c:v>1</c:v>
                </c:pt>
                <c:pt idx="391">
                  <c:v>2</c:v>
                </c:pt>
                <c:pt idx="393">
                  <c:v>1</c:v>
                </c:pt>
                <c:pt idx="394">
                  <c:v>2</c:v>
                </c:pt>
                <c:pt idx="396">
                  <c:v>1</c:v>
                </c:pt>
                <c:pt idx="397">
                  <c:v>2</c:v>
                </c:pt>
                <c:pt idx="399">
                  <c:v>1</c:v>
                </c:pt>
                <c:pt idx="400">
                  <c:v>2</c:v>
                </c:pt>
                <c:pt idx="402">
                  <c:v>1</c:v>
                </c:pt>
                <c:pt idx="403">
                  <c:v>2</c:v>
                </c:pt>
                <c:pt idx="405">
                  <c:v>1</c:v>
                </c:pt>
                <c:pt idx="406">
                  <c:v>2</c:v>
                </c:pt>
                <c:pt idx="408">
                  <c:v>1</c:v>
                </c:pt>
                <c:pt idx="409">
                  <c:v>2</c:v>
                </c:pt>
                <c:pt idx="411">
                  <c:v>1</c:v>
                </c:pt>
                <c:pt idx="412">
                  <c:v>2</c:v>
                </c:pt>
                <c:pt idx="414">
                  <c:v>1</c:v>
                </c:pt>
                <c:pt idx="415">
                  <c:v>2</c:v>
                </c:pt>
                <c:pt idx="417">
                  <c:v>1</c:v>
                </c:pt>
                <c:pt idx="418">
                  <c:v>2</c:v>
                </c:pt>
                <c:pt idx="420">
                  <c:v>1</c:v>
                </c:pt>
                <c:pt idx="421">
                  <c:v>2</c:v>
                </c:pt>
                <c:pt idx="423">
                  <c:v>1</c:v>
                </c:pt>
                <c:pt idx="424">
                  <c:v>2</c:v>
                </c:pt>
                <c:pt idx="426">
                  <c:v>1</c:v>
                </c:pt>
                <c:pt idx="427">
                  <c:v>2</c:v>
                </c:pt>
                <c:pt idx="429">
                  <c:v>1</c:v>
                </c:pt>
                <c:pt idx="430">
                  <c:v>2</c:v>
                </c:pt>
                <c:pt idx="432">
                  <c:v>1</c:v>
                </c:pt>
                <c:pt idx="433">
                  <c:v>2</c:v>
                </c:pt>
                <c:pt idx="435">
                  <c:v>1</c:v>
                </c:pt>
                <c:pt idx="436">
                  <c:v>2</c:v>
                </c:pt>
                <c:pt idx="438">
                  <c:v>1</c:v>
                </c:pt>
                <c:pt idx="439">
                  <c:v>2</c:v>
                </c:pt>
                <c:pt idx="441">
                  <c:v>1</c:v>
                </c:pt>
                <c:pt idx="442">
                  <c:v>2</c:v>
                </c:pt>
                <c:pt idx="444">
                  <c:v>1</c:v>
                </c:pt>
                <c:pt idx="445">
                  <c:v>2</c:v>
                </c:pt>
                <c:pt idx="447">
                  <c:v>1</c:v>
                </c:pt>
                <c:pt idx="448">
                  <c:v>2</c:v>
                </c:pt>
                <c:pt idx="450">
                  <c:v>1</c:v>
                </c:pt>
                <c:pt idx="451">
                  <c:v>2</c:v>
                </c:pt>
                <c:pt idx="453">
                  <c:v>1</c:v>
                </c:pt>
                <c:pt idx="454">
                  <c:v>2</c:v>
                </c:pt>
                <c:pt idx="456">
                  <c:v>1</c:v>
                </c:pt>
                <c:pt idx="457">
                  <c:v>2</c:v>
                </c:pt>
                <c:pt idx="459">
                  <c:v>1</c:v>
                </c:pt>
                <c:pt idx="460">
                  <c:v>2</c:v>
                </c:pt>
                <c:pt idx="462">
                  <c:v>1</c:v>
                </c:pt>
                <c:pt idx="463">
                  <c:v>2</c:v>
                </c:pt>
                <c:pt idx="465">
                  <c:v>1</c:v>
                </c:pt>
                <c:pt idx="466">
                  <c:v>2</c:v>
                </c:pt>
                <c:pt idx="468">
                  <c:v>1</c:v>
                </c:pt>
                <c:pt idx="469">
                  <c:v>2</c:v>
                </c:pt>
                <c:pt idx="471">
                  <c:v>1</c:v>
                </c:pt>
                <c:pt idx="472">
                  <c:v>2</c:v>
                </c:pt>
                <c:pt idx="474">
                  <c:v>1</c:v>
                </c:pt>
                <c:pt idx="475">
                  <c:v>2</c:v>
                </c:pt>
                <c:pt idx="477">
                  <c:v>1</c:v>
                </c:pt>
                <c:pt idx="478">
                  <c:v>2</c:v>
                </c:pt>
                <c:pt idx="480">
                  <c:v>1</c:v>
                </c:pt>
                <c:pt idx="481">
                  <c:v>2</c:v>
                </c:pt>
                <c:pt idx="483">
                  <c:v>1</c:v>
                </c:pt>
                <c:pt idx="484">
                  <c:v>2</c:v>
                </c:pt>
                <c:pt idx="486">
                  <c:v>1</c:v>
                </c:pt>
                <c:pt idx="487">
                  <c:v>2</c:v>
                </c:pt>
                <c:pt idx="489">
                  <c:v>1</c:v>
                </c:pt>
                <c:pt idx="490">
                  <c:v>2</c:v>
                </c:pt>
                <c:pt idx="492">
                  <c:v>1</c:v>
                </c:pt>
                <c:pt idx="493">
                  <c:v>2</c:v>
                </c:pt>
                <c:pt idx="495">
                  <c:v>1</c:v>
                </c:pt>
                <c:pt idx="496">
                  <c:v>2</c:v>
                </c:pt>
                <c:pt idx="498">
                  <c:v>1</c:v>
                </c:pt>
                <c:pt idx="499">
                  <c:v>2</c:v>
                </c:pt>
                <c:pt idx="501">
                  <c:v>1</c:v>
                </c:pt>
                <c:pt idx="502">
                  <c:v>2</c:v>
                </c:pt>
                <c:pt idx="504">
                  <c:v>1</c:v>
                </c:pt>
                <c:pt idx="505">
                  <c:v>2</c:v>
                </c:pt>
                <c:pt idx="507">
                  <c:v>1</c:v>
                </c:pt>
                <c:pt idx="508">
                  <c:v>2</c:v>
                </c:pt>
                <c:pt idx="510">
                  <c:v>1</c:v>
                </c:pt>
                <c:pt idx="511">
                  <c:v>2</c:v>
                </c:pt>
                <c:pt idx="513">
                  <c:v>1</c:v>
                </c:pt>
                <c:pt idx="514">
                  <c:v>2</c:v>
                </c:pt>
                <c:pt idx="516">
                  <c:v>1</c:v>
                </c:pt>
                <c:pt idx="517">
                  <c:v>2</c:v>
                </c:pt>
                <c:pt idx="519">
                  <c:v>1</c:v>
                </c:pt>
                <c:pt idx="520">
                  <c:v>2</c:v>
                </c:pt>
                <c:pt idx="522">
                  <c:v>1</c:v>
                </c:pt>
                <c:pt idx="523">
                  <c:v>2</c:v>
                </c:pt>
                <c:pt idx="525">
                  <c:v>1</c:v>
                </c:pt>
                <c:pt idx="526">
                  <c:v>2</c:v>
                </c:pt>
                <c:pt idx="528">
                  <c:v>1</c:v>
                </c:pt>
                <c:pt idx="529">
                  <c:v>2</c:v>
                </c:pt>
                <c:pt idx="531">
                  <c:v>1</c:v>
                </c:pt>
                <c:pt idx="532">
                  <c:v>2</c:v>
                </c:pt>
                <c:pt idx="534">
                  <c:v>1</c:v>
                </c:pt>
                <c:pt idx="535">
                  <c:v>2</c:v>
                </c:pt>
                <c:pt idx="537">
                  <c:v>1</c:v>
                </c:pt>
                <c:pt idx="538">
                  <c:v>2</c:v>
                </c:pt>
                <c:pt idx="540">
                  <c:v>1</c:v>
                </c:pt>
                <c:pt idx="541">
                  <c:v>2</c:v>
                </c:pt>
                <c:pt idx="543">
                  <c:v>1</c:v>
                </c:pt>
                <c:pt idx="544">
                  <c:v>2</c:v>
                </c:pt>
                <c:pt idx="546">
                  <c:v>1</c:v>
                </c:pt>
                <c:pt idx="547">
                  <c:v>2</c:v>
                </c:pt>
                <c:pt idx="549">
                  <c:v>1</c:v>
                </c:pt>
                <c:pt idx="550">
                  <c:v>2</c:v>
                </c:pt>
                <c:pt idx="552">
                  <c:v>1</c:v>
                </c:pt>
                <c:pt idx="553">
                  <c:v>2</c:v>
                </c:pt>
                <c:pt idx="555">
                  <c:v>1</c:v>
                </c:pt>
                <c:pt idx="556">
                  <c:v>2</c:v>
                </c:pt>
                <c:pt idx="558">
                  <c:v>1</c:v>
                </c:pt>
                <c:pt idx="559">
                  <c:v>2</c:v>
                </c:pt>
                <c:pt idx="561">
                  <c:v>1</c:v>
                </c:pt>
                <c:pt idx="562">
                  <c:v>2</c:v>
                </c:pt>
                <c:pt idx="564">
                  <c:v>1</c:v>
                </c:pt>
                <c:pt idx="565">
                  <c:v>2</c:v>
                </c:pt>
                <c:pt idx="567">
                  <c:v>1</c:v>
                </c:pt>
                <c:pt idx="568">
                  <c:v>2</c:v>
                </c:pt>
                <c:pt idx="570">
                  <c:v>1</c:v>
                </c:pt>
                <c:pt idx="571">
                  <c:v>2</c:v>
                </c:pt>
                <c:pt idx="573">
                  <c:v>1</c:v>
                </c:pt>
                <c:pt idx="574">
                  <c:v>2</c:v>
                </c:pt>
                <c:pt idx="576">
                  <c:v>1</c:v>
                </c:pt>
                <c:pt idx="577">
                  <c:v>2</c:v>
                </c:pt>
                <c:pt idx="579">
                  <c:v>1</c:v>
                </c:pt>
                <c:pt idx="580">
                  <c:v>2</c:v>
                </c:pt>
                <c:pt idx="582">
                  <c:v>1</c:v>
                </c:pt>
                <c:pt idx="583">
                  <c:v>2</c:v>
                </c:pt>
                <c:pt idx="585">
                  <c:v>1</c:v>
                </c:pt>
                <c:pt idx="586">
                  <c:v>2</c:v>
                </c:pt>
                <c:pt idx="588">
                  <c:v>1</c:v>
                </c:pt>
                <c:pt idx="589">
                  <c:v>2</c:v>
                </c:pt>
                <c:pt idx="591">
                  <c:v>1</c:v>
                </c:pt>
                <c:pt idx="592">
                  <c:v>2</c:v>
                </c:pt>
                <c:pt idx="594">
                  <c:v>1</c:v>
                </c:pt>
                <c:pt idx="595">
                  <c:v>2</c:v>
                </c:pt>
                <c:pt idx="597">
                  <c:v>1</c:v>
                </c:pt>
                <c:pt idx="598">
                  <c:v>2</c:v>
                </c:pt>
                <c:pt idx="600">
                  <c:v>1</c:v>
                </c:pt>
                <c:pt idx="601">
                  <c:v>2</c:v>
                </c:pt>
                <c:pt idx="603">
                  <c:v>1</c:v>
                </c:pt>
                <c:pt idx="604">
                  <c:v>2</c:v>
                </c:pt>
                <c:pt idx="606">
                  <c:v>1</c:v>
                </c:pt>
                <c:pt idx="607">
                  <c:v>2</c:v>
                </c:pt>
                <c:pt idx="609">
                  <c:v>1</c:v>
                </c:pt>
                <c:pt idx="610">
                  <c:v>2</c:v>
                </c:pt>
                <c:pt idx="612">
                  <c:v>1</c:v>
                </c:pt>
                <c:pt idx="613">
                  <c:v>2</c:v>
                </c:pt>
                <c:pt idx="615">
                  <c:v>1</c:v>
                </c:pt>
                <c:pt idx="616">
                  <c:v>2</c:v>
                </c:pt>
                <c:pt idx="618">
                  <c:v>1</c:v>
                </c:pt>
                <c:pt idx="619">
                  <c:v>2</c:v>
                </c:pt>
                <c:pt idx="621">
                  <c:v>1</c:v>
                </c:pt>
                <c:pt idx="622">
                  <c:v>2</c:v>
                </c:pt>
                <c:pt idx="624">
                  <c:v>1</c:v>
                </c:pt>
                <c:pt idx="625">
                  <c:v>2</c:v>
                </c:pt>
                <c:pt idx="627">
                  <c:v>1</c:v>
                </c:pt>
                <c:pt idx="628">
                  <c:v>2</c:v>
                </c:pt>
                <c:pt idx="630">
                  <c:v>1</c:v>
                </c:pt>
                <c:pt idx="631">
                  <c:v>2</c:v>
                </c:pt>
                <c:pt idx="633">
                  <c:v>1</c:v>
                </c:pt>
                <c:pt idx="634">
                  <c:v>2</c:v>
                </c:pt>
                <c:pt idx="636">
                  <c:v>1</c:v>
                </c:pt>
                <c:pt idx="637">
                  <c:v>2</c:v>
                </c:pt>
                <c:pt idx="639">
                  <c:v>1</c:v>
                </c:pt>
                <c:pt idx="640">
                  <c:v>2</c:v>
                </c:pt>
                <c:pt idx="642">
                  <c:v>1</c:v>
                </c:pt>
                <c:pt idx="643">
                  <c:v>2</c:v>
                </c:pt>
                <c:pt idx="645">
                  <c:v>1</c:v>
                </c:pt>
                <c:pt idx="646">
                  <c:v>2</c:v>
                </c:pt>
                <c:pt idx="648">
                  <c:v>1</c:v>
                </c:pt>
                <c:pt idx="649">
                  <c:v>2</c:v>
                </c:pt>
                <c:pt idx="651">
                  <c:v>1</c:v>
                </c:pt>
                <c:pt idx="652">
                  <c:v>2</c:v>
                </c:pt>
                <c:pt idx="654">
                  <c:v>1</c:v>
                </c:pt>
                <c:pt idx="655">
                  <c:v>2</c:v>
                </c:pt>
                <c:pt idx="657">
                  <c:v>1</c:v>
                </c:pt>
                <c:pt idx="658">
                  <c:v>2</c:v>
                </c:pt>
                <c:pt idx="660">
                  <c:v>1</c:v>
                </c:pt>
                <c:pt idx="661">
                  <c:v>2</c:v>
                </c:pt>
                <c:pt idx="663">
                  <c:v>1</c:v>
                </c:pt>
                <c:pt idx="664">
                  <c:v>2</c:v>
                </c:pt>
                <c:pt idx="666">
                  <c:v>1</c:v>
                </c:pt>
                <c:pt idx="667">
                  <c:v>2</c:v>
                </c:pt>
                <c:pt idx="669">
                  <c:v>1</c:v>
                </c:pt>
                <c:pt idx="670">
                  <c:v>2</c:v>
                </c:pt>
                <c:pt idx="672">
                  <c:v>1</c:v>
                </c:pt>
                <c:pt idx="673">
                  <c:v>2</c:v>
                </c:pt>
                <c:pt idx="675">
                  <c:v>1</c:v>
                </c:pt>
                <c:pt idx="676">
                  <c:v>2</c:v>
                </c:pt>
                <c:pt idx="678">
                  <c:v>1</c:v>
                </c:pt>
                <c:pt idx="679">
                  <c:v>2</c:v>
                </c:pt>
                <c:pt idx="681">
                  <c:v>1</c:v>
                </c:pt>
                <c:pt idx="682">
                  <c:v>2</c:v>
                </c:pt>
                <c:pt idx="684">
                  <c:v>1</c:v>
                </c:pt>
                <c:pt idx="685">
                  <c:v>2</c:v>
                </c:pt>
                <c:pt idx="687">
                  <c:v>1</c:v>
                </c:pt>
                <c:pt idx="688">
                  <c:v>2</c:v>
                </c:pt>
                <c:pt idx="690">
                  <c:v>1</c:v>
                </c:pt>
                <c:pt idx="691">
                  <c:v>2</c:v>
                </c:pt>
                <c:pt idx="693">
                  <c:v>1</c:v>
                </c:pt>
                <c:pt idx="694">
                  <c:v>2</c:v>
                </c:pt>
                <c:pt idx="696">
                  <c:v>1</c:v>
                </c:pt>
                <c:pt idx="697">
                  <c:v>2</c:v>
                </c:pt>
                <c:pt idx="699">
                  <c:v>1</c:v>
                </c:pt>
                <c:pt idx="700">
                  <c:v>2</c:v>
                </c:pt>
                <c:pt idx="702">
                  <c:v>1</c:v>
                </c:pt>
                <c:pt idx="703">
                  <c:v>2</c:v>
                </c:pt>
                <c:pt idx="705">
                  <c:v>1</c:v>
                </c:pt>
                <c:pt idx="706">
                  <c:v>2</c:v>
                </c:pt>
                <c:pt idx="708">
                  <c:v>1</c:v>
                </c:pt>
                <c:pt idx="709">
                  <c:v>2</c:v>
                </c:pt>
                <c:pt idx="711">
                  <c:v>1</c:v>
                </c:pt>
                <c:pt idx="712">
                  <c:v>2</c:v>
                </c:pt>
                <c:pt idx="714">
                  <c:v>1</c:v>
                </c:pt>
                <c:pt idx="715">
                  <c:v>2</c:v>
                </c:pt>
                <c:pt idx="717">
                  <c:v>1</c:v>
                </c:pt>
                <c:pt idx="718">
                  <c:v>2</c:v>
                </c:pt>
                <c:pt idx="720">
                  <c:v>1</c:v>
                </c:pt>
                <c:pt idx="721">
                  <c:v>2</c:v>
                </c:pt>
                <c:pt idx="723">
                  <c:v>1</c:v>
                </c:pt>
                <c:pt idx="724">
                  <c:v>2</c:v>
                </c:pt>
                <c:pt idx="726">
                  <c:v>1</c:v>
                </c:pt>
                <c:pt idx="727">
                  <c:v>2</c:v>
                </c:pt>
                <c:pt idx="729">
                  <c:v>1</c:v>
                </c:pt>
                <c:pt idx="730">
                  <c:v>2</c:v>
                </c:pt>
                <c:pt idx="732">
                  <c:v>1</c:v>
                </c:pt>
                <c:pt idx="733">
                  <c:v>2</c:v>
                </c:pt>
                <c:pt idx="735">
                  <c:v>1</c:v>
                </c:pt>
                <c:pt idx="736">
                  <c:v>2</c:v>
                </c:pt>
                <c:pt idx="738">
                  <c:v>1</c:v>
                </c:pt>
                <c:pt idx="739">
                  <c:v>2</c:v>
                </c:pt>
                <c:pt idx="741">
                  <c:v>1</c:v>
                </c:pt>
                <c:pt idx="742">
                  <c:v>2</c:v>
                </c:pt>
                <c:pt idx="744">
                  <c:v>1</c:v>
                </c:pt>
                <c:pt idx="745">
                  <c:v>2</c:v>
                </c:pt>
                <c:pt idx="747">
                  <c:v>1</c:v>
                </c:pt>
                <c:pt idx="748">
                  <c:v>2</c:v>
                </c:pt>
                <c:pt idx="750">
                  <c:v>1</c:v>
                </c:pt>
                <c:pt idx="751">
                  <c:v>2</c:v>
                </c:pt>
                <c:pt idx="753">
                  <c:v>1</c:v>
                </c:pt>
                <c:pt idx="754">
                  <c:v>2</c:v>
                </c:pt>
                <c:pt idx="756">
                  <c:v>1</c:v>
                </c:pt>
                <c:pt idx="757">
                  <c:v>2</c:v>
                </c:pt>
                <c:pt idx="759">
                  <c:v>1</c:v>
                </c:pt>
                <c:pt idx="760">
                  <c:v>2</c:v>
                </c:pt>
                <c:pt idx="762">
                  <c:v>1</c:v>
                </c:pt>
                <c:pt idx="763">
                  <c:v>2</c:v>
                </c:pt>
                <c:pt idx="765">
                  <c:v>1</c:v>
                </c:pt>
                <c:pt idx="766">
                  <c:v>2</c:v>
                </c:pt>
                <c:pt idx="768">
                  <c:v>1</c:v>
                </c:pt>
                <c:pt idx="769">
                  <c:v>2</c:v>
                </c:pt>
                <c:pt idx="771">
                  <c:v>1</c:v>
                </c:pt>
                <c:pt idx="772">
                  <c:v>2</c:v>
                </c:pt>
                <c:pt idx="774">
                  <c:v>1</c:v>
                </c:pt>
                <c:pt idx="775">
                  <c:v>2</c:v>
                </c:pt>
                <c:pt idx="777">
                  <c:v>1</c:v>
                </c:pt>
                <c:pt idx="778">
                  <c:v>2</c:v>
                </c:pt>
                <c:pt idx="780">
                  <c:v>1</c:v>
                </c:pt>
                <c:pt idx="781">
                  <c:v>2</c:v>
                </c:pt>
                <c:pt idx="783">
                  <c:v>1</c:v>
                </c:pt>
                <c:pt idx="784">
                  <c:v>2</c:v>
                </c:pt>
                <c:pt idx="786">
                  <c:v>1</c:v>
                </c:pt>
                <c:pt idx="787">
                  <c:v>2</c:v>
                </c:pt>
                <c:pt idx="789">
                  <c:v>1</c:v>
                </c:pt>
                <c:pt idx="790">
                  <c:v>2</c:v>
                </c:pt>
                <c:pt idx="792">
                  <c:v>1</c:v>
                </c:pt>
                <c:pt idx="793">
                  <c:v>2</c:v>
                </c:pt>
                <c:pt idx="795">
                  <c:v>1</c:v>
                </c:pt>
                <c:pt idx="796">
                  <c:v>2</c:v>
                </c:pt>
                <c:pt idx="798">
                  <c:v>1</c:v>
                </c:pt>
                <c:pt idx="799">
                  <c:v>2</c:v>
                </c:pt>
                <c:pt idx="801">
                  <c:v>1</c:v>
                </c:pt>
                <c:pt idx="802">
                  <c:v>2</c:v>
                </c:pt>
                <c:pt idx="804">
                  <c:v>1</c:v>
                </c:pt>
                <c:pt idx="805">
                  <c:v>2</c:v>
                </c:pt>
                <c:pt idx="807">
                  <c:v>1</c:v>
                </c:pt>
                <c:pt idx="808">
                  <c:v>2</c:v>
                </c:pt>
                <c:pt idx="810">
                  <c:v>1</c:v>
                </c:pt>
                <c:pt idx="811">
                  <c:v>2</c:v>
                </c:pt>
                <c:pt idx="813">
                  <c:v>1</c:v>
                </c:pt>
                <c:pt idx="814">
                  <c:v>2</c:v>
                </c:pt>
                <c:pt idx="816">
                  <c:v>1</c:v>
                </c:pt>
                <c:pt idx="817">
                  <c:v>2</c:v>
                </c:pt>
                <c:pt idx="819">
                  <c:v>1</c:v>
                </c:pt>
                <c:pt idx="820">
                  <c:v>2</c:v>
                </c:pt>
                <c:pt idx="822">
                  <c:v>1</c:v>
                </c:pt>
                <c:pt idx="823">
                  <c:v>2</c:v>
                </c:pt>
                <c:pt idx="825">
                  <c:v>1</c:v>
                </c:pt>
                <c:pt idx="826">
                  <c:v>2</c:v>
                </c:pt>
                <c:pt idx="828">
                  <c:v>1</c:v>
                </c:pt>
                <c:pt idx="829">
                  <c:v>2</c:v>
                </c:pt>
                <c:pt idx="831">
                  <c:v>1</c:v>
                </c:pt>
                <c:pt idx="832">
                  <c:v>2</c:v>
                </c:pt>
                <c:pt idx="834">
                  <c:v>1</c:v>
                </c:pt>
                <c:pt idx="835">
                  <c:v>2</c:v>
                </c:pt>
                <c:pt idx="837">
                  <c:v>1</c:v>
                </c:pt>
                <c:pt idx="838">
                  <c:v>2</c:v>
                </c:pt>
                <c:pt idx="840">
                  <c:v>1</c:v>
                </c:pt>
                <c:pt idx="841">
                  <c:v>2</c:v>
                </c:pt>
                <c:pt idx="843">
                  <c:v>1</c:v>
                </c:pt>
                <c:pt idx="844">
                  <c:v>2</c:v>
                </c:pt>
                <c:pt idx="846">
                  <c:v>1</c:v>
                </c:pt>
                <c:pt idx="847">
                  <c:v>2</c:v>
                </c:pt>
                <c:pt idx="849">
                  <c:v>1</c:v>
                </c:pt>
                <c:pt idx="850">
                  <c:v>2</c:v>
                </c:pt>
                <c:pt idx="852">
                  <c:v>1</c:v>
                </c:pt>
                <c:pt idx="853">
                  <c:v>2</c:v>
                </c:pt>
                <c:pt idx="855">
                  <c:v>1</c:v>
                </c:pt>
                <c:pt idx="856">
                  <c:v>2</c:v>
                </c:pt>
                <c:pt idx="858">
                  <c:v>1</c:v>
                </c:pt>
                <c:pt idx="859">
                  <c:v>2</c:v>
                </c:pt>
                <c:pt idx="861">
                  <c:v>1</c:v>
                </c:pt>
                <c:pt idx="862">
                  <c:v>2</c:v>
                </c:pt>
                <c:pt idx="864">
                  <c:v>1</c:v>
                </c:pt>
                <c:pt idx="865">
                  <c:v>2</c:v>
                </c:pt>
                <c:pt idx="867">
                  <c:v>1</c:v>
                </c:pt>
                <c:pt idx="868">
                  <c:v>2</c:v>
                </c:pt>
                <c:pt idx="870">
                  <c:v>1</c:v>
                </c:pt>
                <c:pt idx="871">
                  <c:v>2</c:v>
                </c:pt>
                <c:pt idx="873">
                  <c:v>1</c:v>
                </c:pt>
                <c:pt idx="874">
                  <c:v>2</c:v>
                </c:pt>
                <c:pt idx="876">
                  <c:v>1</c:v>
                </c:pt>
                <c:pt idx="877">
                  <c:v>2</c:v>
                </c:pt>
                <c:pt idx="879">
                  <c:v>1</c:v>
                </c:pt>
                <c:pt idx="880">
                  <c:v>2</c:v>
                </c:pt>
                <c:pt idx="882">
                  <c:v>1</c:v>
                </c:pt>
                <c:pt idx="883">
                  <c:v>2</c:v>
                </c:pt>
                <c:pt idx="885">
                  <c:v>1</c:v>
                </c:pt>
                <c:pt idx="886">
                  <c:v>2</c:v>
                </c:pt>
                <c:pt idx="888">
                  <c:v>1</c:v>
                </c:pt>
                <c:pt idx="889">
                  <c:v>2</c:v>
                </c:pt>
                <c:pt idx="891">
                  <c:v>1</c:v>
                </c:pt>
                <c:pt idx="892">
                  <c:v>2</c:v>
                </c:pt>
                <c:pt idx="894">
                  <c:v>1</c:v>
                </c:pt>
                <c:pt idx="895">
                  <c:v>2</c:v>
                </c:pt>
                <c:pt idx="897">
                  <c:v>1</c:v>
                </c:pt>
                <c:pt idx="898">
                  <c:v>2</c:v>
                </c:pt>
                <c:pt idx="900">
                  <c:v>1</c:v>
                </c:pt>
                <c:pt idx="901">
                  <c:v>2</c:v>
                </c:pt>
                <c:pt idx="903">
                  <c:v>1</c:v>
                </c:pt>
                <c:pt idx="904">
                  <c:v>2</c:v>
                </c:pt>
                <c:pt idx="906">
                  <c:v>1</c:v>
                </c:pt>
                <c:pt idx="907">
                  <c:v>2</c:v>
                </c:pt>
                <c:pt idx="909">
                  <c:v>1</c:v>
                </c:pt>
                <c:pt idx="910">
                  <c:v>2</c:v>
                </c:pt>
                <c:pt idx="912">
                  <c:v>1</c:v>
                </c:pt>
                <c:pt idx="913">
                  <c:v>2</c:v>
                </c:pt>
                <c:pt idx="915">
                  <c:v>1</c:v>
                </c:pt>
                <c:pt idx="916">
                  <c:v>2</c:v>
                </c:pt>
                <c:pt idx="918">
                  <c:v>1</c:v>
                </c:pt>
                <c:pt idx="919">
                  <c:v>2</c:v>
                </c:pt>
                <c:pt idx="921">
                  <c:v>1</c:v>
                </c:pt>
                <c:pt idx="922">
                  <c:v>2</c:v>
                </c:pt>
                <c:pt idx="924">
                  <c:v>1</c:v>
                </c:pt>
                <c:pt idx="925">
                  <c:v>2</c:v>
                </c:pt>
                <c:pt idx="927">
                  <c:v>1</c:v>
                </c:pt>
                <c:pt idx="928">
                  <c:v>2</c:v>
                </c:pt>
                <c:pt idx="930">
                  <c:v>1</c:v>
                </c:pt>
                <c:pt idx="931">
                  <c:v>2</c:v>
                </c:pt>
                <c:pt idx="933">
                  <c:v>1</c:v>
                </c:pt>
                <c:pt idx="934">
                  <c:v>2</c:v>
                </c:pt>
                <c:pt idx="936">
                  <c:v>1</c:v>
                </c:pt>
                <c:pt idx="937">
                  <c:v>2</c:v>
                </c:pt>
                <c:pt idx="939">
                  <c:v>1</c:v>
                </c:pt>
                <c:pt idx="940">
                  <c:v>2</c:v>
                </c:pt>
                <c:pt idx="942">
                  <c:v>1</c:v>
                </c:pt>
                <c:pt idx="943">
                  <c:v>2</c:v>
                </c:pt>
                <c:pt idx="945">
                  <c:v>1</c:v>
                </c:pt>
                <c:pt idx="946">
                  <c:v>2</c:v>
                </c:pt>
                <c:pt idx="948">
                  <c:v>1</c:v>
                </c:pt>
                <c:pt idx="949">
                  <c:v>2</c:v>
                </c:pt>
                <c:pt idx="951">
                  <c:v>1</c:v>
                </c:pt>
                <c:pt idx="952">
                  <c:v>2</c:v>
                </c:pt>
                <c:pt idx="954">
                  <c:v>1</c:v>
                </c:pt>
                <c:pt idx="955">
                  <c:v>2</c:v>
                </c:pt>
                <c:pt idx="957">
                  <c:v>1</c:v>
                </c:pt>
                <c:pt idx="958">
                  <c:v>2</c:v>
                </c:pt>
                <c:pt idx="960">
                  <c:v>1</c:v>
                </c:pt>
                <c:pt idx="961">
                  <c:v>2</c:v>
                </c:pt>
                <c:pt idx="963">
                  <c:v>1</c:v>
                </c:pt>
                <c:pt idx="964">
                  <c:v>2</c:v>
                </c:pt>
                <c:pt idx="966">
                  <c:v>1</c:v>
                </c:pt>
                <c:pt idx="967">
                  <c:v>2</c:v>
                </c:pt>
                <c:pt idx="969">
                  <c:v>1</c:v>
                </c:pt>
                <c:pt idx="970">
                  <c:v>2</c:v>
                </c:pt>
                <c:pt idx="972">
                  <c:v>1</c:v>
                </c:pt>
                <c:pt idx="973">
                  <c:v>2</c:v>
                </c:pt>
                <c:pt idx="975">
                  <c:v>1</c:v>
                </c:pt>
                <c:pt idx="976">
                  <c:v>2</c:v>
                </c:pt>
                <c:pt idx="978">
                  <c:v>1</c:v>
                </c:pt>
                <c:pt idx="979">
                  <c:v>2</c:v>
                </c:pt>
                <c:pt idx="981">
                  <c:v>1</c:v>
                </c:pt>
                <c:pt idx="982">
                  <c:v>2</c:v>
                </c:pt>
                <c:pt idx="984">
                  <c:v>1</c:v>
                </c:pt>
                <c:pt idx="985">
                  <c:v>2</c:v>
                </c:pt>
                <c:pt idx="987">
                  <c:v>1</c:v>
                </c:pt>
                <c:pt idx="988">
                  <c:v>2</c:v>
                </c:pt>
                <c:pt idx="990">
                  <c:v>1</c:v>
                </c:pt>
                <c:pt idx="991">
                  <c:v>2</c:v>
                </c:pt>
                <c:pt idx="993">
                  <c:v>1</c:v>
                </c:pt>
                <c:pt idx="994">
                  <c:v>2</c:v>
                </c:pt>
                <c:pt idx="996">
                  <c:v>1</c:v>
                </c:pt>
                <c:pt idx="997">
                  <c:v>2</c:v>
                </c:pt>
                <c:pt idx="999">
                  <c:v>1</c:v>
                </c:pt>
                <c:pt idx="1000">
                  <c:v>2</c:v>
                </c:pt>
                <c:pt idx="1002">
                  <c:v>1</c:v>
                </c:pt>
                <c:pt idx="1003">
                  <c:v>2</c:v>
                </c:pt>
                <c:pt idx="1005">
                  <c:v>1</c:v>
                </c:pt>
                <c:pt idx="1006">
                  <c:v>2</c:v>
                </c:pt>
                <c:pt idx="1008">
                  <c:v>1</c:v>
                </c:pt>
                <c:pt idx="1009">
                  <c:v>2</c:v>
                </c:pt>
                <c:pt idx="1011">
                  <c:v>1</c:v>
                </c:pt>
                <c:pt idx="1012">
                  <c:v>2</c:v>
                </c:pt>
                <c:pt idx="1014">
                  <c:v>1</c:v>
                </c:pt>
                <c:pt idx="1015">
                  <c:v>2</c:v>
                </c:pt>
                <c:pt idx="1017">
                  <c:v>1</c:v>
                </c:pt>
                <c:pt idx="1018">
                  <c:v>2</c:v>
                </c:pt>
                <c:pt idx="1020">
                  <c:v>1</c:v>
                </c:pt>
                <c:pt idx="1021">
                  <c:v>2</c:v>
                </c:pt>
                <c:pt idx="1023">
                  <c:v>1</c:v>
                </c:pt>
                <c:pt idx="1024">
                  <c:v>2</c:v>
                </c:pt>
                <c:pt idx="1026">
                  <c:v>1</c:v>
                </c:pt>
                <c:pt idx="1027">
                  <c:v>2</c:v>
                </c:pt>
                <c:pt idx="1029">
                  <c:v>1</c:v>
                </c:pt>
                <c:pt idx="1030">
                  <c:v>2</c:v>
                </c:pt>
                <c:pt idx="1032">
                  <c:v>1</c:v>
                </c:pt>
                <c:pt idx="1033">
                  <c:v>2</c:v>
                </c:pt>
                <c:pt idx="1035">
                  <c:v>1</c:v>
                </c:pt>
                <c:pt idx="1036">
                  <c:v>2</c:v>
                </c:pt>
                <c:pt idx="1038">
                  <c:v>1</c:v>
                </c:pt>
                <c:pt idx="1039">
                  <c:v>2</c:v>
                </c:pt>
                <c:pt idx="1041">
                  <c:v>1</c:v>
                </c:pt>
                <c:pt idx="1042">
                  <c:v>2</c:v>
                </c:pt>
                <c:pt idx="1044">
                  <c:v>1</c:v>
                </c:pt>
                <c:pt idx="1045">
                  <c:v>2</c:v>
                </c:pt>
                <c:pt idx="1047">
                  <c:v>1</c:v>
                </c:pt>
                <c:pt idx="1048">
                  <c:v>2</c:v>
                </c:pt>
                <c:pt idx="1050">
                  <c:v>1</c:v>
                </c:pt>
                <c:pt idx="1051">
                  <c:v>2</c:v>
                </c:pt>
                <c:pt idx="1053">
                  <c:v>1</c:v>
                </c:pt>
                <c:pt idx="1054">
                  <c:v>2</c:v>
                </c:pt>
                <c:pt idx="1056">
                  <c:v>1</c:v>
                </c:pt>
                <c:pt idx="1057">
                  <c:v>2</c:v>
                </c:pt>
                <c:pt idx="1059">
                  <c:v>1</c:v>
                </c:pt>
                <c:pt idx="1060">
                  <c:v>2</c:v>
                </c:pt>
                <c:pt idx="1062">
                  <c:v>1</c:v>
                </c:pt>
                <c:pt idx="1063">
                  <c:v>2</c:v>
                </c:pt>
                <c:pt idx="1065">
                  <c:v>1</c:v>
                </c:pt>
                <c:pt idx="1066">
                  <c:v>2</c:v>
                </c:pt>
                <c:pt idx="1068">
                  <c:v>1</c:v>
                </c:pt>
                <c:pt idx="1069">
                  <c:v>2</c:v>
                </c:pt>
                <c:pt idx="1071">
                  <c:v>1</c:v>
                </c:pt>
                <c:pt idx="1072">
                  <c:v>2</c:v>
                </c:pt>
                <c:pt idx="1074">
                  <c:v>1</c:v>
                </c:pt>
                <c:pt idx="1075">
                  <c:v>2</c:v>
                </c:pt>
                <c:pt idx="1077">
                  <c:v>1</c:v>
                </c:pt>
                <c:pt idx="1078">
                  <c:v>2</c:v>
                </c:pt>
                <c:pt idx="1080">
                  <c:v>1</c:v>
                </c:pt>
                <c:pt idx="1081">
                  <c:v>2</c:v>
                </c:pt>
                <c:pt idx="1083">
                  <c:v>1</c:v>
                </c:pt>
                <c:pt idx="1084">
                  <c:v>2</c:v>
                </c:pt>
                <c:pt idx="1086">
                  <c:v>1</c:v>
                </c:pt>
                <c:pt idx="1087">
                  <c:v>2</c:v>
                </c:pt>
                <c:pt idx="1089">
                  <c:v>1</c:v>
                </c:pt>
                <c:pt idx="1090">
                  <c:v>2</c:v>
                </c:pt>
                <c:pt idx="1092">
                  <c:v>1</c:v>
                </c:pt>
                <c:pt idx="1093">
                  <c:v>2</c:v>
                </c:pt>
                <c:pt idx="1095">
                  <c:v>1</c:v>
                </c:pt>
                <c:pt idx="1096">
                  <c:v>2</c:v>
                </c:pt>
                <c:pt idx="1098">
                  <c:v>1</c:v>
                </c:pt>
                <c:pt idx="1099">
                  <c:v>2</c:v>
                </c:pt>
                <c:pt idx="1101">
                  <c:v>1</c:v>
                </c:pt>
                <c:pt idx="1102">
                  <c:v>2</c:v>
                </c:pt>
                <c:pt idx="1104">
                  <c:v>1</c:v>
                </c:pt>
                <c:pt idx="1105">
                  <c:v>2</c:v>
                </c:pt>
                <c:pt idx="1107">
                  <c:v>1</c:v>
                </c:pt>
                <c:pt idx="1108">
                  <c:v>2</c:v>
                </c:pt>
                <c:pt idx="1110">
                  <c:v>1</c:v>
                </c:pt>
                <c:pt idx="1111">
                  <c:v>2</c:v>
                </c:pt>
                <c:pt idx="1113">
                  <c:v>1</c:v>
                </c:pt>
                <c:pt idx="1114">
                  <c:v>2</c:v>
                </c:pt>
                <c:pt idx="1116">
                  <c:v>1</c:v>
                </c:pt>
                <c:pt idx="1117">
                  <c:v>2</c:v>
                </c:pt>
                <c:pt idx="1119">
                  <c:v>1</c:v>
                </c:pt>
                <c:pt idx="1120">
                  <c:v>2</c:v>
                </c:pt>
                <c:pt idx="1122">
                  <c:v>1</c:v>
                </c:pt>
                <c:pt idx="1123">
                  <c:v>2</c:v>
                </c:pt>
                <c:pt idx="1125">
                  <c:v>1</c:v>
                </c:pt>
                <c:pt idx="1126">
                  <c:v>2</c:v>
                </c:pt>
                <c:pt idx="1128">
                  <c:v>1</c:v>
                </c:pt>
                <c:pt idx="1129">
                  <c:v>2</c:v>
                </c:pt>
                <c:pt idx="1131">
                  <c:v>1</c:v>
                </c:pt>
                <c:pt idx="1132">
                  <c:v>2</c:v>
                </c:pt>
                <c:pt idx="1134">
                  <c:v>1</c:v>
                </c:pt>
                <c:pt idx="1135">
                  <c:v>2</c:v>
                </c:pt>
                <c:pt idx="1137">
                  <c:v>1</c:v>
                </c:pt>
                <c:pt idx="1138">
                  <c:v>2</c:v>
                </c:pt>
                <c:pt idx="1140">
                  <c:v>1</c:v>
                </c:pt>
                <c:pt idx="1141">
                  <c:v>2</c:v>
                </c:pt>
                <c:pt idx="1143">
                  <c:v>1</c:v>
                </c:pt>
                <c:pt idx="1144">
                  <c:v>2</c:v>
                </c:pt>
                <c:pt idx="1146">
                  <c:v>1</c:v>
                </c:pt>
                <c:pt idx="1147">
                  <c:v>2</c:v>
                </c:pt>
                <c:pt idx="1149">
                  <c:v>1</c:v>
                </c:pt>
                <c:pt idx="1150">
                  <c:v>2</c:v>
                </c:pt>
                <c:pt idx="1152">
                  <c:v>1</c:v>
                </c:pt>
                <c:pt idx="1153">
                  <c:v>2</c:v>
                </c:pt>
                <c:pt idx="1155">
                  <c:v>1</c:v>
                </c:pt>
                <c:pt idx="1156">
                  <c:v>2</c:v>
                </c:pt>
                <c:pt idx="1158">
                  <c:v>1</c:v>
                </c:pt>
                <c:pt idx="1159">
                  <c:v>2</c:v>
                </c:pt>
                <c:pt idx="1161">
                  <c:v>1</c:v>
                </c:pt>
                <c:pt idx="1162">
                  <c:v>2</c:v>
                </c:pt>
                <c:pt idx="1164">
                  <c:v>1</c:v>
                </c:pt>
                <c:pt idx="1165">
                  <c:v>2</c:v>
                </c:pt>
                <c:pt idx="1167">
                  <c:v>1</c:v>
                </c:pt>
                <c:pt idx="1168">
                  <c:v>2</c:v>
                </c:pt>
                <c:pt idx="1170">
                  <c:v>1</c:v>
                </c:pt>
                <c:pt idx="1171">
                  <c:v>2</c:v>
                </c:pt>
                <c:pt idx="1173">
                  <c:v>1</c:v>
                </c:pt>
                <c:pt idx="1174">
                  <c:v>2</c:v>
                </c:pt>
                <c:pt idx="1176">
                  <c:v>1</c:v>
                </c:pt>
                <c:pt idx="1177">
                  <c:v>2</c:v>
                </c:pt>
                <c:pt idx="1179">
                  <c:v>1</c:v>
                </c:pt>
                <c:pt idx="1180">
                  <c:v>2</c:v>
                </c:pt>
                <c:pt idx="1182">
                  <c:v>1</c:v>
                </c:pt>
                <c:pt idx="1183">
                  <c:v>2</c:v>
                </c:pt>
                <c:pt idx="1185">
                  <c:v>1</c:v>
                </c:pt>
                <c:pt idx="1186">
                  <c:v>2</c:v>
                </c:pt>
                <c:pt idx="1188">
                  <c:v>1</c:v>
                </c:pt>
                <c:pt idx="1189">
                  <c:v>2</c:v>
                </c:pt>
                <c:pt idx="1191">
                  <c:v>1</c:v>
                </c:pt>
                <c:pt idx="1192">
                  <c:v>2</c:v>
                </c:pt>
                <c:pt idx="1194">
                  <c:v>1</c:v>
                </c:pt>
                <c:pt idx="1195">
                  <c:v>2</c:v>
                </c:pt>
                <c:pt idx="1197">
                  <c:v>1</c:v>
                </c:pt>
                <c:pt idx="1198">
                  <c:v>2</c:v>
                </c:pt>
                <c:pt idx="1200">
                  <c:v>1</c:v>
                </c:pt>
                <c:pt idx="1201">
                  <c:v>2</c:v>
                </c:pt>
                <c:pt idx="1203">
                  <c:v>1</c:v>
                </c:pt>
                <c:pt idx="1204">
                  <c:v>2</c:v>
                </c:pt>
                <c:pt idx="1206">
                  <c:v>1</c:v>
                </c:pt>
                <c:pt idx="1207">
                  <c:v>2</c:v>
                </c:pt>
                <c:pt idx="1209">
                  <c:v>1</c:v>
                </c:pt>
                <c:pt idx="1210">
                  <c:v>2</c:v>
                </c:pt>
                <c:pt idx="1212">
                  <c:v>1</c:v>
                </c:pt>
                <c:pt idx="1213">
                  <c:v>2</c:v>
                </c:pt>
                <c:pt idx="1215">
                  <c:v>1</c:v>
                </c:pt>
                <c:pt idx="1216">
                  <c:v>2</c:v>
                </c:pt>
                <c:pt idx="1218">
                  <c:v>1</c:v>
                </c:pt>
                <c:pt idx="1219">
                  <c:v>2</c:v>
                </c:pt>
                <c:pt idx="1221">
                  <c:v>1</c:v>
                </c:pt>
                <c:pt idx="1222">
                  <c:v>2</c:v>
                </c:pt>
                <c:pt idx="1224">
                  <c:v>1</c:v>
                </c:pt>
                <c:pt idx="1225">
                  <c:v>2</c:v>
                </c:pt>
                <c:pt idx="1227">
                  <c:v>1</c:v>
                </c:pt>
                <c:pt idx="1228">
                  <c:v>2</c:v>
                </c:pt>
                <c:pt idx="1230">
                  <c:v>1</c:v>
                </c:pt>
                <c:pt idx="1231">
                  <c:v>2</c:v>
                </c:pt>
                <c:pt idx="1233">
                  <c:v>1</c:v>
                </c:pt>
                <c:pt idx="1234">
                  <c:v>2</c:v>
                </c:pt>
                <c:pt idx="1236">
                  <c:v>1</c:v>
                </c:pt>
                <c:pt idx="1237">
                  <c:v>2</c:v>
                </c:pt>
                <c:pt idx="1239">
                  <c:v>1</c:v>
                </c:pt>
                <c:pt idx="1240">
                  <c:v>2</c:v>
                </c:pt>
                <c:pt idx="1242">
                  <c:v>1</c:v>
                </c:pt>
                <c:pt idx="1243">
                  <c:v>2</c:v>
                </c:pt>
                <c:pt idx="1245">
                  <c:v>1</c:v>
                </c:pt>
                <c:pt idx="1246">
                  <c:v>2</c:v>
                </c:pt>
                <c:pt idx="1248">
                  <c:v>1</c:v>
                </c:pt>
                <c:pt idx="1249">
                  <c:v>2</c:v>
                </c:pt>
                <c:pt idx="1251">
                  <c:v>1</c:v>
                </c:pt>
                <c:pt idx="1252">
                  <c:v>2</c:v>
                </c:pt>
                <c:pt idx="1254">
                  <c:v>1</c:v>
                </c:pt>
                <c:pt idx="1255">
                  <c:v>2</c:v>
                </c:pt>
                <c:pt idx="1257">
                  <c:v>1</c:v>
                </c:pt>
                <c:pt idx="1258">
                  <c:v>2</c:v>
                </c:pt>
                <c:pt idx="1260">
                  <c:v>1</c:v>
                </c:pt>
                <c:pt idx="1261">
                  <c:v>2</c:v>
                </c:pt>
                <c:pt idx="1263">
                  <c:v>1</c:v>
                </c:pt>
                <c:pt idx="1264">
                  <c:v>2</c:v>
                </c:pt>
                <c:pt idx="1266">
                  <c:v>1</c:v>
                </c:pt>
                <c:pt idx="1267">
                  <c:v>2</c:v>
                </c:pt>
                <c:pt idx="1269">
                  <c:v>1</c:v>
                </c:pt>
                <c:pt idx="1270">
                  <c:v>2</c:v>
                </c:pt>
                <c:pt idx="1272">
                  <c:v>1</c:v>
                </c:pt>
                <c:pt idx="1273">
                  <c:v>2</c:v>
                </c:pt>
                <c:pt idx="1275">
                  <c:v>1</c:v>
                </c:pt>
                <c:pt idx="1276">
                  <c:v>2</c:v>
                </c:pt>
                <c:pt idx="1278">
                  <c:v>1</c:v>
                </c:pt>
                <c:pt idx="1279">
                  <c:v>2</c:v>
                </c:pt>
                <c:pt idx="1281">
                  <c:v>1</c:v>
                </c:pt>
                <c:pt idx="1282">
                  <c:v>2</c:v>
                </c:pt>
                <c:pt idx="1284">
                  <c:v>1</c:v>
                </c:pt>
                <c:pt idx="1285">
                  <c:v>2</c:v>
                </c:pt>
                <c:pt idx="1287">
                  <c:v>1</c:v>
                </c:pt>
                <c:pt idx="1288">
                  <c:v>2</c:v>
                </c:pt>
                <c:pt idx="1290">
                  <c:v>1</c:v>
                </c:pt>
                <c:pt idx="1291">
                  <c:v>2</c:v>
                </c:pt>
                <c:pt idx="1293">
                  <c:v>1</c:v>
                </c:pt>
                <c:pt idx="1294">
                  <c:v>2</c:v>
                </c:pt>
                <c:pt idx="1296">
                  <c:v>1</c:v>
                </c:pt>
                <c:pt idx="1297">
                  <c:v>2</c:v>
                </c:pt>
                <c:pt idx="1299">
                  <c:v>1</c:v>
                </c:pt>
                <c:pt idx="1300">
                  <c:v>2</c:v>
                </c:pt>
                <c:pt idx="1302">
                  <c:v>1</c:v>
                </c:pt>
                <c:pt idx="1303">
                  <c:v>2</c:v>
                </c:pt>
                <c:pt idx="1305">
                  <c:v>1</c:v>
                </c:pt>
                <c:pt idx="1306">
                  <c:v>2</c:v>
                </c:pt>
                <c:pt idx="1308">
                  <c:v>1</c:v>
                </c:pt>
                <c:pt idx="1309">
                  <c:v>2</c:v>
                </c:pt>
                <c:pt idx="1311">
                  <c:v>1</c:v>
                </c:pt>
                <c:pt idx="1312">
                  <c:v>2</c:v>
                </c:pt>
                <c:pt idx="1314">
                  <c:v>1</c:v>
                </c:pt>
                <c:pt idx="1315">
                  <c:v>2</c:v>
                </c:pt>
                <c:pt idx="1317">
                  <c:v>1</c:v>
                </c:pt>
                <c:pt idx="1318">
                  <c:v>2</c:v>
                </c:pt>
                <c:pt idx="1320">
                  <c:v>1</c:v>
                </c:pt>
                <c:pt idx="1321">
                  <c:v>2</c:v>
                </c:pt>
                <c:pt idx="1323">
                  <c:v>1</c:v>
                </c:pt>
                <c:pt idx="1324">
                  <c:v>2</c:v>
                </c:pt>
                <c:pt idx="1326">
                  <c:v>1</c:v>
                </c:pt>
                <c:pt idx="1327">
                  <c:v>2</c:v>
                </c:pt>
                <c:pt idx="1329">
                  <c:v>1</c:v>
                </c:pt>
                <c:pt idx="1330">
                  <c:v>2</c:v>
                </c:pt>
                <c:pt idx="1332">
                  <c:v>1</c:v>
                </c:pt>
                <c:pt idx="1333">
                  <c:v>2</c:v>
                </c:pt>
                <c:pt idx="1335">
                  <c:v>1</c:v>
                </c:pt>
                <c:pt idx="1336">
                  <c:v>2</c:v>
                </c:pt>
                <c:pt idx="1338">
                  <c:v>1</c:v>
                </c:pt>
                <c:pt idx="1339">
                  <c:v>2</c:v>
                </c:pt>
                <c:pt idx="1341">
                  <c:v>1</c:v>
                </c:pt>
                <c:pt idx="1342">
                  <c:v>2</c:v>
                </c:pt>
                <c:pt idx="1344">
                  <c:v>1</c:v>
                </c:pt>
                <c:pt idx="1345">
                  <c:v>2</c:v>
                </c:pt>
                <c:pt idx="1347">
                  <c:v>1</c:v>
                </c:pt>
                <c:pt idx="1348">
                  <c:v>2</c:v>
                </c:pt>
                <c:pt idx="1350">
                  <c:v>1</c:v>
                </c:pt>
                <c:pt idx="1351">
                  <c:v>2</c:v>
                </c:pt>
                <c:pt idx="1353">
                  <c:v>1</c:v>
                </c:pt>
                <c:pt idx="1354">
                  <c:v>2</c:v>
                </c:pt>
                <c:pt idx="1356">
                  <c:v>1</c:v>
                </c:pt>
                <c:pt idx="1357">
                  <c:v>2</c:v>
                </c:pt>
                <c:pt idx="1359">
                  <c:v>1</c:v>
                </c:pt>
                <c:pt idx="1360">
                  <c:v>2</c:v>
                </c:pt>
                <c:pt idx="1362">
                  <c:v>1</c:v>
                </c:pt>
                <c:pt idx="1363">
                  <c:v>2</c:v>
                </c:pt>
                <c:pt idx="1365">
                  <c:v>1</c:v>
                </c:pt>
                <c:pt idx="1366">
                  <c:v>2</c:v>
                </c:pt>
                <c:pt idx="1368">
                  <c:v>1</c:v>
                </c:pt>
                <c:pt idx="1369">
                  <c:v>2</c:v>
                </c:pt>
                <c:pt idx="1371">
                  <c:v>1</c:v>
                </c:pt>
                <c:pt idx="1372">
                  <c:v>2</c:v>
                </c:pt>
                <c:pt idx="1374">
                  <c:v>1</c:v>
                </c:pt>
                <c:pt idx="1375">
                  <c:v>2</c:v>
                </c:pt>
                <c:pt idx="1377">
                  <c:v>1</c:v>
                </c:pt>
                <c:pt idx="1378">
                  <c:v>2</c:v>
                </c:pt>
                <c:pt idx="1380">
                  <c:v>1</c:v>
                </c:pt>
                <c:pt idx="1381">
                  <c:v>2</c:v>
                </c:pt>
                <c:pt idx="1383">
                  <c:v>1</c:v>
                </c:pt>
                <c:pt idx="1384">
                  <c:v>2</c:v>
                </c:pt>
                <c:pt idx="1386">
                  <c:v>1</c:v>
                </c:pt>
                <c:pt idx="1387">
                  <c:v>2</c:v>
                </c:pt>
                <c:pt idx="1389">
                  <c:v>1</c:v>
                </c:pt>
                <c:pt idx="1390">
                  <c:v>2</c:v>
                </c:pt>
                <c:pt idx="1392">
                  <c:v>1</c:v>
                </c:pt>
                <c:pt idx="1393">
                  <c:v>2</c:v>
                </c:pt>
                <c:pt idx="1395">
                  <c:v>1</c:v>
                </c:pt>
                <c:pt idx="1396">
                  <c:v>2</c:v>
                </c:pt>
                <c:pt idx="1398">
                  <c:v>1</c:v>
                </c:pt>
                <c:pt idx="1399">
                  <c:v>2</c:v>
                </c:pt>
                <c:pt idx="1401">
                  <c:v>1</c:v>
                </c:pt>
                <c:pt idx="1402">
                  <c:v>2</c:v>
                </c:pt>
                <c:pt idx="1404">
                  <c:v>1</c:v>
                </c:pt>
                <c:pt idx="1405">
                  <c:v>2</c:v>
                </c:pt>
                <c:pt idx="1407">
                  <c:v>1</c:v>
                </c:pt>
                <c:pt idx="1408">
                  <c:v>2</c:v>
                </c:pt>
                <c:pt idx="1410">
                  <c:v>1</c:v>
                </c:pt>
                <c:pt idx="1411">
                  <c:v>2</c:v>
                </c:pt>
                <c:pt idx="1413">
                  <c:v>1</c:v>
                </c:pt>
                <c:pt idx="1414">
                  <c:v>2</c:v>
                </c:pt>
                <c:pt idx="1416">
                  <c:v>1</c:v>
                </c:pt>
                <c:pt idx="1417">
                  <c:v>2</c:v>
                </c:pt>
                <c:pt idx="1419">
                  <c:v>1</c:v>
                </c:pt>
                <c:pt idx="1420">
                  <c:v>2</c:v>
                </c:pt>
                <c:pt idx="1422">
                  <c:v>1</c:v>
                </c:pt>
                <c:pt idx="1423">
                  <c:v>2</c:v>
                </c:pt>
                <c:pt idx="1425">
                  <c:v>1</c:v>
                </c:pt>
                <c:pt idx="1426">
                  <c:v>2</c:v>
                </c:pt>
                <c:pt idx="1428">
                  <c:v>1</c:v>
                </c:pt>
                <c:pt idx="1429">
                  <c:v>2</c:v>
                </c:pt>
                <c:pt idx="1431">
                  <c:v>1</c:v>
                </c:pt>
                <c:pt idx="1432">
                  <c:v>2</c:v>
                </c:pt>
                <c:pt idx="1434">
                  <c:v>1</c:v>
                </c:pt>
                <c:pt idx="1435">
                  <c:v>2</c:v>
                </c:pt>
                <c:pt idx="1437">
                  <c:v>1</c:v>
                </c:pt>
                <c:pt idx="1438">
                  <c:v>2</c:v>
                </c:pt>
                <c:pt idx="1440">
                  <c:v>1</c:v>
                </c:pt>
                <c:pt idx="1441">
                  <c:v>2</c:v>
                </c:pt>
                <c:pt idx="1443">
                  <c:v>1</c:v>
                </c:pt>
                <c:pt idx="1444">
                  <c:v>2</c:v>
                </c:pt>
                <c:pt idx="1446">
                  <c:v>1</c:v>
                </c:pt>
                <c:pt idx="1447">
                  <c:v>2</c:v>
                </c:pt>
                <c:pt idx="1449">
                  <c:v>1</c:v>
                </c:pt>
                <c:pt idx="1450">
                  <c:v>2</c:v>
                </c:pt>
                <c:pt idx="1452">
                  <c:v>1</c:v>
                </c:pt>
                <c:pt idx="1453">
                  <c:v>2</c:v>
                </c:pt>
                <c:pt idx="1455">
                  <c:v>1</c:v>
                </c:pt>
                <c:pt idx="1456">
                  <c:v>2</c:v>
                </c:pt>
                <c:pt idx="1458">
                  <c:v>1</c:v>
                </c:pt>
                <c:pt idx="1459">
                  <c:v>2</c:v>
                </c:pt>
                <c:pt idx="1461">
                  <c:v>1</c:v>
                </c:pt>
                <c:pt idx="1462">
                  <c:v>2</c:v>
                </c:pt>
                <c:pt idx="1464">
                  <c:v>1</c:v>
                </c:pt>
                <c:pt idx="1465">
                  <c:v>2</c:v>
                </c:pt>
                <c:pt idx="1467">
                  <c:v>1</c:v>
                </c:pt>
                <c:pt idx="1468">
                  <c:v>2</c:v>
                </c:pt>
                <c:pt idx="1470">
                  <c:v>1</c:v>
                </c:pt>
                <c:pt idx="1471">
                  <c:v>2</c:v>
                </c:pt>
                <c:pt idx="1473">
                  <c:v>1</c:v>
                </c:pt>
                <c:pt idx="1474">
                  <c:v>2</c:v>
                </c:pt>
                <c:pt idx="1476">
                  <c:v>1</c:v>
                </c:pt>
                <c:pt idx="1477">
                  <c:v>2</c:v>
                </c:pt>
              </c:numCache>
            </c:numRef>
          </c:xVal>
          <c:yVal>
            <c:numRef>
              <c:f>Figure1A!$E$47:$E$1525</c:f>
              <c:numCache>
                <c:formatCode>General</c:formatCode>
                <c:ptCount val="1479"/>
                <c:pt idx="0">
                  <c:v>0.86</c:v>
                </c:pt>
                <c:pt idx="1">
                  <c:v>0.92</c:v>
                </c:pt>
                <c:pt idx="3">
                  <c:v>0.8</c:v>
                </c:pt>
                <c:pt idx="4">
                  <c:v>0.92</c:v>
                </c:pt>
                <c:pt idx="6">
                  <c:v>0.76</c:v>
                </c:pt>
                <c:pt idx="7">
                  <c:v>0.99</c:v>
                </c:pt>
                <c:pt idx="9">
                  <c:v>0.76</c:v>
                </c:pt>
                <c:pt idx="10">
                  <c:v>1</c:v>
                </c:pt>
                <c:pt idx="12">
                  <c:v>0.39</c:v>
                </c:pt>
                <c:pt idx="13">
                  <c:v>0.95</c:v>
                </c:pt>
                <c:pt idx="15">
                  <c:v>0.88</c:v>
                </c:pt>
                <c:pt idx="16">
                  <c:v>1.02</c:v>
                </c:pt>
                <c:pt idx="18">
                  <c:v>0.87</c:v>
                </c:pt>
                <c:pt idx="19">
                  <c:v>0.91</c:v>
                </c:pt>
                <c:pt idx="21">
                  <c:v>0.86</c:v>
                </c:pt>
                <c:pt idx="22">
                  <c:v>0.9</c:v>
                </c:pt>
                <c:pt idx="24">
                  <c:v>0.82</c:v>
                </c:pt>
                <c:pt idx="25">
                  <c:v>0.93</c:v>
                </c:pt>
                <c:pt idx="27">
                  <c:v>0.86</c:v>
                </c:pt>
                <c:pt idx="28">
                  <c:v>0.92</c:v>
                </c:pt>
                <c:pt idx="30">
                  <c:v>0.68</c:v>
                </c:pt>
                <c:pt idx="31">
                  <c:v>0.97</c:v>
                </c:pt>
                <c:pt idx="33">
                  <c:v>0.62</c:v>
                </c:pt>
                <c:pt idx="34">
                  <c:v>0.97</c:v>
                </c:pt>
                <c:pt idx="36">
                  <c:v>0.23</c:v>
                </c:pt>
                <c:pt idx="37">
                  <c:v>0.94</c:v>
                </c:pt>
                <c:pt idx="39">
                  <c:v>0.85</c:v>
                </c:pt>
                <c:pt idx="40">
                  <c:v>1</c:v>
                </c:pt>
                <c:pt idx="42">
                  <c:v>0.82</c:v>
                </c:pt>
                <c:pt idx="43">
                  <c:v>0.9</c:v>
                </c:pt>
                <c:pt idx="45">
                  <c:v>0.83</c:v>
                </c:pt>
                <c:pt idx="46">
                  <c:v>0.91</c:v>
                </c:pt>
                <c:pt idx="48">
                  <c:v>0.15</c:v>
                </c:pt>
                <c:pt idx="49">
                  <c:v>0.84</c:v>
                </c:pt>
                <c:pt idx="51">
                  <c:v>0.87</c:v>
                </c:pt>
                <c:pt idx="52">
                  <c:v>0.98</c:v>
                </c:pt>
                <c:pt idx="54">
                  <c:v>0.83</c:v>
                </c:pt>
                <c:pt idx="55">
                  <c:v>0.89</c:v>
                </c:pt>
                <c:pt idx="57">
                  <c:v>0.86</c:v>
                </c:pt>
                <c:pt idx="58">
                  <c:v>0.89</c:v>
                </c:pt>
                <c:pt idx="60">
                  <c:v>0.82</c:v>
                </c:pt>
                <c:pt idx="61">
                  <c:v>0.91</c:v>
                </c:pt>
                <c:pt idx="63">
                  <c:v>0.33</c:v>
                </c:pt>
                <c:pt idx="64">
                  <c:v>0.94</c:v>
                </c:pt>
                <c:pt idx="66">
                  <c:v>0.68</c:v>
                </c:pt>
                <c:pt idx="67">
                  <c:v>0.9</c:v>
                </c:pt>
                <c:pt idx="69">
                  <c:v>0.87</c:v>
                </c:pt>
                <c:pt idx="70">
                  <c:v>0.87</c:v>
                </c:pt>
                <c:pt idx="72">
                  <c:v>0.7</c:v>
                </c:pt>
                <c:pt idx="73">
                  <c:v>0.96</c:v>
                </c:pt>
                <c:pt idx="75">
                  <c:v>0.68</c:v>
                </c:pt>
                <c:pt idx="76">
                  <c:v>0.86</c:v>
                </c:pt>
                <c:pt idx="78">
                  <c:v>0.88</c:v>
                </c:pt>
                <c:pt idx="79">
                  <c:v>0.93</c:v>
                </c:pt>
                <c:pt idx="81">
                  <c:v>0.62</c:v>
                </c:pt>
                <c:pt idx="82">
                  <c:v>0.84</c:v>
                </c:pt>
                <c:pt idx="84">
                  <c:v>0.21</c:v>
                </c:pt>
                <c:pt idx="85">
                  <c:v>0.85</c:v>
                </c:pt>
                <c:pt idx="87">
                  <c:v>0.25</c:v>
                </c:pt>
                <c:pt idx="88">
                  <c:v>0.96</c:v>
                </c:pt>
                <c:pt idx="90">
                  <c:v>0.55000000000000004</c:v>
                </c:pt>
                <c:pt idx="91">
                  <c:v>1</c:v>
                </c:pt>
                <c:pt idx="93">
                  <c:v>0.37</c:v>
                </c:pt>
                <c:pt idx="94">
                  <c:v>0.88</c:v>
                </c:pt>
                <c:pt idx="96">
                  <c:v>0.68</c:v>
                </c:pt>
                <c:pt idx="97">
                  <c:v>0.84</c:v>
                </c:pt>
                <c:pt idx="99">
                  <c:v>0.83</c:v>
                </c:pt>
                <c:pt idx="100">
                  <c:v>0.99</c:v>
                </c:pt>
                <c:pt idx="102">
                  <c:v>0.8</c:v>
                </c:pt>
                <c:pt idx="103">
                  <c:v>0.93</c:v>
                </c:pt>
                <c:pt idx="105">
                  <c:v>0.51</c:v>
                </c:pt>
                <c:pt idx="106">
                  <c:v>0.98</c:v>
                </c:pt>
                <c:pt idx="108">
                  <c:v>0.74</c:v>
                </c:pt>
                <c:pt idx="109">
                  <c:v>0.95</c:v>
                </c:pt>
                <c:pt idx="111">
                  <c:v>0.32</c:v>
                </c:pt>
                <c:pt idx="112">
                  <c:v>0.94</c:v>
                </c:pt>
                <c:pt idx="114">
                  <c:v>0.67</c:v>
                </c:pt>
                <c:pt idx="115">
                  <c:v>0.87</c:v>
                </c:pt>
                <c:pt idx="117">
                  <c:v>0.38</c:v>
                </c:pt>
                <c:pt idx="118">
                  <c:v>0.94</c:v>
                </c:pt>
                <c:pt idx="120">
                  <c:v>0.87</c:v>
                </c:pt>
                <c:pt idx="121">
                  <c:v>0.94</c:v>
                </c:pt>
                <c:pt idx="123">
                  <c:v>0.86</c:v>
                </c:pt>
                <c:pt idx="124">
                  <c:v>0.93</c:v>
                </c:pt>
                <c:pt idx="126">
                  <c:v>0.84</c:v>
                </c:pt>
                <c:pt idx="127">
                  <c:v>0.87</c:v>
                </c:pt>
                <c:pt idx="129">
                  <c:v>0.84</c:v>
                </c:pt>
                <c:pt idx="130">
                  <c:v>0.91</c:v>
                </c:pt>
                <c:pt idx="132">
                  <c:v>0.87</c:v>
                </c:pt>
                <c:pt idx="133">
                  <c:v>0.97</c:v>
                </c:pt>
                <c:pt idx="135">
                  <c:v>0.28999999999999998</c:v>
                </c:pt>
                <c:pt idx="136">
                  <c:v>0.91</c:v>
                </c:pt>
                <c:pt idx="138">
                  <c:v>0.66</c:v>
                </c:pt>
                <c:pt idx="139">
                  <c:v>1</c:v>
                </c:pt>
                <c:pt idx="141">
                  <c:v>0.3</c:v>
                </c:pt>
                <c:pt idx="142">
                  <c:v>0.87</c:v>
                </c:pt>
                <c:pt idx="144">
                  <c:v>0.45</c:v>
                </c:pt>
                <c:pt idx="145">
                  <c:v>0.95</c:v>
                </c:pt>
                <c:pt idx="147">
                  <c:v>0.87</c:v>
                </c:pt>
                <c:pt idx="148">
                  <c:v>0.87</c:v>
                </c:pt>
                <c:pt idx="150">
                  <c:v>0.36</c:v>
                </c:pt>
                <c:pt idx="151">
                  <c:v>0.98</c:v>
                </c:pt>
                <c:pt idx="153">
                  <c:v>0.56999999999999995</c:v>
                </c:pt>
                <c:pt idx="154">
                  <c:v>0.8</c:v>
                </c:pt>
                <c:pt idx="156">
                  <c:v>0.8</c:v>
                </c:pt>
                <c:pt idx="157">
                  <c:v>0.91</c:v>
                </c:pt>
                <c:pt idx="159">
                  <c:v>0.66</c:v>
                </c:pt>
                <c:pt idx="160">
                  <c:v>0.95</c:v>
                </c:pt>
                <c:pt idx="162">
                  <c:v>0.73</c:v>
                </c:pt>
                <c:pt idx="163">
                  <c:v>0.78</c:v>
                </c:pt>
                <c:pt idx="165">
                  <c:v>0.18</c:v>
                </c:pt>
                <c:pt idx="166">
                  <c:v>0.98</c:v>
                </c:pt>
                <c:pt idx="168">
                  <c:v>0.67</c:v>
                </c:pt>
                <c:pt idx="169">
                  <c:v>0.93</c:v>
                </c:pt>
                <c:pt idx="171">
                  <c:v>0.18</c:v>
                </c:pt>
                <c:pt idx="172">
                  <c:v>0.94</c:v>
                </c:pt>
                <c:pt idx="174">
                  <c:v>0.88</c:v>
                </c:pt>
                <c:pt idx="175">
                  <c:v>0.92</c:v>
                </c:pt>
                <c:pt idx="177">
                  <c:v>0.88</c:v>
                </c:pt>
                <c:pt idx="178">
                  <c:v>0.9</c:v>
                </c:pt>
                <c:pt idx="180">
                  <c:v>0.49</c:v>
                </c:pt>
                <c:pt idx="181">
                  <c:v>0.97</c:v>
                </c:pt>
                <c:pt idx="183">
                  <c:v>0.52</c:v>
                </c:pt>
                <c:pt idx="184">
                  <c:v>0.99</c:v>
                </c:pt>
                <c:pt idx="186">
                  <c:v>0.87</c:v>
                </c:pt>
                <c:pt idx="187">
                  <c:v>0.94</c:v>
                </c:pt>
                <c:pt idx="189">
                  <c:v>0.81</c:v>
                </c:pt>
                <c:pt idx="190">
                  <c:v>0.94</c:v>
                </c:pt>
                <c:pt idx="192">
                  <c:v>0.32</c:v>
                </c:pt>
                <c:pt idx="193">
                  <c:v>0.97</c:v>
                </c:pt>
                <c:pt idx="195">
                  <c:v>0.2</c:v>
                </c:pt>
                <c:pt idx="196">
                  <c:v>0.96</c:v>
                </c:pt>
                <c:pt idx="198">
                  <c:v>0.43</c:v>
                </c:pt>
                <c:pt idx="199">
                  <c:v>0.94</c:v>
                </c:pt>
                <c:pt idx="201">
                  <c:v>0.59</c:v>
                </c:pt>
                <c:pt idx="202">
                  <c:v>0.91</c:v>
                </c:pt>
                <c:pt idx="204">
                  <c:v>0.79</c:v>
                </c:pt>
                <c:pt idx="205">
                  <c:v>0.98</c:v>
                </c:pt>
                <c:pt idx="207">
                  <c:v>0.88</c:v>
                </c:pt>
                <c:pt idx="208">
                  <c:v>0.93</c:v>
                </c:pt>
                <c:pt idx="210">
                  <c:v>0.89</c:v>
                </c:pt>
                <c:pt idx="211">
                  <c:v>0.93</c:v>
                </c:pt>
                <c:pt idx="213">
                  <c:v>0.84</c:v>
                </c:pt>
                <c:pt idx="214">
                  <c:v>0.97</c:v>
                </c:pt>
                <c:pt idx="216">
                  <c:v>0.5</c:v>
                </c:pt>
                <c:pt idx="217">
                  <c:v>0.76</c:v>
                </c:pt>
                <c:pt idx="219">
                  <c:v>0.56999999999999995</c:v>
                </c:pt>
                <c:pt idx="220">
                  <c:v>0.98</c:v>
                </c:pt>
                <c:pt idx="222">
                  <c:v>0.74</c:v>
                </c:pt>
                <c:pt idx="223">
                  <c:v>1</c:v>
                </c:pt>
                <c:pt idx="225">
                  <c:v>0.71</c:v>
                </c:pt>
                <c:pt idx="226">
                  <c:v>0.84</c:v>
                </c:pt>
                <c:pt idx="228">
                  <c:v>0.76</c:v>
                </c:pt>
                <c:pt idx="229">
                  <c:v>0.99</c:v>
                </c:pt>
                <c:pt idx="231">
                  <c:v>0.78</c:v>
                </c:pt>
                <c:pt idx="232">
                  <c:v>1.01</c:v>
                </c:pt>
                <c:pt idx="234">
                  <c:v>0.33</c:v>
                </c:pt>
                <c:pt idx="235">
                  <c:v>0.9</c:v>
                </c:pt>
                <c:pt idx="237">
                  <c:v>0.69</c:v>
                </c:pt>
                <c:pt idx="238">
                  <c:v>1.01</c:v>
                </c:pt>
                <c:pt idx="240">
                  <c:v>0.87</c:v>
                </c:pt>
                <c:pt idx="241">
                  <c:v>0.93</c:v>
                </c:pt>
                <c:pt idx="243">
                  <c:v>0.34</c:v>
                </c:pt>
                <c:pt idx="244">
                  <c:v>0.92</c:v>
                </c:pt>
                <c:pt idx="246">
                  <c:v>0.6</c:v>
                </c:pt>
                <c:pt idx="247">
                  <c:v>0.89</c:v>
                </c:pt>
                <c:pt idx="249">
                  <c:v>0.87</c:v>
                </c:pt>
                <c:pt idx="250">
                  <c:v>0.94</c:v>
                </c:pt>
                <c:pt idx="252">
                  <c:v>0.86</c:v>
                </c:pt>
                <c:pt idx="253">
                  <c:v>0.88</c:v>
                </c:pt>
                <c:pt idx="255">
                  <c:v>0.75</c:v>
                </c:pt>
                <c:pt idx="256">
                  <c:v>0.91</c:v>
                </c:pt>
                <c:pt idx="258">
                  <c:v>0.5</c:v>
                </c:pt>
                <c:pt idx="259">
                  <c:v>0.9</c:v>
                </c:pt>
                <c:pt idx="261">
                  <c:v>0.3</c:v>
                </c:pt>
                <c:pt idx="262">
                  <c:v>0.96</c:v>
                </c:pt>
                <c:pt idx="264">
                  <c:v>0.39</c:v>
                </c:pt>
                <c:pt idx="265">
                  <c:v>1</c:v>
                </c:pt>
                <c:pt idx="267">
                  <c:v>0.3</c:v>
                </c:pt>
                <c:pt idx="268">
                  <c:v>1.01</c:v>
                </c:pt>
                <c:pt idx="270">
                  <c:v>0.86</c:v>
                </c:pt>
                <c:pt idx="271">
                  <c:v>1</c:v>
                </c:pt>
                <c:pt idx="273">
                  <c:v>0.86</c:v>
                </c:pt>
                <c:pt idx="274">
                  <c:v>0.97</c:v>
                </c:pt>
                <c:pt idx="276">
                  <c:v>0.84</c:v>
                </c:pt>
                <c:pt idx="277">
                  <c:v>0.87</c:v>
                </c:pt>
                <c:pt idx="279">
                  <c:v>0.78</c:v>
                </c:pt>
                <c:pt idx="280">
                  <c:v>0.83</c:v>
                </c:pt>
                <c:pt idx="282">
                  <c:v>0.79</c:v>
                </c:pt>
                <c:pt idx="283">
                  <c:v>0.84</c:v>
                </c:pt>
                <c:pt idx="285">
                  <c:v>0.86</c:v>
                </c:pt>
                <c:pt idx="286">
                  <c:v>0.91</c:v>
                </c:pt>
                <c:pt idx="288">
                  <c:v>0.87</c:v>
                </c:pt>
                <c:pt idx="289">
                  <c:v>1.08</c:v>
                </c:pt>
                <c:pt idx="291">
                  <c:v>0.8</c:v>
                </c:pt>
                <c:pt idx="292">
                  <c:v>0.84</c:v>
                </c:pt>
                <c:pt idx="294">
                  <c:v>0.33</c:v>
                </c:pt>
                <c:pt idx="295">
                  <c:v>0.96</c:v>
                </c:pt>
                <c:pt idx="297">
                  <c:v>0.89</c:v>
                </c:pt>
                <c:pt idx="298">
                  <c:v>0.92</c:v>
                </c:pt>
                <c:pt idx="300">
                  <c:v>0.82</c:v>
                </c:pt>
                <c:pt idx="301">
                  <c:v>0.94</c:v>
                </c:pt>
                <c:pt idx="303">
                  <c:v>0.69</c:v>
                </c:pt>
                <c:pt idx="304">
                  <c:v>1.02</c:v>
                </c:pt>
                <c:pt idx="306">
                  <c:v>0.36</c:v>
                </c:pt>
                <c:pt idx="307">
                  <c:v>0.89</c:v>
                </c:pt>
                <c:pt idx="309">
                  <c:v>0.88</c:v>
                </c:pt>
                <c:pt idx="310">
                  <c:v>1</c:v>
                </c:pt>
                <c:pt idx="312">
                  <c:v>0.83</c:v>
                </c:pt>
                <c:pt idx="313">
                  <c:v>0.91</c:v>
                </c:pt>
                <c:pt idx="315">
                  <c:v>0.82</c:v>
                </c:pt>
                <c:pt idx="316">
                  <c:v>0.94</c:v>
                </c:pt>
                <c:pt idx="318">
                  <c:v>0.86</c:v>
                </c:pt>
                <c:pt idx="319">
                  <c:v>0.89</c:v>
                </c:pt>
                <c:pt idx="321">
                  <c:v>0.89</c:v>
                </c:pt>
                <c:pt idx="322">
                  <c:v>0.98</c:v>
                </c:pt>
                <c:pt idx="324">
                  <c:v>0.31</c:v>
                </c:pt>
                <c:pt idx="325">
                  <c:v>0.8</c:v>
                </c:pt>
                <c:pt idx="327">
                  <c:v>0.87</c:v>
                </c:pt>
                <c:pt idx="328">
                  <c:v>0.93</c:v>
                </c:pt>
                <c:pt idx="330">
                  <c:v>0.72</c:v>
                </c:pt>
                <c:pt idx="331">
                  <c:v>1</c:v>
                </c:pt>
                <c:pt idx="333">
                  <c:v>0.64</c:v>
                </c:pt>
                <c:pt idx="334">
                  <c:v>0.92</c:v>
                </c:pt>
                <c:pt idx="336">
                  <c:v>0.62</c:v>
                </c:pt>
                <c:pt idx="337">
                  <c:v>0.97</c:v>
                </c:pt>
                <c:pt idx="339">
                  <c:v>0.32</c:v>
                </c:pt>
                <c:pt idx="340">
                  <c:v>0.94</c:v>
                </c:pt>
                <c:pt idx="342">
                  <c:v>0.44</c:v>
                </c:pt>
                <c:pt idx="343">
                  <c:v>0.9</c:v>
                </c:pt>
                <c:pt idx="345">
                  <c:v>0.75</c:v>
                </c:pt>
                <c:pt idx="346">
                  <c:v>0.91</c:v>
                </c:pt>
                <c:pt idx="348">
                  <c:v>0.82</c:v>
                </c:pt>
                <c:pt idx="349">
                  <c:v>0.9</c:v>
                </c:pt>
                <c:pt idx="351">
                  <c:v>0.76</c:v>
                </c:pt>
                <c:pt idx="352">
                  <c:v>0.79</c:v>
                </c:pt>
                <c:pt idx="354">
                  <c:v>0.45</c:v>
                </c:pt>
                <c:pt idx="355">
                  <c:v>0.96</c:v>
                </c:pt>
                <c:pt idx="357">
                  <c:v>0.45</c:v>
                </c:pt>
                <c:pt idx="358">
                  <c:v>0.93</c:v>
                </c:pt>
                <c:pt idx="360">
                  <c:v>0.89</c:v>
                </c:pt>
                <c:pt idx="361">
                  <c:v>0.89</c:v>
                </c:pt>
                <c:pt idx="363">
                  <c:v>0.87</c:v>
                </c:pt>
                <c:pt idx="364">
                  <c:v>0.97</c:v>
                </c:pt>
                <c:pt idx="366">
                  <c:v>0.85</c:v>
                </c:pt>
                <c:pt idx="367">
                  <c:v>0.9</c:v>
                </c:pt>
                <c:pt idx="369">
                  <c:v>0.65</c:v>
                </c:pt>
                <c:pt idx="370">
                  <c:v>0.71</c:v>
                </c:pt>
                <c:pt idx="372">
                  <c:v>0.85</c:v>
                </c:pt>
                <c:pt idx="373">
                  <c:v>0.88</c:v>
                </c:pt>
                <c:pt idx="375">
                  <c:v>0.84</c:v>
                </c:pt>
                <c:pt idx="376">
                  <c:v>0.98</c:v>
                </c:pt>
                <c:pt idx="378">
                  <c:v>0.85</c:v>
                </c:pt>
                <c:pt idx="379">
                  <c:v>0.94</c:v>
                </c:pt>
                <c:pt idx="381">
                  <c:v>0.88</c:v>
                </c:pt>
                <c:pt idx="382">
                  <c:v>0.9</c:v>
                </c:pt>
                <c:pt idx="384">
                  <c:v>0.19</c:v>
                </c:pt>
                <c:pt idx="385">
                  <c:v>0.95</c:v>
                </c:pt>
                <c:pt idx="387">
                  <c:v>0.42</c:v>
                </c:pt>
                <c:pt idx="388">
                  <c:v>0.97</c:v>
                </c:pt>
                <c:pt idx="390">
                  <c:v>0.2</c:v>
                </c:pt>
                <c:pt idx="391">
                  <c:v>1.02</c:v>
                </c:pt>
                <c:pt idx="393">
                  <c:v>0.25</c:v>
                </c:pt>
                <c:pt idx="394">
                  <c:v>0.88</c:v>
                </c:pt>
                <c:pt idx="396">
                  <c:v>0.63</c:v>
                </c:pt>
                <c:pt idx="397">
                  <c:v>0.98</c:v>
                </c:pt>
                <c:pt idx="399">
                  <c:v>0.69</c:v>
                </c:pt>
                <c:pt idx="400">
                  <c:v>0.98</c:v>
                </c:pt>
                <c:pt idx="402">
                  <c:v>0.84</c:v>
                </c:pt>
                <c:pt idx="403">
                  <c:v>1.01</c:v>
                </c:pt>
                <c:pt idx="405">
                  <c:v>0.84</c:v>
                </c:pt>
                <c:pt idx="406">
                  <c:v>0.98</c:v>
                </c:pt>
                <c:pt idx="408">
                  <c:v>0.67</c:v>
                </c:pt>
                <c:pt idx="409">
                  <c:v>0.99</c:v>
                </c:pt>
                <c:pt idx="411">
                  <c:v>0.84</c:v>
                </c:pt>
                <c:pt idx="412">
                  <c:v>0.92</c:v>
                </c:pt>
                <c:pt idx="414">
                  <c:v>0.84</c:v>
                </c:pt>
                <c:pt idx="415">
                  <c:v>0.9</c:v>
                </c:pt>
                <c:pt idx="417">
                  <c:v>0.31</c:v>
                </c:pt>
                <c:pt idx="418">
                  <c:v>0.96</c:v>
                </c:pt>
                <c:pt idx="420">
                  <c:v>0.22</c:v>
                </c:pt>
                <c:pt idx="421">
                  <c:v>0.95</c:v>
                </c:pt>
                <c:pt idx="423">
                  <c:v>0.87</c:v>
                </c:pt>
                <c:pt idx="424">
                  <c:v>0.92</c:v>
                </c:pt>
                <c:pt idx="426">
                  <c:v>0.75</c:v>
                </c:pt>
                <c:pt idx="427">
                  <c:v>0.97</c:v>
                </c:pt>
                <c:pt idx="429">
                  <c:v>0.74</c:v>
                </c:pt>
                <c:pt idx="430">
                  <c:v>0.89</c:v>
                </c:pt>
                <c:pt idx="432">
                  <c:v>0.84</c:v>
                </c:pt>
                <c:pt idx="433">
                  <c:v>0.93</c:v>
                </c:pt>
                <c:pt idx="435">
                  <c:v>0.24</c:v>
                </c:pt>
                <c:pt idx="436">
                  <c:v>0.91</c:v>
                </c:pt>
                <c:pt idx="438">
                  <c:v>0.56999999999999995</c:v>
                </c:pt>
                <c:pt idx="439">
                  <c:v>1.02</c:v>
                </c:pt>
                <c:pt idx="441">
                  <c:v>0.35</c:v>
                </c:pt>
                <c:pt idx="442">
                  <c:v>0.96</c:v>
                </c:pt>
                <c:pt idx="444">
                  <c:v>0.89</c:v>
                </c:pt>
                <c:pt idx="445">
                  <c:v>0.92</c:v>
                </c:pt>
                <c:pt idx="447">
                  <c:v>0.83</c:v>
                </c:pt>
                <c:pt idx="448">
                  <c:v>0.96</c:v>
                </c:pt>
                <c:pt idx="450">
                  <c:v>0.41</c:v>
                </c:pt>
                <c:pt idx="451">
                  <c:v>0.9</c:v>
                </c:pt>
                <c:pt idx="453">
                  <c:v>0.79</c:v>
                </c:pt>
                <c:pt idx="454">
                  <c:v>0.89</c:v>
                </c:pt>
                <c:pt idx="456">
                  <c:v>0.86</c:v>
                </c:pt>
                <c:pt idx="457">
                  <c:v>0.98</c:v>
                </c:pt>
                <c:pt idx="459">
                  <c:v>0.76</c:v>
                </c:pt>
                <c:pt idx="460">
                  <c:v>0.9</c:v>
                </c:pt>
                <c:pt idx="462">
                  <c:v>0.28000000000000003</c:v>
                </c:pt>
                <c:pt idx="463">
                  <c:v>0.94</c:v>
                </c:pt>
                <c:pt idx="465">
                  <c:v>0.88</c:v>
                </c:pt>
                <c:pt idx="466">
                  <c:v>0.95</c:v>
                </c:pt>
                <c:pt idx="468">
                  <c:v>0.89</c:v>
                </c:pt>
                <c:pt idx="469">
                  <c:v>0.93</c:v>
                </c:pt>
                <c:pt idx="471">
                  <c:v>0.86</c:v>
                </c:pt>
                <c:pt idx="472">
                  <c:v>0.96</c:v>
                </c:pt>
                <c:pt idx="474">
                  <c:v>0.89</c:v>
                </c:pt>
                <c:pt idx="475">
                  <c:v>0.93</c:v>
                </c:pt>
                <c:pt idx="477">
                  <c:v>0.84</c:v>
                </c:pt>
                <c:pt idx="478">
                  <c:v>0.93</c:v>
                </c:pt>
                <c:pt idx="480">
                  <c:v>0.73</c:v>
                </c:pt>
                <c:pt idx="481">
                  <c:v>0.89</c:v>
                </c:pt>
                <c:pt idx="483">
                  <c:v>0.89</c:v>
                </c:pt>
                <c:pt idx="484">
                  <c:v>0.94</c:v>
                </c:pt>
                <c:pt idx="486">
                  <c:v>0.86</c:v>
                </c:pt>
                <c:pt idx="487">
                  <c:v>0.94</c:v>
                </c:pt>
                <c:pt idx="489">
                  <c:v>0.72</c:v>
                </c:pt>
                <c:pt idx="490">
                  <c:v>1.02</c:v>
                </c:pt>
                <c:pt idx="492">
                  <c:v>0.87</c:v>
                </c:pt>
                <c:pt idx="493">
                  <c:v>0.93</c:v>
                </c:pt>
                <c:pt idx="495">
                  <c:v>0.85</c:v>
                </c:pt>
                <c:pt idx="496">
                  <c:v>0.95</c:v>
                </c:pt>
                <c:pt idx="498">
                  <c:v>0.83</c:v>
                </c:pt>
                <c:pt idx="499">
                  <c:v>0.87</c:v>
                </c:pt>
                <c:pt idx="501">
                  <c:v>0.53</c:v>
                </c:pt>
                <c:pt idx="502">
                  <c:v>0.99</c:v>
                </c:pt>
                <c:pt idx="504">
                  <c:v>0.48</c:v>
                </c:pt>
                <c:pt idx="505">
                  <c:v>0.88</c:v>
                </c:pt>
                <c:pt idx="507">
                  <c:v>0.86</c:v>
                </c:pt>
                <c:pt idx="508">
                  <c:v>0.95</c:v>
                </c:pt>
                <c:pt idx="510">
                  <c:v>0.86</c:v>
                </c:pt>
                <c:pt idx="511">
                  <c:v>0.92</c:v>
                </c:pt>
                <c:pt idx="513">
                  <c:v>0.72</c:v>
                </c:pt>
                <c:pt idx="514">
                  <c:v>1.01</c:v>
                </c:pt>
                <c:pt idx="516">
                  <c:v>0.86</c:v>
                </c:pt>
                <c:pt idx="517">
                  <c:v>0.88</c:v>
                </c:pt>
                <c:pt idx="519">
                  <c:v>0.86</c:v>
                </c:pt>
                <c:pt idx="520">
                  <c:v>0.93</c:v>
                </c:pt>
                <c:pt idx="522">
                  <c:v>0.7</c:v>
                </c:pt>
                <c:pt idx="523">
                  <c:v>0.95</c:v>
                </c:pt>
                <c:pt idx="525">
                  <c:v>0.89</c:v>
                </c:pt>
                <c:pt idx="526">
                  <c:v>1.01</c:v>
                </c:pt>
                <c:pt idx="528">
                  <c:v>0.6</c:v>
                </c:pt>
                <c:pt idx="529">
                  <c:v>1.05</c:v>
                </c:pt>
                <c:pt idx="531">
                  <c:v>0.75</c:v>
                </c:pt>
                <c:pt idx="532">
                  <c:v>0.86</c:v>
                </c:pt>
                <c:pt idx="534">
                  <c:v>0.85</c:v>
                </c:pt>
                <c:pt idx="535">
                  <c:v>1.01</c:v>
                </c:pt>
                <c:pt idx="537">
                  <c:v>0.3</c:v>
                </c:pt>
                <c:pt idx="538">
                  <c:v>0.99</c:v>
                </c:pt>
                <c:pt idx="540">
                  <c:v>0.15</c:v>
                </c:pt>
                <c:pt idx="541">
                  <c:v>0.61</c:v>
                </c:pt>
                <c:pt idx="543">
                  <c:v>0.75</c:v>
                </c:pt>
                <c:pt idx="544">
                  <c:v>0.97</c:v>
                </c:pt>
                <c:pt idx="546">
                  <c:v>0.55000000000000004</c:v>
                </c:pt>
                <c:pt idx="547">
                  <c:v>0.79</c:v>
                </c:pt>
                <c:pt idx="549">
                  <c:v>0.6</c:v>
                </c:pt>
                <c:pt idx="550">
                  <c:v>1</c:v>
                </c:pt>
                <c:pt idx="552">
                  <c:v>0.87</c:v>
                </c:pt>
                <c:pt idx="553">
                  <c:v>0.92</c:v>
                </c:pt>
                <c:pt idx="555">
                  <c:v>0.88</c:v>
                </c:pt>
                <c:pt idx="556">
                  <c:v>0.92</c:v>
                </c:pt>
                <c:pt idx="558">
                  <c:v>0.19</c:v>
                </c:pt>
                <c:pt idx="559">
                  <c:v>0.94</c:v>
                </c:pt>
                <c:pt idx="561">
                  <c:v>0.6</c:v>
                </c:pt>
                <c:pt idx="562">
                  <c:v>0.93</c:v>
                </c:pt>
                <c:pt idx="564">
                  <c:v>0.38</c:v>
                </c:pt>
                <c:pt idx="565">
                  <c:v>0.94</c:v>
                </c:pt>
                <c:pt idx="567">
                  <c:v>0.74</c:v>
                </c:pt>
                <c:pt idx="568">
                  <c:v>0.91</c:v>
                </c:pt>
                <c:pt idx="570">
                  <c:v>0.89</c:v>
                </c:pt>
                <c:pt idx="571">
                  <c:v>0.89</c:v>
                </c:pt>
                <c:pt idx="573">
                  <c:v>0.66</c:v>
                </c:pt>
                <c:pt idx="574">
                  <c:v>0.97</c:v>
                </c:pt>
                <c:pt idx="576">
                  <c:v>0.76</c:v>
                </c:pt>
                <c:pt idx="577">
                  <c:v>0.92</c:v>
                </c:pt>
                <c:pt idx="579">
                  <c:v>0.87</c:v>
                </c:pt>
                <c:pt idx="580">
                  <c:v>0.96</c:v>
                </c:pt>
                <c:pt idx="582">
                  <c:v>0.5</c:v>
                </c:pt>
                <c:pt idx="583">
                  <c:v>1.02</c:v>
                </c:pt>
                <c:pt idx="585">
                  <c:v>0.42</c:v>
                </c:pt>
                <c:pt idx="586">
                  <c:v>0.95</c:v>
                </c:pt>
                <c:pt idx="588">
                  <c:v>0.72</c:v>
                </c:pt>
                <c:pt idx="589">
                  <c:v>0.85</c:v>
                </c:pt>
                <c:pt idx="591">
                  <c:v>0.51</c:v>
                </c:pt>
                <c:pt idx="592">
                  <c:v>0.82</c:v>
                </c:pt>
                <c:pt idx="594">
                  <c:v>0.87</c:v>
                </c:pt>
                <c:pt idx="595">
                  <c:v>0.98</c:v>
                </c:pt>
                <c:pt idx="597">
                  <c:v>0.76</c:v>
                </c:pt>
                <c:pt idx="598">
                  <c:v>0.86</c:v>
                </c:pt>
                <c:pt idx="600">
                  <c:v>0.75</c:v>
                </c:pt>
                <c:pt idx="601">
                  <c:v>0.95</c:v>
                </c:pt>
                <c:pt idx="603">
                  <c:v>0.89</c:v>
                </c:pt>
                <c:pt idx="604">
                  <c:v>0.93</c:v>
                </c:pt>
                <c:pt idx="606">
                  <c:v>0.73</c:v>
                </c:pt>
                <c:pt idx="607">
                  <c:v>0.91</c:v>
                </c:pt>
                <c:pt idx="609">
                  <c:v>0.65</c:v>
                </c:pt>
                <c:pt idx="610">
                  <c:v>0.93</c:v>
                </c:pt>
                <c:pt idx="612">
                  <c:v>0.37</c:v>
                </c:pt>
                <c:pt idx="613">
                  <c:v>0.97</c:v>
                </c:pt>
                <c:pt idx="615">
                  <c:v>0.33</c:v>
                </c:pt>
                <c:pt idx="616">
                  <c:v>0.93</c:v>
                </c:pt>
                <c:pt idx="618">
                  <c:v>0.87</c:v>
                </c:pt>
                <c:pt idx="619">
                  <c:v>0.94</c:v>
                </c:pt>
                <c:pt idx="621">
                  <c:v>0.81</c:v>
                </c:pt>
                <c:pt idx="622">
                  <c:v>0.98</c:v>
                </c:pt>
                <c:pt idx="624">
                  <c:v>0.89</c:v>
                </c:pt>
                <c:pt idx="625">
                  <c:v>0.89</c:v>
                </c:pt>
                <c:pt idx="627">
                  <c:v>0.45</c:v>
                </c:pt>
                <c:pt idx="628">
                  <c:v>0.83</c:v>
                </c:pt>
                <c:pt idx="630">
                  <c:v>0.69</c:v>
                </c:pt>
                <c:pt idx="631">
                  <c:v>0.78</c:v>
                </c:pt>
                <c:pt idx="633">
                  <c:v>0.77</c:v>
                </c:pt>
                <c:pt idx="634">
                  <c:v>0.97</c:v>
                </c:pt>
                <c:pt idx="636">
                  <c:v>0.85</c:v>
                </c:pt>
                <c:pt idx="637">
                  <c:v>0.92</c:v>
                </c:pt>
                <c:pt idx="639">
                  <c:v>0.89</c:v>
                </c:pt>
                <c:pt idx="640">
                  <c:v>0.96</c:v>
                </c:pt>
                <c:pt idx="642">
                  <c:v>0.82</c:v>
                </c:pt>
                <c:pt idx="643">
                  <c:v>0.94</c:v>
                </c:pt>
                <c:pt idx="645">
                  <c:v>0.56000000000000005</c:v>
                </c:pt>
                <c:pt idx="646">
                  <c:v>0.86</c:v>
                </c:pt>
                <c:pt idx="648">
                  <c:v>0.61</c:v>
                </c:pt>
                <c:pt idx="649">
                  <c:v>0.99</c:v>
                </c:pt>
                <c:pt idx="651">
                  <c:v>0.8</c:v>
                </c:pt>
                <c:pt idx="652">
                  <c:v>0.99</c:v>
                </c:pt>
                <c:pt idx="654">
                  <c:v>0.85</c:v>
                </c:pt>
                <c:pt idx="655">
                  <c:v>1</c:v>
                </c:pt>
                <c:pt idx="657">
                  <c:v>0.84</c:v>
                </c:pt>
                <c:pt idx="658">
                  <c:v>0.99</c:v>
                </c:pt>
                <c:pt idx="660">
                  <c:v>0.87</c:v>
                </c:pt>
                <c:pt idx="661">
                  <c:v>0.93</c:v>
                </c:pt>
                <c:pt idx="663">
                  <c:v>0.72</c:v>
                </c:pt>
                <c:pt idx="664">
                  <c:v>0.92</c:v>
                </c:pt>
                <c:pt idx="666">
                  <c:v>0.88</c:v>
                </c:pt>
                <c:pt idx="667">
                  <c:v>0.94</c:v>
                </c:pt>
                <c:pt idx="669">
                  <c:v>0.28000000000000003</c:v>
                </c:pt>
                <c:pt idx="670">
                  <c:v>0.87</c:v>
                </c:pt>
                <c:pt idx="672">
                  <c:v>0.79</c:v>
                </c:pt>
                <c:pt idx="673">
                  <c:v>0.94</c:v>
                </c:pt>
                <c:pt idx="675">
                  <c:v>0.32</c:v>
                </c:pt>
                <c:pt idx="676">
                  <c:v>0.89</c:v>
                </c:pt>
                <c:pt idx="678">
                  <c:v>0.8</c:v>
                </c:pt>
                <c:pt idx="679">
                  <c:v>0.93</c:v>
                </c:pt>
                <c:pt idx="681">
                  <c:v>0.83</c:v>
                </c:pt>
                <c:pt idx="682">
                  <c:v>0.96</c:v>
                </c:pt>
                <c:pt idx="684">
                  <c:v>0.83</c:v>
                </c:pt>
                <c:pt idx="685">
                  <c:v>0.91</c:v>
                </c:pt>
                <c:pt idx="687">
                  <c:v>0.87</c:v>
                </c:pt>
                <c:pt idx="688">
                  <c:v>0.9</c:v>
                </c:pt>
                <c:pt idx="690">
                  <c:v>7.0000000000000007E-2</c:v>
                </c:pt>
                <c:pt idx="691">
                  <c:v>0.9</c:v>
                </c:pt>
                <c:pt idx="693">
                  <c:v>0.87</c:v>
                </c:pt>
                <c:pt idx="694">
                  <c:v>0.93</c:v>
                </c:pt>
                <c:pt idx="696">
                  <c:v>0.84</c:v>
                </c:pt>
                <c:pt idx="697">
                  <c:v>1</c:v>
                </c:pt>
                <c:pt idx="699">
                  <c:v>0.41</c:v>
                </c:pt>
                <c:pt idx="700">
                  <c:v>1.04</c:v>
                </c:pt>
                <c:pt idx="702">
                  <c:v>0.59</c:v>
                </c:pt>
                <c:pt idx="703">
                  <c:v>0.98</c:v>
                </c:pt>
                <c:pt idx="705">
                  <c:v>0.28999999999999998</c:v>
                </c:pt>
                <c:pt idx="706">
                  <c:v>0.96</c:v>
                </c:pt>
                <c:pt idx="708">
                  <c:v>0.88</c:v>
                </c:pt>
                <c:pt idx="709">
                  <c:v>0.96</c:v>
                </c:pt>
                <c:pt idx="711">
                  <c:v>0.56999999999999995</c:v>
                </c:pt>
                <c:pt idx="712">
                  <c:v>0.95</c:v>
                </c:pt>
                <c:pt idx="714">
                  <c:v>0.81</c:v>
                </c:pt>
                <c:pt idx="715">
                  <c:v>0.89</c:v>
                </c:pt>
                <c:pt idx="717">
                  <c:v>0.21</c:v>
                </c:pt>
                <c:pt idx="718">
                  <c:v>0.95</c:v>
                </c:pt>
                <c:pt idx="720">
                  <c:v>0.86</c:v>
                </c:pt>
                <c:pt idx="721">
                  <c:v>0.93</c:v>
                </c:pt>
                <c:pt idx="723">
                  <c:v>0.85</c:v>
                </c:pt>
                <c:pt idx="724">
                  <c:v>0.92</c:v>
                </c:pt>
                <c:pt idx="726">
                  <c:v>0.39</c:v>
                </c:pt>
                <c:pt idx="727">
                  <c:v>0.99</c:v>
                </c:pt>
                <c:pt idx="729">
                  <c:v>0.89</c:v>
                </c:pt>
                <c:pt idx="730">
                  <c:v>0.98</c:v>
                </c:pt>
                <c:pt idx="732">
                  <c:v>0.89</c:v>
                </c:pt>
                <c:pt idx="733">
                  <c:v>1.05</c:v>
                </c:pt>
                <c:pt idx="735">
                  <c:v>0.76</c:v>
                </c:pt>
                <c:pt idx="736">
                  <c:v>0.95</c:v>
                </c:pt>
                <c:pt idx="738">
                  <c:v>0.77</c:v>
                </c:pt>
                <c:pt idx="739">
                  <c:v>1</c:v>
                </c:pt>
                <c:pt idx="741">
                  <c:v>0.86</c:v>
                </c:pt>
                <c:pt idx="742">
                  <c:v>0.93</c:v>
                </c:pt>
                <c:pt idx="744">
                  <c:v>0.79</c:v>
                </c:pt>
                <c:pt idx="745">
                  <c:v>0.93</c:v>
                </c:pt>
                <c:pt idx="747">
                  <c:v>0.89</c:v>
                </c:pt>
                <c:pt idx="748">
                  <c:v>0.9</c:v>
                </c:pt>
                <c:pt idx="750">
                  <c:v>0.17</c:v>
                </c:pt>
                <c:pt idx="751">
                  <c:v>1.01</c:v>
                </c:pt>
                <c:pt idx="753">
                  <c:v>0.33</c:v>
                </c:pt>
                <c:pt idx="754">
                  <c:v>0.95</c:v>
                </c:pt>
                <c:pt idx="756">
                  <c:v>0.79</c:v>
                </c:pt>
                <c:pt idx="757">
                  <c:v>0.86</c:v>
                </c:pt>
                <c:pt idx="759">
                  <c:v>0.76</c:v>
                </c:pt>
                <c:pt idx="760">
                  <c:v>1.05</c:v>
                </c:pt>
                <c:pt idx="762">
                  <c:v>0.33</c:v>
                </c:pt>
                <c:pt idx="763">
                  <c:v>0.84</c:v>
                </c:pt>
                <c:pt idx="765">
                  <c:v>0.46</c:v>
                </c:pt>
                <c:pt idx="766">
                  <c:v>0.99</c:v>
                </c:pt>
                <c:pt idx="768">
                  <c:v>0.14000000000000001</c:v>
                </c:pt>
                <c:pt idx="769">
                  <c:v>0.82</c:v>
                </c:pt>
                <c:pt idx="771">
                  <c:v>0.27</c:v>
                </c:pt>
                <c:pt idx="772">
                  <c:v>0.84</c:v>
                </c:pt>
                <c:pt idx="774">
                  <c:v>0.89</c:v>
                </c:pt>
                <c:pt idx="775">
                  <c:v>0.93</c:v>
                </c:pt>
                <c:pt idx="777">
                  <c:v>0.77</c:v>
                </c:pt>
                <c:pt idx="778">
                  <c:v>0.95</c:v>
                </c:pt>
                <c:pt idx="780">
                  <c:v>0.89</c:v>
                </c:pt>
                <c:pt idx="781">
                  <c:v>0.93</c:v>
                </c:pt>
                <c:pt idx="783">
                  <c:v>0.72</c:v>
                </c:pt>
                <c:pt idx="784">
                  <c:v>1.02</c:v>
                </c:pt>
                <c:pt idx="786">
                  <c:v>0.84</c:v>
                </c:pt>
                <c:pt idx="787">
                  <c:v>1</c:v>
                </c:pt>
                <c:pt idx="789">
                  <c:v>0.26</c:v>
                </c:pt>
                <c:pt idx="790">
                  <c:v>1</c:v>
                </c:pt>
                <c:pt idx="792">
                  <c:v>0.64</c:v>
                </c:pt>
                <c:pt idx="793">
                  <c:v>0.88</c:v>
                </c:pt>
                <c:pt idx="795">
                  <c:v>0.88</c:v>
                </c:pt>
                <c:pt idx="796">
                  <c:v>0.96</c:v>
                </c:pt>
                <c:pt idx="798">
                  <c:v>0.81</c:v>
                </c:pt>
                <c:pt idx="799">
                  <c:v>0.88</c:v>
                </c:pt>
                <c:pt idx="801">
                  <c:v>0.87</c:v>
                </c:pt>
                <c:pt idx="802">
                  <c:v>0.94</c:v>
                </c:pt>
                <c:pt idx="804">
                  <c:v>0.71</c:v>
                </c:pt>
                <c:pt idx="805">
                  <c:v>0.99</c:v>
                </c:pt>
                <c:pt idx="807">
                  <c:v>0.84</c:v>
                </c:pt>
                <c:pt idx="808">
                  <c:v>1.02</c:v>
                </c:pt>
                <c:pt idx="810">
                  <c:v>0.86</c:v>
                </c:pt>
                <c:pt idx="811">
                  <c:v>0.93</c:v>
                </c:pt>
                <c:pt idx="813">
                  <c:v>0.89</c:v>
                </c:pt>
                <c:pt idx="814">
                  <c:v>0.95</c:v>
                </c:pt>
                <c:pt idx="816">
                  <c:v>0.89</c:v>
                </c:pt>
                <c:pt idx="817">
                  <c:v>0.93</c:v>
                </c:pt>
                <c:pt idx="819">
                  <c:v>0.87</c:v>
                </c:pt>
                <c:pt idx="820">
                  <c:v>1.06</c:v>
                </c:pt>
                <c:pt idx="822">
                  <c:v>0.53</c:v>
                </c:pt>
                <c:pt idx="823">
                  <c:v>0.93</c:v>
                </c:pt>
                <c:pt idx="825">
                  <c:v>0.74</c:v>
                </c:pt>
                <c:pt idx="826">
                  <c:v>0.96</c:v>
                </c:pt>
                <c:pt idx="828">
                  <c:v>0.88</c:v>
                </c:pt>
                <c:pt idx="829">
                  <c:v>0.99</c:v>
                </c:pt>
                <c:pt idx="831">
                  <c:v>0.82</c:v>
                </c:pt>
                <c:pt idx="832">
                  <c:v>0.94</c:v>
                </c:pt>
                <c:pt idx="834">
                  <c:v>0.56999999999999995</c:v>
                </c:pt>
                <c:pt idx="835">
                  <c:v>1</c:v>
                </c:pt>
                <c:pt idx="837">
                  <c:v>0.81</c:v>
                </c:pt>
                <c:pt idx="838">
                  <c:v>0.95</c:v>
                </c:pt>
                <c:pt idx="840">
                  <c:v>0.32</c:v>
                </c:pt>
                <c:pt idx="841">
                  <c:v>0.99</c:v>
                </c:pt>
                <c:pt idx="843">
                  <c:v>0.85</c:v>
                </c:pt>
                <c:pt idx="844">
                  <c:v>0.95</c:v>
                </c:pt>
                <c:pt idx="846">
                  <c:v>0.83</c:v>
                </c:pt>
                <c:pt idx="847">
                  <c:v>1.01</c:v>
                </c:pt>
                <c:pt idx="849">
                  <c:v>0.41</c:v>
                </c:pt>
                <c:pt idx="850">
                  <c:v>0.99</c:v>
                </c:pt>
                <c:pt idx="852">
                  <c:v>0.77</c:v>
                </c:pt>
                <c:pt idx="853">
                  <c:v>0.94</c:v>
                </c:pt>
                <c:pt idx="855">
                  <c:v>0.8</c:v>
                </c:pt>
                <c:pt idx="856">
                  <c:v>0.81</c:v>
                </c:pt>
                <c:pt idx="858">
                  <c:v>0.89</c:v>
                </c:pt>
                <c:pt idx="859">
                  <c:v>0.97</c:v>
                </c:pt>
                <c:pt idx="861">
                  <c:v>0.53</c:v>
                </c:pt>
                <c:pt idx="862">
                  <c:v>0.8</c:v>
                </c:pt>
                <c:pt idx="864">
                  <c:v>0.88</c:v>
                </c:pt>
                <c:pt idx="865">
                  <c:v>0.95</c:v>
                </c:pt>
                <c:pt idx="867">
                  <c:v>0.57999999999999996</c:v>
                </c:pt>
                <c:pt idx="868">
                  <c:v>0.99</c:v>
                </c:pt>
                <c:pt idx="870">
                  <c:v>0.44</c:v>
                </c:pt>
                <c:pt idx="871">
                  <c:v>0.92</c:v>
                </c:pt>
                <c:pt idx="873">
                  <c:v>0.83</c:v>
                </c:pt>
                <c:pt idx="874">
                  <c:v>0.91</c:v>
                </c:pt>
                <c:pt idx="876">
                  <c:v>0.89</c:v>
                </c:pt>
                <c:pt idx="877">
                  <c:v>1.01</c:v>
                </c:pt>
                <c:pt idx="879">
                  <c:v>0.87</c:v>
                </c:pt>
                <c:pt idx="880">
                  <c:v>0.93</c:v>
                </c:pt>
                <c:pt idx="882">
                  <c:v>0.78</c:v>
                </c:pt>
                <c:pt idx="883">
                  <c:v>1.02</c:v>
                </c:pt>
                <c:pt idx="885">
                  <c:v>0.28000000000000003</c:v>
                </c:pt>
                <c:pt idx="886">
                  <c:v>0.66</c:v>
                </c:pt>
                <c:pt idx="888">
                  <c:v>0.89</c:v>
                </c:pt>
                <c:pt idx="889">
                  <c:v>0.97</c:v>
                </c:pt>
                <c:pt idx="891">
                  <c:v>0.87</c:v>
                </c:pt>
                <c:pt idx="892">
                  <c:v>0.95</c:v>
                </c:pt>
                <c:pt idx="894">
                  <c:v>0.82</c:v>
                </c:pt>
                <c:pt idx="895">
                  <c:v>0.93</c:v>
                </c:pt>
                <c:pt idx="897">
                  <c:v>0.22</c:v>
                </c:pt>
                <c:pt idx="898">
                  <c:v>0.63</c:v>
                </c:pt>
                <c:pt idx="900">
                  <c:v>0.64</c:v>
                </c:pt>
                <c:pt idx="901">
                  <c:v>0.98</c:v>
                </c:pt>
                <c:pt idx="903">
                  <c:v>0.28000000000000003</c:v>
                </c:pt>
                <c:pt idx="904">
                  <c:v>0.99</c:v>
                </c:pt>
                <c:pt idx="906">
                  <c:v>0.52</c:v>
                </c:pt>
                <c:pt idx="907">
                  <c:v>0.93</c:v>
                </c:pt>
                <c:pt idx="909">
                  <c:v>0.79</c:v>
                </c:pt>
                <c:pt idx="910">
                  <c:v>0.89</c:v>
                </c:pt>
                <c:pt idx="912">
                  <c:v>0.8</c:v>
                </c:pt>
                <c:pt idx="913">
                  <c:v>0.93</c:v>
                </c:pt>
                <c:pt idx="915">
                  <c:v>0.87</c:v>
                </c:pt>
                <c:pt idx="916">
                  <c:v>0.93</c:v>
                </c:pt>
                <c:pt idx="918">
                  <c:v>0.73</c:v>
                </c:pt>
                <c:pt idx="919">
                  <c:v>0.86</c:v>
                </c:pt>
                <c:pt idx="921">
                  <c:v>0.44</c:v>
                </c:pt>
                <c:pt idx="922">
                  <c:v>0.99</c:v>
                </c:pt>
                <c:pt idx="924">
                  <c:v>0.89</c:v>
                </c:pt>
                <c:pt idx="925">
                  <c:v>0.93</c:v>
                </c:pt>
                <c:pt idx="927">
                  <c:v>0.36</c:v>
                </c:pt>
                <c:pt idx="928">
                  <c:v>0.94</c:v>
                </c:pt>
                <c:pt idx="930">
                  <c:v>0.76</c:v>
                </c:pt>
                <c:pt idx="931">
                  <c:v>0.91</c:v>
                </c:pt>
                <c:pt idx="933">
                  <c:v>0.84</c:v>
                </c:pt>
                <c:pt idx="934">
                  <c:v>0.97</c:v>
                </c:pt>
                <c:pt idx="936">
                  <c:v>0.88</c:v>
                </c:pt>
                <c:pt idx="937">
                  <c:v>0.88</c:v>
                </c:pt>
                <c:pt idx="939">
                  <c:v>0.26</c:v>
                </c:pt>
                <c:pt idx="940">
                  <c:v>1.01</c:v>
                </c:pt>
                <c:pt idx="942">
                  <c:v>0.77</c:v>
                </c:pt>
                <c:pt idx="943">
                  <c:v>0.9</c:v>
                </c:pt>
                <c:pt idx="945">
                  <c:v>0.87</c:v>
                </c:pt>
                <c:pt idx="946">
                  <c:v>0.92</c:v>
                </c:pt>
                <c:pt idx="948">
                  <c:v>0.83</c:v>
                </c:pt>
                <c:pt idx="949">
                  <c:v>0.91</c:v>
                </c:pt>
                <c:pt idx="951">
                  <c:v>0.85</c:v>
                </c:pt>
                <c:pt idx="952">
                  <c:v>0.89</c:v>
                </c:pt>
                <c:pt idx="954">
                  <c:v>0.86</c:v>
                </c:pt>
                <c:pt idx="955">
                  <c:v>0.91</c:v>
                </c:pt>
                <c:pt idx="957">
                  <c:v>0.86</c:v>
                </c:pt>
                <c:pt idx="958">
                  <c:v>0.95</c:v>
                </c:pt>
                <c:pt idx="960">
                  <c:v>0.84</c:v>
                </c:pt>
                <c:pt idx="961">
                  <c:v>0.92</c:v>
                </c:pt>
                <c:pt idx="963">
                  <c:v>0.83</c:v>
                </c:pt>
                <c:pt idx="964">
                  <c:v>0.84</c:v>
                </c:pt>
                <c:pt idx="966">
                  <c:v>0.25</c:v>
                </c:pt>
                <c:pt idx="967">
                  <c:v>0.94</c:v>
                </c:pt>
                <c:pt idx="969">
                  <c:v>0.87</c:v>
                </c:pt>
                <c:pt idx="970">
                  <c:v>0.93</c:v>
                </c:pt>
                <c:pt idx="972">
                  <c:v>0.86</c:v>
                </c:pt>
                <c:pt idx="973">
                  <c:v>0.94</c:v>
                </c:pt>
                <c:pt idx="975">
                  <c:v>0.8</c:v>
                </c:pt>
                <c:pt idx="976">
                  <c:v>0.87</c:v>
                </c:pt>
                <c:pt idx="978">
                  <c:v>0.81</c:v>
                </c:pt>
                <c:pt idx="979">
                  <c:v>0.88</c:v>
                </c:pt>
                <c:pt idx="981">
                  <c:v>0.77</c:v>
                </c:pt>
                <c:pt idx="982">
                  <c:v>0.98</c:v>
                </c:pt>
                <c:pt idx="984">
                  <c:v>0.79</c:v>
                </c:pt>
                <c:pt idx="985">
                  <c:v>0.99</c:v>
                </c:pt>
                <c:pt idx="987">
                  <c:v>0.11</c:v>
                </c:pt>
                <c:pt idx="988">
                  <c:v>0.87</c:v>
                </c:pt>
                <c:pt idx="990">
                  <c:v>0.81</c:v>
                </c:pt>
                <c:pt idx="991">
                  <c:v>0.92</c:v>
                </c:pt>
                <c:pt idx="993">
                  <c:v>0.88</c:v>
                </c:pt>
                <c:pt idx="994">
                  <c:v>0.91</c:v>
                </c:pt>
                <c:pt idx="996">
                  <c:v>0.8</c:v>
                </c:pt>
                <c:pt idx="997">
                  <c:v>0.87</c:v>
                </c:pt>
                <c:pt idx="999">
                  <c:v>0.85</c:v>
                </c:pt>
                <c:pt idx="1000">
                  <c:v>0.92</c:v>
                </c:pt>
                <c:pt idx="1002">
                  <c:v>0.84</c:v>
                </c:pt>
                <c:pt idx="1003">
                  <c:v>0.94</c:v>
                </c:pt>
                <c:pt idx="1005">
                  <c:v>0.85</c:v>
                </c:pt>
                <c:pt idx="1006">
                  <c:v>0.91</c:v>
                </c:pt>
                <c:pt idx="1008">
                  <c:v>0.45</c:v>
                </c:pt>
                <c:pt idx="1009">
                  <c:v>0.96</c:v>
                </c:pt>
                <c:pt idx="1011">
                  <c:v>0.21</c:v>
                </c:pt>
                <c:pt idx="1012">
                  <c:v>0.9</c:v>
                </c:pt>
                <c:pt idx="1014">
                  <c:v>0.84</c:v>
                </c:pt>
                <c:pt idx="1015">
                  <c:v>0.87</c:v>
                </c:pt>
                <c:pt idx="1017">
                  <c:v>0.86</c:v>
                </c:pt>
                <c:pt idx="1018">
                  <c:v>0.95</c:v>
                </c:pt>
                <c:pt idx="1020">
                  <c:v>0.84</c:v>
                </c:pt>
                <c:pt idx="1021">
                  <c:v>0.92</c:v>
                </c:pt>
                <c:pt idx="1023">
                  <c:v>0.81</c:v>
                </c:pt>
                <c:pt idx="1024">
                  <c:v>0.87</c:v>
                </c:pt>
                <c:pt idx="1026">
                  <c:v>0.56999999999999995</c:v>
                </c:pt>
                <c:pt idx="1027">
                  <c:v>0.91</c:v>
                </c:pt>
                <c:pt idx="1029">
                  <c:v>0.82</c:v>
                </c:pt>
                <c:pt idx="1030">
                  <c:v>0.96</c:v>
                </c:pt>
                <c:pt idx="1032">
                  <c:v>0.81</c:v>
                </c:pt>
                <c:pt idx="1033">
                  <c:v>0.94</c:v>
                </c:pt>
                <c:pt idx="1035">
                  <c:v>0.36</c:v>
                </c:pt>
                <c:pt idx="1036">
                  <c:v>1.05</c:v>
                </c:pt>
                <c:pt idx="1038">
                  <c:v>0.89</c:v>
                </c:pt>
                <c:pt idx="1039">
                  <c:v>0.93</c:v>
                </c:pt>
                <c:pt idx="1041">
                  <c:v>0.84</c:v>
                </c:pt>
                <c:pt idx="1042">
                  <c:v>1.03</c:v>
                </c:pt>
                <c:pt idx="1044">
                  <c:v>0.27</c:v>
                </c:pt>
                <c:pt idx="1045">
                  <c:v>0.94</c:v>
                </c:pt>
                <c:pt idx="1047">
                  <c:v>0.86</c:v>
                </c:pt>
                <c:pt idx="1048">
                  <c:v>0.94</c:v>
                </c:pt>
                <c:pt idx="1050">
                  <c:v>0.36</c:v>
                </c:pt>
                <c:pt idx="1051">
                  <c:v>0.99</c:v>
                </c:pt>
                <c:pt idx="1053">
                  <c:v>0.71</c:v>
                </c:pt>
                <c:pt idx="1054">
                  <c:v>0.8</c:v>
                </c:pt>
                <c:pt idx="1056">
                  <c:v>0.14000000000000001</c:v>
                </c:pt>
                <c:pt idx="1057">
                  <c:v>0.86</c:v>
                </c:pt>
                <c:pt idx="1059">
                  <c:v>0.73</c:v>
                </c:pt>
                <c:pt idx="1060">
                  <c:v>0.95</c:v>
                </c:pt>
                <c:pt idx="1062">
                  <c:v>0.38</c:v>
                </c:pt>
                <c:pt idx="1063">
                  <c:v>0.98</c:v>
                </c:pt>
                <c:pt idx="1065">
                  <c:v>0.14000000000000001</c:v>
                </c:pt>
                <c:pt idx="1066">
                  <c:v>0.97</c:v>
                </c:pt>
                <c:pt idx="1068">
                  <c:v>0.76</c:v>
                </c:pt>
                <c:pt idx="1069">
                  <c:v>0.94</c:v>
                </c:pt>
                <c:pt idx="1071">
                  <c:v>0.84</c:v>
                </c:pt>
                <c:pt idx="1072">
                  <c:v>0.92</c:v>
                </c:pt>
                <c:pt idx="1074">
                  <c:v>0.84</c:v>
                </c:pt>
                <c:pt idx="1075">
                  <c:v>0.95</c:v>
                </c:pt>
                <c:pt idx="1077">
                  <c:v>0.8</c:v>
                </c:pt>
                <c:pt idx="1078">
                  <c:v>0.88</c:v>
                </c:pt>
                <c:pt idx="1080">
                  <c:v>0.46</c:v>
                </c:pt>
                <c:pt idx="1081">
                  <c:v>0.97</c:v>
                </c:pt>
                <c:pt idx="1083">
                  <c:v>0.23</c:v>
                </c:pt>
                <c:pt idx="1084">
                  <c:v>1.0900000000000001</c:v>
                </c:pt>
                <c:pt idx="1086">
                  <c:v>0.85</c:v>
                </c:pt>
                <c:pt idx="1087">
                  <c:v>1.01</c:v>
                </c:pt>
                <c:pt idx="1089">
                  <c:v>0.83</c:v>
                </c:pt>
                <c:pt idx="1090">
                  <c:v>0.9</c:v>
                </c:pt>
                <c:pt idx="1092">
                  <c:v>0.12</c:v>
                </c:pt>
                <c:pt idx="1093">
                  <c:v>0.91</c:v>
                </c:pt>
                <c:pt idx="1095">
                  <c:v>0.77</c:v>
                </c:pt>
                <c:pt idx="1096">
                  <c:v>0.87</c:v>
                </c:pt>
                <c:pt idx="1098">
                  <c:v>0.8</c:v>
                </c:pt>
                <c:pt idx="1099">
                  <c:v>0.88</c:v>
                </c:pt>
                <c:pt idx="1101">
                  <c:v>0.61</c:v>
                </c:pt>
                <c:pt idx="1102">
                  <c:v>1</c:v>
                </c:pt>
                <c:pt idx="1104">
                  <c:v>0.78</c:v>
                </c:pt>
                <c:pt idx="1105">
                  <c:v>0.92</c:v>
                </c:pt>
                <c:pt idx="1107">
                  <c:v>0.52</c:v>
                </c:pt>
                <c:pt idx="1108">
                  <c:v>0.9</c:v>
                </c:pt>
                <c:pt idx="1110">
                  <c:v>0.8</c:v>
                </c:pt>
                <c:pt idx="1111">
                  <c:v>0.88</c:v>
                </c:pt>
                <c:pt idx="1113">
                  <c:v>0.4</c:v>
                </c:pt>
                <c:pt idx="1114">
                  <c:v>1</c:v>
                </c:pt>
                <c:pt idx="1116">
                  <c:v>0.86</c:v>
                </c:pt>
                <c:pt idx="1117">
                  <c:v>0.88</c:v>
                </c:pt>
                <c:pt idx="1119">
                  <c:v>0.8</c:v>
                </c:pt>
                <c:pt idx="1120">
                  <c:v>0.95</c:v>
                </c:pt>
                <c:pt idx="1122">
                  <c:v>0.6</c:v>
                </c:pt>
                <c:pt idx="1123">
                  <c:v>0.92</c:v>
                </c:pt>
                <c:pt idx="1125">
                  <c:v>0.8</c:v>
                </c:pt>
                <c:pt idx="1126">
                  <c:v>0.95</c:v>
                </c:pt>
                <c:pt idx="1128">
                  <c:v>0.31</c:v>
                </c:pt>
                <c:pt idx="1129">
                  <c:v>0.96</c:v>
                </c:pt>
                <c:pt idx="1131">
                  <c:v>0.68</c:v>
                </c:pt>
                <c:pt idx="1132">
                  <c:v>0.83</c:v>
                </c:pt>
                <c:pt idx="1134">
                  <c:v>0.89</c:v>
                </c:pt>
                <c:pt idx="1135">
                  <c:v>0.93</c:v>
                </c:pt>
                <c:pt idx="1137">
                  <c:v>0.73</c:v>
                </c:pt>
                <c:pt idx="1138">
                  <c:v>1.04</c:v>
                </c:pt>
                <c:pt idx="1140">
                  <c:v>0.8</c:v>
                </c:pt>
                <c:pt idx="1141">
                  <c:v>0.95</c:v>
                </c:pt>
                <c:pt idx="1143">
                  <c:v>0.88</c:v>
                </c:pt>
                <c:pt idx="1144">
                  <c:v>0.95</c:v>
                </c:pt>
                <c:pt idx="1146">
                  <c:v>0.32</c:v>
                </c:pt>
                <c:pt idx="1147">
                  <c:v>0.6</c:v>
                </c:pt>
                <c:pt idx="1149">
                  <c:v>0.84</c:v>
                </c:pt>
                <c:pt idx="1150">
                  <c:v>0.9</c:v>
                </c:pt>
                <c:pt idx="1152">
                  <c:v>0.37</c:v>
                </c:pt>
                <c:pt idx="1153">
                  <c:v>0.96</c:v>
                </c:pt>
                <c:pt idx="1155">
                  <c:v>0.67</c:v>
                </c:pt>
                <c:pt idx="1156">
                  <c:v>0.95</c:v>
                </c:pt>
                <c:pt idx="1158">
                  <c:v>0.89</c:v>
                </c:pt>
                <c:pt idx="1159">
                  <c:v>0.97</c:v>
                </c:pt>
                <c:pt idx="1161">
                  <c:v>0.83</c:v>
                </c:pt>
                <c:pt idx="1162">
                  <c:v>0.93</c:v>
                </c:pt>
                <c:pt idx="1164">
                  <c:v>0.34</c:v>
                </c:pt>
                <c:pt idx="1165">
                  <c:v>0.92</c:v>
                </c:pt>
                <c:pt idx="1167">
                  <c:v>0.68</c:v>
                </c:pt>
                <c:pt idx="1168">
                  <c:v>0.94</c:v>
                </c:pt>
                <c:pt idx="1170">
                  <c:v>0.49</c:v>
                </c:pt>
                <c:pt idx="1171">
                  <c:v>1.01</c:v>
                </c:pt>
                <c:pt idx="1173">
                  <c:v>0.84</c:v>
                </c:pt>
                <c:pt idx="1174">
                  <c:v>1.03</c:v>
                </c:pt>
                <c:pt idx="1176">
                  <c:v>0.43</c:v>
                </c:pt>
                <c:pt idx="1177">
                  <c:v>0.82</c:v>
                </c:pt>
                <c:pt idx="1179">
                  <c:v>0.82</c:v>
                </c:pt>
                <c:pt idx="1180">
                  <c:v>0.93</c:v>
                </c:pt>
                <c:pt idx="1182">
                  <c:v>0.38</c:v>
                </c:pt>
                <c:pt idx="1183">
                  <c:v>0.7</c:v>
                </c:pt>
                <c:pt idx="1185">
                  <c:v>0.55000000000000004</c:v>
                </c:pt>
                <c:pt idx="1186">
                  <c:v>0.62</c:v>
                </c:pt>
                <c:pt idx="1188">
                  <c:v>0.89</c:v>
                </c:pt>
                <c:pt idx="1189">
                  <c:v>0.95</c:v>
                </c:pt>
                <c:pt idx="1191">
                  <c:v>0.83</c:v>
                </c:pt>
                <c:pt idx="1192">
                  <c:v>0.99</c:v>
                </c:pt>
                <c:pt idx="1194">
                  <c:v>0.8</c:v>
                </c:pt>
                <c:pt idx="1195">
                  <c:v>0.82</c:v>
                </c:pt>
                <c:pt idx="1197">
                  <c:v>0.27</c:v>
                </c:pt>
                <c:pt idx="1198">
                  <c:v>1.03</c:v>
                </c:pt>
                <c:pt idx="1200">
                  <c:v>0.44</c:v>
                </c:pt>
                <c:pt idx="1201">
                  <c:v>0.88</c:v>
                </c:pt>
                <c:pt idx="1203">
                  <c:v>0.78</c:v>
                </c:pt>
                <c:pt idx="1204">
                  <c:v>0.92</c:v>
                </c:pt>
                <c:pt idx="1206">
                  <c:v>0.89</c:v>
                </c:pt>
                <c:pt idx="1207">
                  <c:v>0.95</c:v>
                </c:pt>
                <c:pt idx="1209">
                  <c:v>0.69</c:v>
                </c:pt>
                <c:pt idx="1210">
                  <c:v>0.93</c:v>
                </c:pt>
                <c:pt idx="1212">
                  <c:v>0.6</c:v>
                </c:pt>
                <c:pt idx="1213">
                  <c:v>0.95</c:v>
                </c:pt>
                <c:pt idx="1215">
                  <c:v>0.85</c:v>
                </c:pt>
                <c:pt idx="1216">
                  <c:v>1</c:v>
                </c:pt>
                <c:pt idx="1218">
                  <c:v>0.74</c:v>
                </c:pt>
                <c:pt idx="1219">
                  <c:v>1</c:v>
                </c:pt>
                <c:pt idx="1221">
                  <c:v>0.78</c:v>
                </c:pt>
                <c:pt idx="1222">
                  <c:v>1.01</c:v>
                </c:pt>
                <c:pt idx="1224">
                  <c:v>0.42</c:v>
                </c:pt>
                <c:pt idx="1225">
                  <c:v>1</c:v>
                </c:pt>
                <c:pt idx="1227">
                  <c:v>0.87</c:v>
                </c:pt>
                <c:pt idx="1228">
                  <c:v>0.98</c:v>
                </c:pt>
                <c:pt idx="1230">
                  <c:v>0.35</c:v>
                </c:pt>
                <c:pt idx="1231">
                  <c:v>0.97</c:v>
                </c:pt>
                <c:pt idx="1233">
                  <c:v>0.77</c:v>
                </c:pt>
                <c:pt idx="1234">
                  <c:v>0.98</c:v>
                </c:pt>
                <c:pt idx="1236">
                  <c:v>0.77</c:v>
                </c:pt>
                <c:pt idx="1237">
                  <c:v>0.92</c:v>
                </c:pt>
                <c:pt idx="1239">
                  <c:v>0.54</c:v>
                </c:pt>
                <c:pt idx="1240">
                  <c:v>0.99</c:v>
                </c:pt>
                <c:pt idx="1242">
                  <c:v>0.85</c:v>
                </c:pt>
                <c:pt idx="1243">
                  <c:v>0.87</c:v>
                </c:pt>
                <c:pt idx="1245">
                  <c:v>0.91</c:v>
                </c:pt>
                <c:pt idx="1246">
                  <c:v>0.98</c:v>
                </c:pt>
                <c:pt idx="1248">
                  <c:v>0.88</c:v>
                </c:pt>
                <c:pt idx="1249">
                  <c:v>0.96</c:v>
                </c:pt>
                <c:pt idx="1251">
                  <c:v>0.54</c:v>
                </c:pt>
                <c:pt idx="1252">
                  <c:v>0.98</c:v>
                </c:pt>
                <c:pt idx="1254">
                  <c:v>0.82</c:v>
                </c:pt>
                <c:pt idx="1255">
                  <c:v>0.88</c:v>
                </c:pt>
                <c:pt idx="1257">
                  <c:v>0.72</c:v>
                </c:pt>
                <c:pt idx="1258">
                  <c:v>0.97</c:v>
                </c:pt>
                <c:pt idx="1260">
                  <c:v>0.85</c:v>
                </c:pt>
                <c:pt idx="1261">
                  <c:v>0.95</c:v>
                </c:pt>
                <c:pt idx="1263">
                  <c:v>0.26</c:v>
                </c:pt>
                <c:pt idx="1264">
                  <c:v>0.9</c:v>
                </c:pt>
                <c:pt idx="1266">
                  <c:v>0.67</c:v>
                </c:pt>
                <c:pt idx="1267">
                  <c:v>1.01</c:v>
                </c:pt>
                <c:pt idx="1269">
                  <c:v>0.53</c:v>
                </c:pt>
                <c:pt idx="1270">
                  <c:v>0.97</c:v>
                </c:pt>
                <c:pt idx="1272">
                  <c:v>0.94</c:v>
                </c:pt>
                <c:pt idx="1273">
                  <c:v>1.02</c:v>
                </c:pt>
                <c:pt idx="1275">
                  <c:v>0.75</c:v>
                </c:pt>
                <c:pt idx="1276">
                  <c:v>0.97</c:v>
                </c:pt>
                <c:pt idx="1278">
                  <c:v>0.79</c:v>
                </c:pt>
                <c:pt idx="1279">
                  <c:v>0.92</c:v>
                </c:pt>
                <c:pt idx="1281">
                  <c:v>0.72</c:v>
                </c:pt>
                <c:pt idx="1282">
                  <c:v>0.99</c:v>
                </c:pt>
                <c:pt idx="1284">
                  <c:v>0.87</c:v>
                </c:pt>
                <c:pt idx="1285">
                  <c:v>0.96</c:v>
                </c:pt>
                <c:pt idx="1287">
                  <c:v>0.91</c:v>
                </c:pt>
                <c:pt idx="1288">
                  <c:v>0.99</c:v>
                </c:pt>
                <c:pt idx="1290">
                  <c:v>0.5</c:v>
                </c:pt>
                <c:pt idx="1291">
                  <c:v>1.02</c:v>
                </c:pt>
                <c:pt idx="1293">
                  <c:v>0.64</c:v>
                </c:pt>
                <c:pt idx="1294">
                  <c:v>0.94</c:v>
                </c:pt>
                <c:pt idx="1296">
                  <c:v>0.88</c:v>
                </c:pt>
                <c:pt idx="1297">
                  <c:v>1.01</c:v>
                </c:pt>
                <c:pt idx="1299">
                  <c:v>0.76</c:v>
                </c:pt>
                <c:pt idx="1300">
                  <c:v>0.89</c:v>
                </c:pt>
                <c:pt idx="1302">
                  <c:v>0.83</c:v>
                </c:pt>
                <c:pt idx="1303">
                  <c:v>1.05</c:v>
                </c:pt>
                <c:pt idx="1305">
                  <c:v>0.52</c:v>
                </c:pt>
                <c:pt idx="1306">
                  <c:v>1.06</c:v>
                </c:pt>
                <c:pt idx="1308">
                  <c:v>0.74</c:v>
                </c:pt>
                <c:pt idx="1309">
                  <c:v>0.89</c:v>
                </c:pt>
                <c:pt idx="1311">
                  <c:v>0.87</c:v>
                </c:pt>
                <c:pt idx="1312">
                  <c:v>0.96</c:v>
                </c:pt>
                <c:pt idx="1314">
                  <c:v>0.88</c:v>
                </c:pt>
                <c:pt idx="1315">
                  <c:v>0.97</c:v>
                </c:pt>
                <c:pt idx="1317">
                  <c:v>0.36</c:v>
                </c:pt>
                <c:pt idx="1318">
                  <c:v>0.95</c:v>
                </c:pt>
                <c:pt idx="1320">
                  <c:v>0.88</c:v>
                </c:pt>
                <c:pt idx="1321">
                  <c:v>1</c:v>
                </c:pt>
                <c:pt idx="1323">
                  <c:v>0.16</c:v>
                </c:pt>
                <c:pt idx="1324">
                  <c:v>0.93</c:v>
                </c:pt>
                <c:pt idx="1326">
                  <c:v>0.53</c:v>
                </c:pt>
                <c:pt idx="1327">
                  <c:v>0.97</c:v>
                </c:pt>
                <c:pt idx="1329">
                  <c:v>0.85</c:v>
                </c:pt>
                <c:pt idx="1330">
                  <c:v>0.91</c:v>
                </c:pt>
                <c:pt idx="1332">
                  <c:v>0.93</c:v>
                </c:pt>
                <c:pt idx="1333">
                  <c:v>1.01</c:v>
                </c:pt>
                <c:pt idx="1335">
                  <c:v>0.22</c:v>
                </c:pt>
                <c:pt idx="1336">
                  <c:v>1.01</c:v>
                </c:pt>
                <c:pt idx="1338">
                  <c:v>0.87</c:v>
                </c:pt>
                <c:pt idx="1339">
                  <c:v>0.99</c:v>
                </c:pt>
                <c:pt idx="1341">
                  <c:v>0.82</c:v>
                </c:pt>
                <c:pt idx="1342">
                  <c:v>0.91</c:v>
                </c:pt>
                <c:pt idx="1344">
                  <c:v>0.84</c:v>
                </c:pt>
                <c:pt idx="1345">
                  <c:v>0.93</c:v>
                </c:pt>
                <c:pt idx="1347">
                  <c:v>0.78</c:v>
                </c:pt>
                <c:pt idx="1348">
                  <c:v>0.91</c:v>
                </c:pt>
                <c:pt idx="1350">
                  <c:v>0.73</c:v>
                </c:pt>
                <c:pt idx="1351">
                  <c:v>0.91</c:v>
                </c:pt>
                <c:pt idx="1353">
                  <c:v>0.87</c:v>
                </c:pt>
                <c:pt idx="1354">
                  <c:v>0.93</c:v>
                </c:pt>
                <c:pt idx="1356">
                  <c:v>0.59</c:v>
                </c:pt>
                <c:pt idx="1357">
                  <c:v>0.99</c:v>
                </c:pt>
                <c:pt idx="1359">
                  <c:v>0.6</c:v>
                </c:pt>
                <c:pt idx="1360">
                  <c:v>0.93</c:v>
                </c:pt>
                <c:pt idx="1362">
                  <c:v>0.47</c:v>
                </c:pt>
                <c:pt idx="1363">
                  <c:v>0.97</c:v>
                </c:pt>
                <c:pt idx="1365">
                  <c:v>0.73</c:v>
                </c:pt>
                <c:pt idx="1366">
                  <c:v>0.94</c:v>
                </c:pt>
                <c:pt idx="1368">
                  <c:v>0.85</c:v>
                </c:pt>
                <c:pt idx="1369">
                  <c:v>1.01</c:v>
                </c:pt>
                <c:pt idx="1371">
                  <c:v>0.74</c:v>
                </c:pt>
                <c:pt idx="1372">
                  <c:v>0.94</c:v>
                </c:pt>
                <c:pt idx="1374">
                  <c:v>0.55000000000000004</c:v>
                </c:pt>
                <c:pt idx="1375">
                  <c:v>0.99</c:v>
                </c:pt>
                <c:pt idx="1377">
                  <c:v>0.63</c:v>
                </c:pt>
                <c:pt idx="1378">
                  <c:v>0.91</c:v>
                </c:pt>
                <c:pt idx="1380">
                  <c:v>0.43</c:v>
                </c:pt>
                <c:pt idx="1381">
                  <c:v>0.96</c:v>
                </c:pt>
                <c:pt idx="1383">
                  <c:v>0.52</c:v>
                </c:pt>
                <c:pt idx="1384">
                  <c:v>0.82</c:v>
                </c:pt>
                <c:pt idx="1386">
                  <c:v>0.78</c:v>
                </c:pt>
                <c:pt idx="1387">
                  <c:v>0.96</c:v>
                </c:pt>
                <c:pt idx="1389">
                  <c:v>0.27</c:v>
                </c:pt>
                <c:pt idx="1390">
                  <c:v>0.94</c:v>
                </c:pt>
                <c:pt idx="1392">
                  <c:v>0.87</c:v>
                </c:pt>
                <c:pt idx="1393">
                  <c:v>0.95</c:v>
                </c:pt>
                <c:pt idx="1395">
                  <c:v>0.85</c:v>
                </c:pt>
                <c:pt idx="1396">
                  <c:v>0.97</c:v>
                </c:pt>
                <c:pt idx="1398">
                  <c:v>0.34</c:v>
                </c:pt>
                <c:pt idx="1399">
                  <c:v>0.94</c:v>
                </c:pt>
                <c:pt idx="1401">
                  <c:v>0.87</c:v>
                </c:pt>
                <c:pt idx="1402">
                  <c:v>0.93</c:v>
                </c:pt>
                <c:pt idx="1404">
                  <c:v>0.88</c:v>
                </c:pt>
                <c:pt idx="1405">
                  <c:v>0.88</c:v>
                </c:pt>
                <c:pt idx="1407">
                  <c:v>0.88</c:v>
                </c:pt>
                <c:pt idx="1408">
                  <c:v>0.94</c:v>
                </c:pt>
                <c:pt idx="1410">
                  <c:v>0.8</c:v>
                </c:pt>
                <c:pt idx="1411">
                  <c:v>0.99</c:v>
                </c:pt>
                <c:pt idx="1413">
                  <c:v>0.83</c:v>
                </c:pt>
                <c:pt idx="1414">
                  <c:v>0.87</c:v>
                </c:pt>
                <c:pt idx="1416">
                  <c:v>0.73</c:v>
                </c:pt>
                <c:pt idx="1417">
                  <c:v>0.94</c:v>
                </c:pt>
                <c:pt idx="1419">
                  <c:v>0.85</c:v>
                </c:pt>
                <c:pt idx="1420">
                  <c:v>0.9</c:v>
                </c:pt>
                <c:pt idx="1422">
                  <c:v>0.86</c:v>
                </c:pt>
                <c:pt idx="1423">
                  <c:v>0.91</c:v>
                </c:pt>
                <c:pt idx="1425">
                  <c:v>0.79</c:v>
                </c:pt>
                <c:pt idx="1426">
                  <c:v>0.98</c:v>
                </c:pt>
                <c:pt idx="1428">
                  <c:v>0.82</c:v>
                </c:pt>
                <c:pt idx="1429">
                  <c:v>0.95</c:v>
                </c:pt>
                <c:pt idx="1431">
                  <c:v>0.2</c:v>
                </c:pt>
                <c:pt idx="1432">
                  <c:v>1.05</c:v>
                </c:pt>
                <c:pt idx="1434">
                  <c:v>0.87</c:v>
                </c:pt>
                <c:pt idx="1435">
                  <c:v>0.92</c:v>
                </c:pt>
                <c:pt idx="1437">
                  <c:v>0.81</c:v>
                </c:pt>
                <c:pt idx="1438">
                  <c:v>0.91</c:v>
                </c:pt>
                <c:pt idx="1440">
                  <c:v>0.86</c:v>
                </c:pt>
                <c:pt idx="1441">
                  <c:v>0.89</c:v>
                </c:pt>
                <c:pt idx="1443">
                  <c:v>0.87</c:v>
                </c:pt>
                <c:pt idx="1444">
                  <c:v>0.96</c:v>
                </c:pt>
                <c:pt idx="1446">
                  <c:v>0.89</c:v>
                </c:pt>
                <c:pt idx="1447">
                  <c:v>1.03</c:v>
                </c:pt>
                <c:pt idx="1449">
                  <c:v>0.88</c:v>
                </c:pt>
                <c:pt idx="1450">
                  <c:v>0.91</c:v>
                </c:pt>
                <c:pt idx="1452">
                  <c:v>0.86</c:v>
                </c:pt>
                <c:pt idx="1453">
                  <c:v>0.93</c:v>
                </c:pt>
                <c:pt idx="1455">
                  <c:v>0.61</c:v>
                </c:pt>
                <c:pt idx="1456">
                  <c:v>0.98</c:v>
                </c:pt>
                <c:pt idx="1458">
                  <c:v>0.82</c:v>
                </c:pt>
                <c:pt idx="1459">
                  <c:v>0.88</c:v>
                </c:pt>
                <c:pt idx="1461">
                  <c:v>0.81</c:v>
                </c:pt>
                <c:pt idx="1462">
                  <c:v>0.9</c:v>
                </c:pt>
                <c:pt idx="1464">
                  <c:v>0.65</c:v>
                </c:pt>
                <c:pt idx="1465">
                  <c:v>0.95</c:v>
                </c:pt>
                <c:pt idx="1467">
                  <c:v>0.89</c:v>
                </c:pt>
                <c:pt idx="1468">
                  <c:v>0.97</c:v>
                </c:pt>
                <c:pt idx="1470">
                  <c:v>0.87</c:v>
                </c:pt>
                <c:pt idx="1471">
                  <c:v>0.99</c:v>
                </c:pt>
                <c:pt idx="1473">
                  <c:v>0.5</c:v>
                </c:pt>
                <c:pt idx="1474">
                  <c:v>0.97</c:v>
                </c:pt>
                <c:pt idx="1476">
                  <c:v>0.82</c:v>
                </c:pt>
                <c:pt idx="1477">
                  <c:v>0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A8F-4E5A-A267-23613732F4A2}"/>
            </c:ext>
          </c:extLst>
        </c:ser>
        <c:ser>
          <c:idx val="1"/>
          <c:order val="1"/>
          <c:spPr>
            <a:ln w="127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xVal>
            <c:numRef>
              <c:f>Figure1A!$D$2:$D$46</c:f>
              <c:numCache>
                <c:formatCode>General</c:formatCode>
                <c:ptCount val="45"/>
                <c:pt idx="0">
                  <c:v>1</c:v>
                </c:pt>
                <c:pt idx="1">
                  <c:v>2</c:v>
                </c:pt>
                <c:pt idx="3">
                  <c:v>1</c:v>
                </c:pt>
                <c:pt idx="4">
                  <c:v>2</c:v>
                </c:pt>
                <c:pt idx="6">
                  <c:v>1</c:v>
                </c:pt>
                <c:pt idx="7">
                  <c:v>2</c:v>
                </c:pt>
                <c:pt idx="9">
                  <c:v>1</c:v>
                </c:pt>
                <c:pt idx="10">
                  <c:v>2</c:v>
                </c:pt>
                <c:pt idx="12">
                  <c:v>1</c:v>
                </c:pt>
                <c:pt idx="13">
                  <c:v>2</c:v>
                </c:pt>
                <c:pt idx="15">
                  <c:v>1</c:v>
                </c:pt>
                <c:pt idx="16">
                  <c:v>2</c:v>
                </c:pt>
                <c:pt idx="18">
                  <c:v>1</c:v>
                </c:pt>
                <c:pt idx="19">
                  <c:v>2</c:v>
                </c:pt>
                <c:pt idx="21">
                  <c:v>1</c:v>
                </c:pt>
                <c:pt idx="22">
                  <c:v>2</c:v>
                </c:pt>
                <c:pt idx="24">
                  <c:v>1</c:v>
                </c:pt>
                <c:pt idx="25">
                  <c:v>2</c:v>
                </c:pt>
                <c:pt idx="27">
                  <c:v>1</c:v>
                </c:pt>
                <c:pt idx="28">
                  <c:v>2</c:v>
                </c:pt>
                <c:pt idx="30">
                  <c:v>1</c:v>
                </c:pt>
                <c:pt idx="31">
                  <c:v>2</c:v>
                </c:pt>
                <c:pt idx="33">
                  <c:v>1</c:v>
                </c:pt>
                <c:pt idx="34">
                  <c:v>2</c:v>
                </c:pt>
                <c:pt idx="36">
                  <c:v>1</c:v>
                </c:pt>
                <c:pt idx="37">
                  <c:v>2</c:v>
                </c:pt>
                <c:pt idx="39">
                  <c:v>1</c:v>
                </c:pt>
                <c:pt idx="40">
                  <c:v>2</c:v>
                </c:pt>
                <c:pt idx="42">
                  <c:v>1</c:v>
                </c:pt>
                <c:pt idx="43">
                  <c:v>2</c:v>
                </c:pt>
              </c:numCache>
            </c:numRef>
          </c:xVal>
          <c:yVal>
            <c:numRef>
              <c:f>Figure1A!$E$2:$E$46</c:f>
              <c:numCache>
                <c:formatCode>General</c:formatCode>
                <c:ptCount val="45"/>
                <c:pt idx="0">
                  <c:v>0.89</c:v>
                </c:pt>
                <c:pt idx="1">
                  <c:v>0.86</c:v>
                </c:pt>
                <c:pt idx="3">
                  <c:v>0.68</c:v>
                </c:pt>
                <c:pt idx="4">
                  <c:v>0.66</c:v>
                </c:pt>
                <c:pt idx="6">
                  <c:v>0.8</c:v>
                </c:pt>
                <c:pt idx="7">
                  <c:v>0.73</c:v>
                </c:pt>
                <c:pt idx="9">
                  <c:v>0.89</c:v>
                </c:pt>
                <c:pt idx="10">
                  <c:v>0.85</c:v>
                </c:pt>
                <c:pt idx="12">
                  <c:v>0.85</c:v>
                </c:pt>
                <c:pt idx="13">
                  <c:v>0.84</c:v>
                </c:pt>
                <c:pt idx="15">
                  <c:v>0.88</c:v>
                </c:pt>
                <c:pt idx="16">
                  <c:v>0.86</c:v>
                </c:pt>
                <c:pt idx="18">
                  <c:v>0.89</c:v>
                </c:pt>
                <c:pt idx="19">
                  <c:v>0.84</c:v>
                </c:pt>
                <c:pt idx="21">
                  <c:v>0.89</c:v>
                </c:pt>
                <c:pt idx="22">
                  <c:v>0.86</c:v>
                </c:pt>
                <c:pt idx="24">
                  <c:v>0.86</c:v>
                </c:pt>
                <c:pt idx="25">
                  <c:v>0.82</c:v>
                </c:pt>
                <c:pt idx="27">
                  <c:v>0.82</c:v>
                </c:pt>
                <c:pt idx="28">
                  <c:v>0.77</c:v>
                </c:pt>
                <c:pt idx="30">
                  <c:v>0.88</c:v>
                </c:pt>
                <c:pt idx="31">
                  <c:v>0.87</c:v>
                </c:pt>
                <c:pt idx="33">
                  <c:v>0.88</c:v>
                </c:pt>
                <c:pt idx="34">
                  <c:v>0.86</c:v>
                </c:pt>
                <c:pt idx="36">
                  <c:v>0.86</c:v>
                </c:pt>
                <c:pt idx="37">
                  <c:v>0.82</c:v>
                </c:pt>
                <c:pt idx="39">
                  <c:v>0.87</c:v>
                </c:pt>
                <c:pt idx="40">
                  <c:v>0.85</c:v>
                </c:pt>
                <c:pt idx="42">
                  <c:v>0.85</c:v>
                </c:pt>
                <c:pt idx="43">
                  <c:v>0.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A8F-4E5A-A267-23613732F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1396032"/>
        <c:axId val="561395640"/>
      </c:scatterChart>
      <c:valAx>
        <c:axId val="561396032"/>
        <c:scaling>
          <c:orientation val="minMax"/>
          <c:max val="2.2000000000000002"/>
          <c:min val="0.70000000000000007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1395640"/>
        <c:crosses val="autoZero"/>
        <c:crossBetween val="midCat"/>
      </c:valAx>
      <c:valAx>
        <c:axId val="561395640"/>
        <c:scaling>
          <c:orientation val="minMax"/>
          <c:max val="1.1000000000000001"/>
        </c:scaling>
        <c:delete val="0"/>
        <c:axPos val="l"/>
        <c:numFmt formatCode="#,##0.00" sourceLinked="0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61396032"/>
        <c:crosses val="autoZero"/>
        <c:crossBetween val="midCat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27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xVal>
            <c:numRef>
              <c:f>Sheet4!$A$2:$A$1459</c:f>
              <c:numCache>
                <c:formatCode>General</c:formatCode>
                <c:ptCount val="1458"/>
                <c:pt idx="0">
                  <c:v>1</c:v>
                </c:pt>
                <c:pt idx="1">
                  <c:v>1</c:v>
                </c:pt>
                <c:pt idx="3">
                  <c:v>2</c:v>
                </c:pt>
                <c:pt idx="4">
                  <c:v>2</c:v>
                </c:pt>
                <c:pt idx="6">
                  <c:v>3</c:v>
                </c:pt>
                <c:pt idx="7">
                  <c:v>3</c:v>
                </c:pt>
                <c:pt idx="9">
                  <c:v>4</c:v>
                </c:pt>
                <c:pt idx="10">
                  <c:v>4</c:v>
                </c:pt>
                <c:pt idx="12">
                  <c:v>5</c:v>
                </c:pt>
                <c:pt idx="13">
                  <c:v>5</c:v>
                </c:pt>
                <c:pt idx="15">
                  <c:v>6</c:v>
                </c:pt>
                <c:pt idx="16">
                  <c:v>6</c:v>
                </c:pt>
                <c:pt idx="18">
                  <c:v>7</c:v>
                </c:pt>
                <c:pt idx="19">
                  <c:v>7</c:v>
                </c:pt>
                <c:pt idx="21">
                  <c:v>8</c:v>
                </c:pt>
                <c:pt idx="22">
                  <c:v>8</c:v>
                </c:pt>
                <c:pt idx="24">
                  <c:v>9</c:v>
                </c:pt>
                <c:pt idx="25">
                  <c:v>9</c:v>
                </c:pt>
                <c:pt idx="27">
                  <c:v>10</c:v>
                </c:pt>
                <c:pt idx="28">
                  <c:v>10</c:v>
                </c:pt>
                <c:pt idx="30">
                  <c:v>11</c:v>
                </c:pt>
                <c:pt idx="31">
                  <c:v>11</c:v>
                </c:pt>
                <c:pt idx="33">
                  <c:v>12</c:v>
                </c:pt>
                <c:pt idx="34">
                  <c:v>12</c:v>
                </c:pt>
                <c:pt idx="36">
                  <c:v>13</c:v>
                </c:pt>
                <c:pt idx="37">
                  <c:v>13</c:v>
                </c:pt>
                <c:pt idx="39">
                  <c:v>14</c:v>
                </c:pt>
                <c:pt idx="40">
                  <c:v>14</c:v>
                </c:pt>
                <c:pt idx="42">
                  <c:v>15</c:v>
                </c:pt>
                <c:pt idx="43">
                  <c:v>15</c:v>
                </c:pt>
                <c:pt idx="45">
                  <c:v>16</c:v>
                </c:pt>
                <c:pt idx="46">
                  <c:v>16</c:v>
                </c:pt>
                <c:pt idx="48">
                  <c:v>17</c:v>
                </c:pt>
                <c:pt idx="49">
                  <c:v>17</c:v>
                </c:pt>
                <c:pt idx="51">
                  <c:v>18</c:v>
                </c:pt>
                <c:pt idx="52">
                  <c:v>18</c:v>
                </c:pt>
                <c:pt idx="54">
                  <c:v>19</c:v>
                </c:pt>
                <c:pt idx="55">
                  <c:v>19</c:v>
                </c:pt>
                <c:pt idx="57">
                  <c:v>20</c:v>
                </c:pt>
                <c:pt idx="58">
                  <c:v>20</c:v>
                </c:pt>
                <c:pt idx="60">
                  <c:v>21</c:v>
                </c:pt>
                <c:pt idx="61">
                  <c:v>21</c:v>
                </c:pt>
                <c:pt idx="63">
                  <c:v>22</c:v>
                </c:pt>
                <c:pt idx="64">
                  <c:v>22</c:v>
                </c:pt>
                <c:pt idx="66">
                  <c:v>23</c:v>
                </c:pt>
                <c:pt idx="67">
                  <c:v>23</c:v>
                </c:pt>
                <c:pt idx="69">
                  <c:v>24</c:v>
                </c:pt>
                <c:pt idx="70">
                  <c:v>24</c:v>
                </c:pt>
                <c:pt idx="72">
                  <c:v>25</c:v>
                </c:pt>
                <c:pt idx="73">
                  <c:v>25</c:v>
                </c:pt>
                <c:pt idx="75">
                  <c:v>26</c:v>
                </c:pt>
                <c:pt idx="76">
                  <c:v>26</c:v>
                </c:pt>
                <c:pt idx="78">
                  <c:v>27</c:v>
                </c:pt>
                <c:pt idx="79">
                  <c:v>27</c:v>
                </c:pt>
                <c:pt idx="81">
                  <c:v>28</c:v>
                </c:pt>
                <c:pt idx="82">
                  <c:v>28</c:v>
                </c:pt>
                <c:pt idx="84">
                  <c:v>29</c:v>
                </c:pt>
                <c:pt idx="85">
                  <c:v>29</c:v>
                </c:pt>
                <c:pt idx="87">
                  <c:v>30</c:v>
                </c:pt>
                <c:pt idx="88">
                  <c:v>30</c:v>
                </c:pt>
                <c:pt idx="90">
                  <c:v>31</c:v>
                </c:pt>
                <c:pt idx="91">
                  <c:v>31</c:v>
                </c:pt>
                <c:pt idx="93">
                  <c:v>32</c:v>
                </c:pt>
                <c:pt idx="94">
                  <c:v>32</c:v>
                </c:pt>
                <c:pt idx="96">
                  <c:v>33</c:v>
                </c:pt>
                <c:pt idx="97">
                  <c:v>33</c:v>
                </c:pt>
                <c:pt idx="99">
                  <c:v>34</c:v>
                </c:pt>
                <c:pt idx="100">
                  <c:v>34</c:v>
                </c:pt>
                <c:pt idx="102">
                  <c:v>35</c:v>
                </c:pt>
                <c:pt idx="103">
                  <c:v>35</c:v>
                </c:pt>
                <c:pt idx="105">
                  <c:v>36</c:v>
                </c:pt>
                <c:pt idx="106">
                  <c:v>36</c:v>
                </c:pt>
                <c:pt idx="108">
                  <c:v>37</c:v>
                </c:pt>
                <c:pt idx="109">
                  <c:v>37</c:v>
                </c:pt>
                <c:pt idx="111">
                  <c:v>38</c:v>
                </c:pt>
                <c:pt idx="112">
                  <c:v>38</c:v>
                </c:pt>
                <c:pt idx="114">
                  <c:v>39</c:v>
                </c:pt>
                <c:pt idx="115">
                  <c:v>39</c:v>
                </c:pt>
                <c:pt idx="117">
                  <c:v>40</c:v>
                </c:pt>
                <c:pt idx="118">
                  <c:v>40</c:v>
                </c:pt>
                <c:pt idx="120">
                  <c:v>41</c:v>
                </c:pt>
                <c:pt idx="121">
                  <c:v>41</c:v>
                </c:pt>
                <c:pt idx="123">
                  <c:v>42</c:v>
                </c:pt>
                <c:pt idx="124">
                  <c:v>42</c:v>
                </c:pt>
                <c:pt idx="126">
                  <c:v>43</c:v>
                </c:pt>
                <c:pt idx="127">
                  <c:v>43</c:v>
                </c:pt>
                <c:pt idx="129">
                  <c:v>44</c:v>
                </c:pt>
                <c:pt idx="130">
                  <c:v>44</c:v>
                </c:pt>
                <c:pt idx="132">
                  <c:v>45</c:v>
                </c:pt>
                <c:pt idx="133">
                  <c:v>45</c:v>
                </c:pt>
                <c:pt idx="135">
                  <c:v>46</c:v>
                </c:pt>
                <c:pt idx="136">
                  <c:v>46</c:v>
                </c:pt>
                <c:pt idx="138">
                  <c:v>47</c:v>
                </c:pt>
                <c:pt idx="139">
                  <c:v>47</c:v>
                </c:pt>
                <c:pt idx="141">
                  <c:v>48</c:v>
                </c:pt>
                <c:pt idx="142">
                  <c:v>48</c:v>
                </c:pt>
                <c:pt idx="144">
                  <c:v>49</c:v>
                </c:pt>
                <c:pt idx="145">
                  <c:v>49</c:v>
                </c:pt>
                <c:pt idx="147">
                  <c:v>50</c:v>
                </c:pt>
                <c:pt idx="148">
                  <c:v>50</c:v>
                </c:pt>
                <c:pt idx="150">
                  <c:v>51</c:v>
                </c:pt>
                <c:pt idx="151">
                  <c:v>51</c:v>
                </c:pt>
                <c:pt idx="153">
                  <c:v>52</c:v>
                </c:pt>
                <c:pt idx="154">
                  <c:v>52</c:v>
                </c:pt>
                <c:pt idx="156">
                  <c:v>53</c:v>
                </c:pt>
                <c:pt idx="157">
                  <c:v>53</c:v>
                </c:pt>
                <c:pt idx="159">
                  <c:v>54</c:v>
                </c:pt>
                <c:pt idx="160">
                  <c:v>54</c:v>
                </c:pt>
                <c:pt idx="162">
                  <c:v>55</c:v>
                </c:pt>
                <c:pt idx="163">
                  <c:v>55</c:v>
                </c:pt>
                <c:pt idx="165">
                  <c:v>56</c:v>
                </c:pt>
                <c:pt idx="166">
                  <c:v>56</c:v>
                </c:pt>
                <c:pt idx="168">
                  <c:v>57</c:v>
                </c:pt>
                <c:pt idx="169">
                  <c:v>57</c:v>
                </c:pt>
                <c:pt idx="171">
                  <c:v>58</c:v>
                </c:pt>
                <c:pt idx="172">
                  <c:v>58</c:v>
                </c:pt>
                <c:pt idx="174">
                  <c:v>59</c:v>
                </c:pt>
                <c:pt idx="175">
                  <c:v>59</c:v>
                </c:pt>
                <c:pt idx="177">
                  <c:v>60</c:v>
                </c:pt>
                <c:pt idx="178">
                  <c:v>60</c:v>
                </c:pt>
                <c:pt idx="180">
                  <c:v>61</c:v>
                </c:pt>
                <c:pt idx="181">
                  <c:v>61</c:v>
                </c:pt>
                <c:pt idx="183">
                  <c:v>62</c:v>
                </c:pt>
                <c:pt idx="184">
                  <c:v>62</c:v>
                </c:pt>
                <c:pt idx="186">
                  <c:v>63</c:v>
                </c:pt>
                <c:pt idx="187">
                  <c:v>63</c:v>
                </c:pt>
                <c:pt idx="189">
                  <c:v>64</c:v>
                </c:pt>
                <c:pt idx="190">
                  <c:v>64</c:v>
                </c:pt>
                <c:pt idx="192">
                  <c:v>65</c:v>
                </c:pt>
                <c:pt idx="193">
                  <c:v>65</c:v>
                </c:pt>
                <c:pt idx="195">
                  <c:v>66</c:v>
                </c:pt>
                <c:pt idx="196">
                  <c:v>66</c:v>
                </c:pt>
                <c:pt idx="198">
                  <c:v>67</c:v>
                </c:pt>
                <c:pt idx="199">
                  <c:v>67</c:v>
                </c:pt>
                <c:pt idx="201">
                  <c:v>68</c:v>
                </c:pt>
                <c:pt idx="202">
                  <c:v>68</c:v>
                </c:pt>
                <c:pt idx="204">
                  <c:v>69</c:v>
                </c:pt>
                <c:pt idx="205">
                  <c:v>69</c:v>
                </c:pt>
                <c:pt idx="207">
                  <c:v>70</c:v>
                </c:pt>
                <c:pt idx="208">
                  <c:v>70</c:v>
                </c:pt>
                <c:pt idx="210">
                  <c:v>71</c:v>
                </c:pt>
                <c:pt idx="211">
                  <c:v>71</c:v>
                </c:pt>
                <c:pt idx="213">
                  <c:v>72</c:v>
                </c:pt>
                <c:pt idx="214">
                  <c:v>72</c:v>
                </c:pt>
                <c:pt idx="216">
                  <c:v>73</c:v>
                </c:pt>
                <c:pt idx="217">
                  <c:v>73</c:v>
                </c:pt>
                <c:pt idx="219">
                  <c:v>74</c:v>
                </c:pt>
                <c:pt idx="220">
                  <c:v>74</c:v>
                </c:pt>
                <c:pt idx="222">
                  <c:v>75</c:v>
                </c:pt>
                <c:pt idx="223">
                  <c:v>75</c:v>
                </c:pt>
                <c:pt idx="225">
                  <c:v>76</c:v>
                </c:pt>
                <c:pt idx="226">
                  <c:v>76</c:v>
                </c:pt>
                <c:pt idx="228">
                  <c:v>77</c:v>
                </c:pt>
                <c:pt idx="229">
                  <c:v>77</c:v>
                </c:pt>
                <c:pt idx="231">
                  <c:v>78</c:v>
                </c:pt>
                <c:pt idx="232">
                  <c:v>78</c:v>
                </c:pt>
                <c:pt idx="234">
                  <c:v>79</c:v>
                </c:pt>
                <c:pt idx="235">
                  <c:v>79</c:v>
                </c:pt>
                <c:pt idx="237">
                  <c:v>80</c:v>
                </c:pt>
                <c:pt idx="238">
                  <c:v>80</c:v>
                </c:pt>
                <c:pt idx="240">
                  <c:v>81</c:v>
                </c:pt>
                <c:pt idx="241">
                  <c:v>81</c:v>
                </c:pt>
                <c:pt idx="243">
                  <c:v>82</c:v>
                </c:pt>
                <c:pt idx="244">
                  <c:v>82</c:v>
                </c:pt>
                <c:pt idx="246">
                  <c:v>83</c:v>
                </c:pt>
                <c:pt idx="247">
                  <c:v>83</c:v>
                </c:pt>
                <c:pt idx="249">
                  <c:v>84</c:v>
                </c:pt>
                <c:pt idx="250">
                  <c:v>84</c:v>
                </c:pt>
                <c:pt idx="252">
                  <c:v>85</c:v>
                </c:pt>
                <c:pt idx="253">
                  <c:v>85</c:v>
                </c:pt>
                <c:pt idx="255">
                  <c:v>86</c:v>
                </c:pt>
                <c:pt idx="256">
                  <c:v>86</c:v>
                </c:pt>
                <c:pt idx="258">
                  <c:v>87</c:v>
                </c:pt>
                <c:pt idx="259">
                  <c:v>87</c:v>
                </c:pt>
                <c:pt idx="261">
                  <c:v>88</c:v>
                </c:pt>
                <c:pt idx="262">
                  <c:v>88</c:v>
                </c:pt>
                <c:pt idx="264">
                  <c:v>89</c:v>
                </c:pt>
                <c:pt idx="265">
                  <c:v>89</c:v>
                </c:pt>
                <c:pt idx="267">
                  <c:v>90</c:v>
                </c:pt>
                <c:pt idx="268">
                  <c:v>90</c:v>
                </c:pt>
                <c:pt idx="270">
                  <c:v>91</c:v>
                </c:pt>
                <c:pt idx="271">
                  <c:v>91</c:v>
                </c:pt>
                <c:pt idx="273">
                  <c:v>92</c:v>
                </c:pt>
                <c:pt idx="274">
                  <c:v>92</c:v>
                </c:pt>
                <c:pt idx="276">
                  <c:v>93</c:v>
                </c:pt>
                <c:pt idx="277">
                  <c:v>93</c:v>
                </c:pt>
                <c:pt idx="279">
                  <c:v>94</c:v>
                </c:pt>
                <c:pt idx="280">
                  <c:v>94</c:v>
                </c:pt>
                <c:pt idx="282">
                  <c:v>95</c:v>
                </c:pt>
                <c:pt idx="283">
                  <c:v>95</c:v>
                </c:pt>
                <c:pt idx="285">
                  <c:v>96</c:v>
                </c:pt>
                <c:pt idx="286">
                  <c:v>96</c:v>
                </c:pt>
                <c:pt idx="288">
                  <c:v>97</c:v>
                </c:pt>
                <c:pt idx="289">
                  <c:v>97</c:v>
                </c:pt>
                <c:pt idx="291">
                  <c:v>98</c:v>
                </c:pt>
                <c:pt idx="292">
                  <c:v>98</c:v>
                </c:pt>
                <c:pt idx="294">
                  <c:v>99</c:v>
                </c:pt>
                <c:pt idx="295">
                  <c:v>99</c:v>
                </c:pt>
                <c:pt idx="297">
                  <c:v>100</c:v>
                </c:pt>
                <c:pt idx="298">
                  <c:v>100</c:v>
                </c:pt>
                <c:pt idx="300">
                  <c:v>101</c:v>
                </c:pt>
                <c:pt idx="301">
                  <c:v>101</c:v>
                </c:pt>
                <c:pt idx="303">
                  <c:v>102</c:v>
                </c:pt>
                <c:pt idx="304">
                  <c:v>102</c:v>
                </c:pt>
                <c:pt idx="306">
                  <c:v>103</c:v>
                </c:pt>
                <c:pt idx="307">
                  <c:v>103</c:v>
                </c:pt>
                <c:pt idx="309">
                  <c:v>104</c:v>
                </c:pt>
                <c:pt idx="310">
                  <c:v>104</c:v>
                </c:pt>
                <c:pt idx="312">
                  <c:v>105</c:v>
                </c:pt>
                <c:pt idx="313">
                  <c:v>105</c:v>
                </c:pt>
                <c:pt idx="315">
                  <c:v>106</c:v>
                </c:pt>
                <c:pt idx="316">
                  <c:v>106</c:v>
                </c:pt>
                <c:pt idx="318">
                  <c:v>107</c:v>
                </c:pt>
                <c:pt idx="319">
                  <c:v>107</c:v>
                </c:pt>
                <c:pt idx="321">
                  <c:v>108</c:v>
                </c:pt>
                <c:pt idx="322">
                  <c:v>108</c:v>
                </c:pt>
                <c:pt idx="324">
                  <c:v>109</c:v>
                </c:pt>
                <c:pt idx="325">
                  <c:v>109</c:v>
                </c:pt>
                <c:pt idx="327">
                  <c:v>110</c:v>
                </c:pt>
                <c:pt idx="328">
                  <c:v>110</c:v>
                </c:pt>
                <c:pt idx="330">
                  <c:v>111</c:v>
                </c:pt>
                <c:pt idx="331">
                  <c:v>111</c:v>
                </c:pt>
                <c:pt idx="333">
                  <c:v>112</c:v>
                </c:pt>
                <c:pt idx="334">
                  <c:v>112</c:v>
                </c:pt>
                <c:pt idx="336">
                  <c:v>113</c:v>
                </c:pt>
                <c:pt idx="337">
                  <c:v>113</c:v>
                </c:pt>
                <c:pt idx="339">
                  <c:v>114</c:v>
                </c:pt>
                <c:pt idx="340">
                  <c:v>114</c:v>
                </c:pt>
                <c:pt idx="342">
                  <c:v>115</c:v>
                </c:pt>
                <c:pt idx="343">
                  <c:v>115</c:v>
                </c:pt>
                <c:pt idx="345">
                  <c:v>116</c:v>
                </c:pt>
                <c:pt idx="346">
                  <c:v>116</c:v>
                </c:pt>
                <c:pt idx="348">
                  <c:v>117</c:v>
                </c:pt>
                <c:pt idx="349">
                  <c:v>117</c:v>
                </c:pt>
                <c:pt idx="351">
                  <c:v>118</c:v>
                </c:pt>
                <c:pt idx="352">
                  <c:v>118</c:v>
                </c:pt>
                <c:pt idx="354">
                  <c:v>119</c:v>
                </c:pt>
                <c:pt idx="355">
                  <c:v>119</c:v>
                </c:pt>
                <c:pt idx="357">
                  <c:v>120</c:v>
                </c:pt>
                <c:pt idx="358">
                  <c:v>120</c:v>
                </c:pt>
                <c:pt idx="360">
                  <c:v>121</c:v>
                </c:pt>
                <c:pt idx="361">
                  <c:v>121</c:v>
                </c:pt>
                <c:pt idx="363">
                  <c:v>122</c:v>
                </c:pt>
                <c:pt idx="364">
                  <c:v>122</c:v>
                </c:pt>
                <c:pt idx="366">
                  <c:v>123</c:v>
                </c:pt>
                <c:pt idx="367">
                  <c:v>123</c:v>
                </c:pt>
                <c:pt idx="369">
                  <c:v>124</c:v>
                </c:pt>
                <c:pt idx="370">
                  <c:v>124</c:v>
                </c:pt>
                <c:pt idx="372">
                  <c:v>125</c:v>
                </c:pt>
                <c:pt idx="373">
                  <c:v>125</c:v>
                </c:pt>
                <c:pt idx="375">
                  <c:v>126</c:v>
                </c:pt>
                <c:pt idx="376">
                  <c:v>126</c:v>
                </c:pt>
                <c:pt idx="378">
                  <c:v>127</c:v>
                </c:pt>
                <c:pt idx="379">
                  <c:v>127</c:v>
                </c:pt>
                <c:pt idx="381">
                  <c:v>128</c:v>
                </c:pt>
                <c:pt idx="382">
                  <c:v>128</c:v>
                </c:pt>
                <c:pt idx="384">
                  <c:v>129</c:v>
                </c:pt>
                <c:pt idx="385">
                  <c:v>129</c:v>
                </c:pt>
                <c:pt idx="387">
                  <c:v>130</c:v>
                </c:pt>
                <c:pt idx="388">
                  <c:v>130</c:v>
                </c:pt>
                <c:pt idx="390">
                  <c:v>131</c:v>
                </c:pt>
                <c:pt idx="391">
                  <c:v>131</c:v>
                </c:pt>
                <c:pt idx="393">
                  <c:v>132</c:v>
                </c:pt>
                <c:pt idx="394">
                  <c:v>132</c:v>
                </c:pt>
                <c:pt idx="396">
                  <c:v>133</c:v>
                </c:pt>
                <c:pt idx="397">
                  <c:v>133</c:v>
                </c:pt>
                <c:pt idx="399">
                  <c:v>134</c:v>
                </c:pt>
                <c:pt idx="400">
                  <c:v>134</c:v>
                </c:pt>
                <c:pt idx="402">
                  <c:v>135</c:v>
                </c:pt>
                <c:pt idx="403">
                  <c:v>135</c:v>
                </c:pt>
                <c:pt idx="405">
                  <c:v>136</c:v>
                </c:pt>
                <c:pt idx="406">
                  <c:v>136</c:v>
                </c:pt>
                <c:pt idx="408">
                  <c:v>137</c:v>
                </c:pt>
                <c:pt idx="409">
                  <c:v>137</c:v>
                </c:pt>
                <c:pt idx="411">
                  <c:v>138</c:v>
                </c:pt>
                <c:pt idx="412">
                  <c:v>138</c:v>
                </c:pt>
                <c:pt idx="414">
                  <c:v>139</c:v>
                </c:pt>
                <c:pt idx="415">
                  <c:v>139</c:v>
                </c:pt>
                <c:pt idx="417">
                  <c:v>140</c:v>
                </c:pt>
                <c:pt idx="418">
                  <c:v>140</c:v>
                </c:pt>
                <c:pt idx="420">
                  <c:v>141</c:v>
                </c:pt>
                <c:pt idx="421">
                  <c:v>141</c:v>
                </c:pt>
                <c:pt idx="423">
                  <c:v>142</c:v>
                </c:pt>
                <c:pt idx="424">
                  <c:v>142</c:v>
                </c:pt>
                <c:pt idx="426">
                  <c:v>143</c:v>
                </c:pt>
                <c:pt idx="427">
                  <c:v>143</c:v>
                </c:pt>
                <c:pt idx="429">
                  <c:v>144</c:v>
                </c:pt>
                <c:pt idx="430">
                  <c:v>144</c:v>
                </c:pt>
                <c:pt idx="432">
                  <c:v>145</c:v>
                </c:pt>
                <c:pt idx="433">
                  <c:v>145</c:v>
                </c:pt>
                <c:pt idx="435">
                  <c:v>146</c:v>
                </c:pt>
                <c:pt idx="436">
                  <c:v>146</c:v>
                </c:pt>
                <c:pt idx="438">
                  <c:v>147</c:v>
                </c:pt>
                <c:pt idx="439">
                  <c:v>147</c:v>
                </c:pt>
                <c:pt idx="441">
                  <c:v>148</c:v>
                </c:pt>
                <c:pt idx="442">
                  <c:v>148</c:v>
                </c:pt>
                <c:pt idx="444">
                  <c:v>149</c:v>
                </c:pt>
                <c:pt idx="445">
                  <c:v>149</c:v>
                </c:pt>
                <c:pt idx="447">
                  <c:v>150</c:v>
                </c:pt>
                <c:pt idx="448">
                  <c:v>150</c:v>
                </c:pt>
                <c:pt idx="450">
                  <c:v>151</c:v>
                </c:pt>
                <c:pt idx="451">
                  <c:v>151</c:v>
                </c:pt>
                <c:pt idx="453">
                  <c:v>152</c:v>
                </c:pt>
                <c:pt idx="454">
                  <c:v>152</c:v>
                </c:pt>
                <c:pt idx="456">
                  <c:v>153</c:v>
                </c:pt>
                <c:pt idx="457">
                  <c:v>153</c:v>
                </c:pt>
                <c:pt idx="459">
                  <c:v>154</c:v>
                </c:pt>
                <c:pt idx="460">
                  <c:v>154</c:v>
                </c:pt>
                <c:pt idx="462">
                  <c:v>155</c:v>
                </c:pt>
                <c:pt idx="463">
                  <c:v>155</c:v>
                </c:pt>
                <c:pt idx="465">
                  <c:v>156</c:v>
                </c:pt>
                <c:pt idx="466">
                  <c:v>156</c:v>
                </c:pt>
                <c:pt idx="468">
                  <c:v>157</c:v>
                </c:pt>
                <c:pt idx="469">
                  <c:v>157</c:v>
                </c:pt>
                <c:pt idx="471">
                  <c:v>158</c:v>
                </c:pt>
                <c:pt idx="472">
                  <c:v>158</c:v>
                </c:pt>
                <c:pt idx="474">
                  <c:v>159</c:v>
                </c:pt>
                <c:pt idx="475">
                  <c:v>159</c:v>
                </c:pt>
                <c:pt idx="477">
                  <c:v>160</c:v>
                </c:pt>
                <c:pt idx="478">
                  <c:v>160</c:v>
                </c:pt>
                <c:pt idx="480">
                  <c:v>161</c:v>
                </c:pt>
                <c:pt idx="481">
                  <c:v>161</c:v>
                </c:pt>
                <c:pt idx="483">
                  <c:v>162</c:v>
                </c:pt>
                <c:pt idx="484">
                  <c:v>162</c:v>
                </c:pt>
                <c:pt idx="486">
                  <c:v>163</c:v>
                </c:pt>
                <c:pt idx="487">
                  <c:v>163</c:v>
                </c:pt>
                <c:pt idx="489">
                  <c:v>164</c:v>
                </c:pt>
                <c:pt idx="490">
                  <c:v>164</c:v>
                </c:pt>
                <c:pt idx="492">
                  <c:v>165</c:v>
                </c:pt>
                <c:pt idx="493">
                  <c:v>165</c:v>
                </c:pt>
                <c:pt idx="495">
                  <c:v>166</c:v>
                </c:pt>
                <c:pt idx="496">
                  <c:v>166</c:v>
                </c:pt>
                <c:pt idx="498">
                  <c:v>167</c:v>
                </c:pt>
                <c:pt idx="499">
                  <c:v>167</c:v>
                </c:pt>
                <c:pt idx="501">
                  <c:v>168</c:v>
                </c:pt>
                <c:pt idx="502">
                  <c:v>168</c:v>
                </c:pt>
                <c:pt idx="504">
                  <c:v>169</c:v>
                </c:pt>
                <c:pt idx="505">
                  <c:v>169</c:v>
                </c:pt>
                <c:pt idx="507">
                  <c:v>170</c:v>
                </c:pt>
                <c:pt idx="508">
                  <c:v>170</c:v>
                </c:pt>
                <c:pt idx="510">
                  <c:v>171</c:v>
                </c:pt>
                <c:pt idx="511">
                  <c:v>171</c:v>
                </c:pt>
                <c:pt idx="513">
                  <c:v>172</c:v>
                </c:pt>
                <c:pt idx="514">
                  <c:v>172</c:v>
                </c:pt>
                <c:pt idx="516">
                  <c:v>173</c:v>
                </c:pt>
                <c:pt idx="517">
                  <c:v>173</c:v>
                </c:pt>
                <c:pt idx="519">
                  <c:v>174</c:v>
                </c:pt>
                <c:pt idx="520">
                  <c:v>174</c:v>
                </c:pt>
                <c:pt idx="522">
                  <c:v>175</c:v>
                </c:pt>
                <c:pt idx="523">
                  <c:v>175</c:v>
                </c:pt>
                <c:pt idx="525">
                  <c:v>176</c:v>
                </c:pt>
                <c:pt idx="526">
                  <c:v>176</c:v>
                </c:pt>
                <c:pt idx="528">
                  <c:v>177</c:v>
                </c:pt>
                <c:pt idx="529">
                  <c:v>177</c:v>
                </c:pt>
                <c:pt idx="531">
                  <c:v>178</c:v>
                </c:pt>
                <c:pt idx="532">
                  <c:v>178</c:v>
                </c:pt>
                <c:pt idx="534">
                  <c:v>179</c:v>
                </c:pt>
                <c:pt idx="535">
                  <c:v>179</c:v>
                </c:pt>
                <c:pt idx="537">
                  <c:v>180</c:v>
                </c:pt>
                <c:pt idx="538">
                  <c:v>180</c:v>
                </c:pt>
                <c:pt idx="540">
                  <c:v>181</c:v>
                </c:pt>
                <c:pt idx="541">
                  <c:v>181</c:v>
                </c:pt>
                <c:pt idx="543">
                  <c:v>182</c:v>
                </c:pt>
                <c:pt idx="544">
                  <c:v>182</c:v>
                </c:pt>
                <c:pt idx="546">
                  <c:v>183</c:v>
                </c:pt>
                <c:pt idx="547">
                  <c:v>183</c:v>
                </c:pt>
                <c:pt idx="549">
                  <c:v>184</c:v>
                </c:pt>
                <c:pt idx="550">
                  <c:v>184</c:v>
                </c:pt>
                <c:pt idx="552">
                  <c:v>185</c:v>
                </c:pt>
                <c:pt idx="553">
                  <c:v>185</c:v>
                </c:pt>
                <c:pt idx="555">
                  <c:v>186</c:v>
                </c:pt>
                <c:pt idx="556">
                  <c:v>186</c:v>
                </c:pt>
                <c:pt idx="558">
                  <c:v>187</c:v>
                </c:pt>
                <c:pt idx="559">
                  <c:v>187</c:v>
                </c:pt>
                <c:pt idx="561">
                  <c:v>188</c:v>
                </c:pt>
                <c:pt idx="562">
                  <c:v>188</c:v>
                </c:pt>
                <c:pt idx="564">
                  <c:v>189</c:v>
                </c:pt>
                <c:pt idx="565">
                  <c:v>189</c:v>
                </c:pt>
                <c:pt idx="567">
                  <c:v>190</c:v>
                </c:pt>
                <c:pt idx="568">
                  <c:v>190</c:v>
                </c:pt>
                <c:pt idx="570">
                  <c:v>191</c:v>
                </c:pt>
                <c:pt idx="571">
                  <c:v>191</c:v>
                </c:pt>
                <c:pt idx="573">
                  <c:v>192</c:v>
                </c:pt>
                <c:pt idx="574">
                  <c:v>192</c:v>
                </c:pt>
                <c:pt idx="576">
                  <c:v>193</c:v>
                </c:pt>
                <c:pt idx="577">
                  <c:v>193</c:v>
                </c:pt>
                <c:pt idx="579">
                  <c:v>194</c:v>
                </c:pt>
                <c:pt idx="580">
                  <c:v>194</c:v>
                </c:pt>
                <c:pt idx="582">
                  <c:v>195</c:v>
                </c:pt>
                <c:pt idx="583">
                  <c:v>195</c:v>
                </c:pt>
                <c:pt idx="585">
                  <c:v>196</c:v>
                </c:pt>
                <c:pt idx="586">
                  <c:v>196</c:v>
                </c:pt>
                <c:pt idx="588">
                  <c:v>197</c:v>
                </c:pt>
                <c:pt idx="589">
                  <c:v>197</c:v>
                </c:pt>
                <c:pt idx="591">
                  <c:v>198</c:v>
                </c:pt>
                <c:pt idx="592">
                  <c:v>198</c:v>
                </c:pt>
                <c:pt idx="594">
                  <c:v>199</c:v>
                </c:pt>
                <c:pt idx="595">
                  <c:v>199</c:v>
                </c:pt>
                <c:pt idx="597">
                  <c:v>200</c:v>
                </c:pt>
                <c:pt idx="598">
                  <c:v>200</c:v>
                </c:pt>
                <c:pt idx="600">
                  <c:v>201</c:v>
                </c:pt>
                <c:pt idx="601">
                  <c:v>201</c:v>
                </c:pt>
                <c:pt idx="603">
                  <c:v>202</c:v>
                </c:pt>
                <c:pt idx="604">
                  <c:v>202</c:v>
                </c:pt>
                <c:pt idx="606">
                  <c:v>203</c:v>
                </c:pt>
                <c:pt idx="607">
                  <c:v>203</c:v>
                </c:pt>
                <c:pt idx="609">
                  <c:v>204</c:v>
                </c:pt>
                <c:pt idx="610">
                  <c:v>204</c:v>
                </c:pt>
                <c:pt idx="612">
                  <c:v>205</c:v>
                </c:pt>
                <c:pt idx="613">
                  <c:v>205</c:v>
                </c:pt>
                <c:pt idx="615">
                  <c:v>206</c:v>
                </c:pt>
                <c:pt idx="616">
                  <c:v>206</c:v>
                </c:pt>
                <c:pt idx="618">
                  <c:v>207</c:v>
                </c:pt>
                <c:pt idx="619">
                  <c:v>207</c:v>
                </c:pt>
                <c:pt idx="621">
                  <c:v>208</c:v>
                </c:pt>
                <c:pt idx="622">
                  <c:v>208</c:v>
                </c:pt>
                <c:pt idx="624">
                  <c:v>209</c:v>
                </c:pt>
                <c:pt idx="625">
                  <c:v>209</c:v>
                </c:pt>
                <c:pt idx="627">
                  <c:v>210</c:v>
                </c:pt>
                <c:pt idx="628">
                  <c:v>210</c:v>
                </c:pt>
                <c:pt idx="630">
                  <c:v>211</c:v>
                </c:pt>
                <c:pt idx="631">
                  <c:v>211</c:v>
                </c:pt>
                <c:pt idx="633">
                  <c:v>212</c:v>
                </c:pt>
                <c:pt idx="634">
                  <c:v>212</c:v>
                </c:pt>
                <c:pt idx="636">
                  <c:v>213</c:v>
                </c:pt>
                <c:pt idx="637">
                  <c:v>213</c:v>
                </c:pt>
                <c:pt idx="639">
                  <c:v>214</c:v>
                </c:pt>
                <c:pt idx="640">
                  <c:v>214</c:v>
                </c:pt>
                <c:pt idx="642">
                  <c:v>215</c:v>
                </c:pt>
                <c:pt idx="643">
                  <c:v>215</c:v>
                </c:pt>
                <c:pt idx="645">
                  <c:v>216</c:v>
                </c:pt>
                <c:pt idx="646">
                  <c:v>216</c:v>
                </c:pt>
                <c:pt idx="648">
                  <c:v>217</c:v>
                </c:pt>
                <c:pt idx="649">
                  <c:v>217</c:v>
                </c:pt>
                <c:pt idx="651">
                  <c:v>218</c:v>
                </c:pt>
                <c:pt idx="652">
                  <c:v>218</c:v>
                </c:pt>
                <c:pt idx="654">
                  <c:v>219</c:v>
                </c:pt>
                <c:pt idx="655">
                  <c:v>219</c:v>
                </c:pt>
                <c:pt idx="657">
                  <c:v>220</c:v>
                </c:pt>
                <c:pt idx="658">
                  <c:v>220</c:v>
                </c:pt>
                <c:pt idx="660">
                  <c:v>221</c:v>
                </c:pt>
                <c:pt idx="661">
                  <c:v>221</c:v>
                </c:pt>
                <c:pt idx="663">
                  <c:v>222</c:v>
                </c:pt>
                <c:pt idx="664">
                  <c:v>222</c:v>
                </c:pt>
                <c:pt idx="666">
                  <c:v>223</c:v>
                </c:pt>
                <c:pt idx="667">
                  <c:v>223</c:v>
                </c:pt>
                <c:pt idx="669">
                  <c:v>224</c:v>
                </c:pt>
                <c:pt idx="670">
                  <c:v>224</c:v>
                </c:pt>
                <c:pt idx="672">
                  <c:v>225</c:v>
                </c:pt>
                <c:pt idx="673">
                  <c:v>225</c:v>
                </c:pt>
                <c:pt idx="675">
                  <c:v>226</c:v>
                </c:pt>
                <c:pt idx="676">
                  <c:v>226</c:v>
                </c:pt>
                <c:pt idx="678">
                  <c:v>227</c:v>
                </c:pt>
                <c:pt idx="679">
                  <c:v>227</c:v>
                </c:pt>
                <c:pt idx="681">
                  <c:v>228</c:v>
                </c:pt>
                <c:pt idx="682">
                  <c:v>228</c:v>
                </c:pt>
                <c:pt idx="684">
                  <c:v>229</c:v>
                </c:pt>
                <c:pt idx="685">
                  <c:v>229</c:v>
                </c:pt>
                <c:pt idx="687">
                  <c:v>230</c:v>
                </c:pt>
                <c:pt idx="688">
                  <c:v>230</c:v>
                </c:pt>
                <c:pt idx="690">
                  <c:v>231</c:v>
                </c:pt>
                <c:pt idx="691">
                  <c:v>231</c:v>
                </c:pt>
                <c:pt idx="693">
                  <c:v>232</c:v>
                </c:pt>
                <c:pt idx="694">
                  <c:v>232</c:v>
                </c:pt>
                <c:pt idx="696">
                  <c:v>233</c:v>
                </c:pt>
                <c:pt idx="697">
                  <c:v>233</c:v>
                </c:pt>
                <c:pt idx="699">
                  <c:v>234</c:v>
                </c:pt>
                <c:pt idx="700">
                  <c:v>234</c:v>
                </c:pt>
                <c:pt idx="702">
                  <c:v>235</c:v>
                </c:pt>
                <c:pt idx="703">
                  <c:v>235</c:v>
                </c:pt>
                <c:pt idx="705">
                  <c:v>236</c:v>
                </c:pt>
                <c:pt idx="706">
                  <c:v>236</c:v>
                </c:pt>
                <c:pt idx="708">
                  <c:v>237</c:v>
                </c:pt>
                <c:pt idx="709">
                  <c:v>237</c:v>
                </c:pt>
                <c:pt idx="711">
                  <c:v>238</c:v>
                </c:pt>
                <c:pt idx="712">
                  <c:v>238</c:v>
                </c:pt>
                <c:pt idx="714">
                  <c:v>239</c:v>
                </c:pt>
                <c:pt idx="715">
                  <c:v>239</c:v>
                </c:pt>
                <c:pt idx="717">
                  <c:v>240</c:v>
                </c:pt>
                <c:pt idx="718">
                  <c:v>240</c:v>
                </c:pt>
                <c:pt idx="720">
                  <c:v>241</c:v>
                </c:pt>
                <c:pt idx="721">
                  <c:v>241</c:v>
                </c:pt>
                <c:pt idx="723">
                  <c:v>242</c:v>
                </c:pt>
                <c:pt idx="724">
                  <c:v>242</c:v>
                </c:pt>
                <c:pt idx="726">
                  <c:v>243</c:v>
                </c:pt>
                <c:pt idx="727">
                  <c:v>243</c:v>
                </c:pt>
                <c:pt idx="729">
                  <c:v>244</c:v>
                </c:pt>
                <c:pt idx="730">
                  <c:v>244</c:v>
                </c:pt>
                <c:pt idx="732">
                  <c:v>245</c:v>
                </c:pt>
                <c:pt idx="733">
                  <c:v>245</c:v>
                </c:pt>
                <c:pt idx="735">
                  <c:v>246</c:v>
                </c:pt>
                <c:pt idx="736">
                  <c:v>246</c:v>
                </c:pt>
                <c:pt idx="738">
                  <c:v>247</c:v>
                </c:pt>
                <c:pt idx="739">
                  <c:v>247</c:v>
                </c:pt>
                <c:pt idx="741">
                  <c:v>248</c:v>
                </c:pt>
                <c:pt idx="742">
                  <c:v>248</c:v>
                </c:pt>
                <c:pt idx="744">
                  <c:v>249</c:v>
                </c:pt>
                <c:pt idx="745">
                  <c:v>249</c:v>
                </c:pt>
                <c:pt idx="747">
                  <c:v>250</c:v>
                </c:pt>
                <c:pt idx="748">
                  <c:v>250</c:v>
                </c:pt>
                <c:pt idx="750">
                  <c:v>251</c:v>
                </c:pt>
                <c:pt idx="751">
                  <c:v>251</c:v>
                </c:pt>
                <c:pt idx="753">
                  <c:v>252</c:v>
                </c:pt>
                <c:pt idx="754">
                  <c:v>252</c:v>
                </c:pt>
                <c:pt idx="756">
                  <c:v>253</c:v>
                </c:pt>
                <c:pt idx="757">
                  <c:v>253</c:v>
                </c:pt>
                <c:pt idx="759">
                  <c:v>254</c:v>
                </c:pt>
                <c:pt idx="760">
                  <c:v>254</c:v>
                </c:pt>
                <c:pt idx="762">
                  <c:v>255</c:v>
                </c:pt>
                <c:pt idx="763">
                  <c:v>255</c:v>
                </c:pt>
                <c:pt idx="765">
                  <c:v>256</c:v>
                </c:pt>
                <c:pt idx="766">
                  <c:v>256</c:v>
                </c:pt>
                <c:pt idx="768">
                  <c:v>257</c:v>
                </c:pt>
                <c:pt idx="769">
                  <c:v>257</c:v>
                </c:pt>
                <c:pt idx="771">
                  <c:v>258</c:v>
                </c:pt>
                <c:pt idx="772">
                  <c:v>258</c:v>
                </c:pt>
                <c:pt idx="774">
                  <c:v>259</c:v>
                </c:pt>
                <c:pt idx="775">
                  <c:v>259</c:v>
                </c:pt>
                <c:pt idx="777">
                  <c:v>260</c:v>
                </c:pt>
                <c:pt idx="778">
                  <c:v>260</c:v>
                </c:pt>
                <c:pt idx="780">
                  <c:v>261</c:v>
                </c:pt>
                <c:pt idx="781">
                  <c:v>261</c:v>
                </c:pt>
                <c:pt idx="783">
                  <c:v>262</c:v>
                </c:pt>
                <c:pt idx="784">
                  <c:v>262</c:v>
                </c:pt>
                <c:pt idx="786">
                  <c:v>263</c:v>
                </c:pt>
                <c:pt idx="787">
                  <c:v>263</c:v>
                </c:pt>
                <c:pt idx="789">
                  <c:v>264</c:v>
                </c:pt>
                <c:pt idx="790">
                  <c:v>264</c:v>
                </c:pt>
                <c:pt idx="792">
                  <c:v>265</c:v>
                </c:pt>
                <c:pt idx="793">
                  <c:v>265</c:v>
                </c:pt>
                <c:pt idx="795">
                  <c:v>266</c:v>
                </c:pt>
                <c:pt idx="796">
                  <c:v>266</c:v>
                </c:pt>
                <c:pt idx="798">
                  <c:v>267</c:v>
                </c:pt>
                <c:pt idx="799">
                  <c:v>267</c:v>
                </c:pt>
                <c:pt idx="801">
                  <c:v>268</c:v>
                </c:pt>
                <c:pt idx="802">
                  <c:v>268</c:v>
                </c:pt>
                <c:pt idx="804">
                  <c:v>269</c:v>
                </c:pt>
                <c:pt idx="805">
                  <c:v>269</c:v>
                </c:pt>
                <c:pt idx="807">
                  <c:v>270</c:v>
                </c:pt>
                <c:pt idx="808">
                  <c:v>270</c:v>
                </c:pt>
                <c:pt idx="810">
                  <c:v>271</c:v>
                </c:pt>
                <c:pt idx="811">
                  <c:v>271</c:v>
                </c:pt>
                <c:pt idx="813">
                  <c:v>272</c:v>
                </c:pt>
                <c:pt idx="814">
                  <c:v>272</c:v>
                </c:pt>
                <c:pt idx="816">
                  <c:v>273</c:v>
                </c:pt>
                <c:pt idx="817">
                  <c:v>273</c:v>
                </c:pt>
                <c:pt idx="819">
                  <c:v>274</c:v>
                </c:pt>
                <c:pt idx="820">
                  <c:v>274</c:v>
                </c:pt>
                <c:pt idx="822">
                  <c:v>275</c:v>
                </c:pt>
                <c:pt idx="823">
                  <c:v>275</c:v>
                </c:pt>
                <c:pt idx="825">
                  <c:v>276</c:v>
                </c:pt>
                <c:pt idx="826">
                  <c:v>276</c:v>
                </c:pt>
                <c:pt idx="828">
                  <c:v>277</c:v>
                </c:pt>
                <c:pt idx="829">
                  <c:v>277</c:v>
                </c:pt>
                <c:pt idx="831">
                  <c:v>278</c:v>
                </c:pt>
                <c:pt idx="832">
                  <c:v>278</c:v>
                </c:pt>
                <c:pt idx="834">
                  <c:v>279</c:v>
                </c:pt>
                <c:pt idx="835">
                  <c:v>279</c:v>
                </c:pt>
                <c:pt idx="837">
                  <c:v>280</c:v>
                </c:pt>
                <c:pt idx="838">
                  <c:v>280</c:v>
                </c:pt>
                <c:pt idx="840">
                  <c:v>281</c:v>
                </c:pt>
                <c:pt idx="841">
                  <c:v>281</c:v>
                </c:pt>
                <c:pt idx="843">
                  <c:v>282</c:v>
                </c:pt>
                <c:pt idx="844">
                  <c:v>282</c:v>
                </c:pt>
                <c:pt idx="846">
                  <c:v>283</c:v>
                </c:pt>
                <c:pt idx="847">
                  <c:v>283</c:v>
                </c:pt>
                <c:pt idx="849">
                  <c:v>284</c:v>
                </c:pt>
                <c:pt idx="850">
                  <c:v>284</c:v>
                </c:pt>
                <c:pt idx="852">
                  <c:v>285</c:v>
                </c:pt>
                <c:pt idx="853">
                  <c:v>285</c:v>
                </c:pt>
                <c:pt idx="855">
                  <c:v>286</c:v>
                </c:pt>
                <c:pt idx="856">
                  <c:v>286</c:v>
                </c:pt>
                <c:pt idx="858">
                  <c:v>287</c:v>
                </c:pt>
                <c:pt idx="859">
                  <c:v>287</c:v>
                </c:pt>
                <c:pt idx="861">
                  <c:v>288</c:v>
                </c:pt>
                <c:pt idx="862">
                  <c:v>288</c:v>
                </c:pt>
                <c:pt idx="864">
                  <c:v>289</c:v>
                </c:pt>
                <c:pt idx="865">
                  <c:v>289</c:v>
                </c:pt>
                <c:pt idx="867">
                  <c:v>290</c:v>
                </c:pt>
                <c:pt idx="868">
                  <c:v>290</c:v>
                </c:pt>
                <c:pt idx="870">
                  <c:v>291</c:v>
                </c:pt>
                <c:pt idx="871">
                  <c:v>291</c:v>
                </c:pt>
                <c:pt idx="873">
                  <c:v>292</c:v>
                </c:pt>
                <c:pt idx="874">
                  <c:v>292</c:v>
                </c:pt>
                <c:pt idx="876">
                  <c:v>293</c:v>
                </c:pt>
                <c:pt idx="877">
                  <c:v>293</c:v>
                </c:pt>
                <c:pt idx="879">
                  <c:v>294</c:v>
                </c:pt>
                <c:pt idx="880">
                  <c:v>294</c:v>
                </c:pt>
                <c:pt idx="882">
                  <c:v>295</c:v>
                </c:pt>
                <c:pt idx="883">
                  <c:v>295</c:v>
                </c:pt>
                <c:pt idx="885">
                  <c:v>296</c:v>
                </c:pt>
                <c:pt idx="886">
                  <c:v>296</c:v>
                </c:pt>
                <c:pt idx="888">
                  <c:v>297</c:v>
                </c:pt>
                <c:pt idx="889">
                  <c:v>297</c:v>
                </c:pt>
                <c:pt idx="891">
                  <c:v>298</c:v>
                </c:pt>
                <c:pt idx="892">
                  <c:v>298</c:v>
                </c:pt>
                <c:pt idx="894">
                  <c:v>299</c:v>
                </c:pt>
                <c:pt idx="895">
                  <c:v>299</c:v>
                </c:pt>
                <c:pt idx="897">
                  <c:v>300</c:v>
                </c:pt>
                <c:pt idx="898">
                  <c:v>300</c:v>
                </c:pt>
                <c:pt idx="900">
                  <c:v>301</c:v>
                </c:pt>
                <c:pt idx="901">
                  <c:v>301</c:v>
                </c:pt>
                <c:pt idx="903">
                  <c:v>302</c:v>
                </c:pt>
                <c:pt idx="904">
                  <c:v>302</c:v>
                </c:pt>
                <c:pt idx="906">
                  <c:v>303</c:v>
                </c:pt>
                <c:pt idx="907">
                  <c:v>303</c:v>
                </c:pt>
                <c:pt idx="909">
                  <c:v>304</c:v>
                </c:pt>
                <c:pt idx="910">
                  <c:v>304</c:v>
                </c:pt>
                <c:pt idx="912">
                  <c:v>305</c:v>
                </c:pt>
                <c:pt idx="913">
                  <c:v>305</c:v>
                </c:pt>
                <c:pt idx="915">
                  <c:v>306</c:v>
                </c:pt>
                <c:pt idx="916">
                  <c:v>306</c:v>
                </c:pt>
                <c:pt idx="918">
                  <c:v>307</c:v>
                </c:pt>
                <c:pt idx="919">
                  <c:v>307</c:v>
                </c:pt>
                <c:pt idx="921">
                  <c:v>308</c:v>
                </c:pt>
                <c:pt idx="922">
                  <c:v>308</c:v>
                </c:pt>
                <c:pt idx="924">
                  <c:v>309</c:v>
                </c:pt>
                <c:pt idx="925">
                  <c:v>309</c:v>
                </c:pt>
                <c:pt idx="927">
                  <c:v>310</c:v>
                </c:pt>
                <c:pt idx="928">
                  <c:v>310</c:v>
                </c:pt>
                <c:pt idx="930">
                  <c:v>311</c:v>
                </c:pt>
                <c:pt idx="931">
                  <c:v>311</c:v>
                </c:pt>
                <c:pt idx="933">
                  <c:v>312</c:v>
                </c:pt>
                <c:pt idx="934">
                  <c:v>312</c:v>
                </c:pt>
                <c:pt idx="936">
                  <c:v>313</c:v>
                </c:pt>
                <c:pt idx="937">
                  <c:v>313</c:v>
                </c:pt>
                <c:pt idx="939">
                  <c:v>314</c:v>
                </c:pt>
                <c:pt idx="940">
                  <c:v>314</c:v>
                </c:pt>
                <c:pt idx="942">
                  <c:v>315</c:v>
                </c:pt>
                <c:pt idx="943">
                  <c:v>315</c:v>
                </c:pt>
                <c:pt idx="945">
                  <c:v>316</c:v>
                </c:pt>
                <c:pt idx="946">
                  <c:v>316</c:v>
                </c:pt>
                <c:pt idx="948">
                  <c:v>317</c:v>
                </c:pt>
                <c:pt idx="949">
                  <c:v>317</c:v>
                </c:pt>
                <c:pt idx="951">
                  <c:v>318</c:v>
                </c:pt>
                <c:pt idx="952">
                  <c:v>318</c:v>
                </c:pt>
                <c:pt idx="954">
                  <c:v>319</c:v>
                </c:pt>
                <c:pt idx="955">
                  <c:v>319</c:v>
                </c:pt>
                <c:pt idx="957">
                  <c:v>320</c:v>
                </c:pt>
                <c:pt idx="958">
                  <c:v>320</c:v>
                </c:pt>
                <c:pt idx="960">
                  <c:v>321</c:v>
                </c:pt>
                <c:pt idx="961">
                  <c:v>321</c:v>
                </c:pt>
                <c:pt idx="963">
                  <c:v>322</c:v>
                </c:pt>
                <c:pt idx="964">
                  <c:v>322</c:v>
                </c:pt>
                <c:pt idx="966">
                  <c:v>323</c:v>
                </c:pt>
                <c:pt idx="967">
                  <c:v>323</c:v>
                </c:pt>
                <c:pt idx="969">
                  <c:v>324</c:v>
                </c:pt>
                <c:pt idx="970">
                  <c:v>324</c:v>
                </c:pt>
                <c:pt idx="972">
                  <c:v>325</c:v>
                </c:pt>
                <c:pt idx="973">
                  <c:v>325</c:v>
                </c:pt>
                <c:pt idx="975">
                  <c:v>326</c:v>
                </c:pt>
                <c:pt idx="976">
                  <c:v>326</c:v>
                </c:pt>
                <c:pt idx="978">
                  <c:v>327</c:v>
                </c:pt>
                <c:pt idx="979">
                  <c:v>327</c:v>
                </c:pt>
                <c:pt idx="981">
                  <c:v>328</c:v>
                </c:pt>
                <c:pt idx="982">
                  <c:v>328</c:v>
                </c:pt>
                <c:pt idx="984">
                  <c:v>329</c:v>
                </c:pt>
                <c:pt idx="985">
                  <c:v>329</c:v>
                </c:pt>
                <c:pt idx="987">
                  <c:v>330</c:v>
                </c:pt>
                <c:pt idx="988">
                  <c:v>330</c:v>
                </c:pt>
                <c:pt idx="990">
                  <c:v>331</c:v>
                </c:pt>
                <c:pt idx="991">
                  <c:v>331</c:v>
                </c:pt>
                <c:pt idx="993">
                  <c:v>332</c:v>
                </c:pt>
                <c:pt idx="994">
                  <c:v>332</c:v>
                </c:pt>
                <c:pt idx="996">
                  <c:v>333</c:v>
                </c:pt>
                <c:pt idx="997">
                  <c:v>333</c:v>
                </c:pt>
                <c:pt idx="999">
                  <c:v>334</c:v>
                </c:pt>
                <c:pt idx="1000">
                  <c:v>334</c:v>
                </c:pt>
                <c:pt idx="1002">
                  <c:v>335</c:v>
                </c:pt>
                <c:pt idx="1003">
                  <c:v>335</c:v>
                </c:pt>
                <c:pt idx="1005">
                  <c:v>336</c:v>
                </c:pt>
                <c:pt idx="1006">
                  <c:v>336</c:v>
                </c:pt>
                <c:pt idx="1008">
                  <c:v>337</c:v>
                </c:pt>
                <c:pt idx="1009">
                  <c:v>337</c:v>
                </c:pt>
                <c:pt idx="1011">
                  <c:v>338</c:v>
                </c:pt>
                <c:pt idx="1012">
                  <c:v>338</c:v>
                </c:pt>
                <c:pt idx="1014">
                  <c:v>339</c:v>
                </c:pt>
                <c:pt idx="1015">
                  <c:v>339</c:v>
                </c:pt>
                <c:pt idx="1017">
                  <c:v>340</c:v>
                </c:pt>
                <c:pt idx="1018">
                  <c:v>340</c:v>
                </c:pt>
                <c:pt idx="1020">
                  <c:v>341</c:v>
                </c:pt>
                <c:pt idx="1021">
                  <c:v>341</c:v>
                </c:pt>
                <c:pt idx="1023">
                  <c:v>342</c:v>
                </c:pt>
                <c:pt idx="1024">
                  <c:v>342</c:v>
                </c:pt>
                <c:pt idx="1026">
                  <c:v>343</c:v>
                </c:pt>
                <c:pt idx="1027">
                  <c:v>343</c:v>
                </c:pt>
                <c:pt idx="1029">
                  <c:v>344</c:v>
                </c:pt>
                <c:pt idx="1030">
                  <c:v>344</c:v>
                </c:pt>
                <c:pt idx="1032">
                  <c:v>345</c:v>
                </c:pt>
                <c:pt idx="1033">
                  <c:v>345</c:v>
                </c:pt>
                <c:pt idx="1035">
                  <c:v>346</c:v>
                </c:pt>
                <c:pt idx="1036">
                  <c:v>346</c:v>
                </c:pt>
                <c:pt idx="1038">
                  <c:v>347</c:v>
                </c:pt>
                <c:pt idx="1039">
                  <c:v>347</c:v>
                </c:pt>
                <c:pt idx="1041">
                  <c:v>348</c:v>
                </c:pt>
                <c:pt idx="1042">
                  <c:v>348</c:v>
                </c:pt>
                <c:pt idx="1044">
                  <c:v>349</c:v>
                </c:pt>
                <c:pt idx="1045">
                  <c:v>349</c:v>
                </c:pt>
                <c:pt idx="1047">
                  <c:v>350</c:v>
                </c:pt>
                <c:pt idx="1048">
                  <c:v>350</c:v>
                </c:pt>
                <c:pt idx="1050">
                  <c:v>351</c:v>
                </c:pt>
                <c:pt idx="1051">
                  <c:v>351</c:v>
                </c:pt>
                <c:pt idx="1053">
                  <c:v>352</c:v>
                </c:pt>
                <c:pt idx="1054">
                  <c:v>352</c:v>
                </c:pt>
                <c:pt idx="1056">
                  <c:v>353</c:v>
                </c:pt>
                <c:pt idx="1057">
                  <c:v>353</c:v>
                </c:pt>
                <c:pt idx="1059">
                  <c:v>354</c:v>
                </c:pt>
                <c:pt idx="1060">
                  <c:v>354</c:v>
                </c:pt>
                <c:pt idx="1062">
                  <c:v>355</c:v>
                </c:pt>
                <c:pt idx="1063">
                  <c:v>355</c:v>
                </c:pt>
                <c:pt idx="1065">
                  <c:v>356</c:v>
                </c:pt>
                <c:pt idx="1066">
                  <c:v>356</c:v>
                </c:pt>
                <c:pt idx="1068">
                  <c:v>357</c:v>
                </c:pt>
                <c:pt idx="1069">
                  <c:v>357</c:v>
                </c:pt>
                <c:pt idx="1071">
                  <c:v>358</c:v>
                </c:pt>
                <c:pt idx="1072">
                  <c:v>358</c:v>
                </c:pt>
                <c:pt idx="1074">
                  <c:v>359</c:v>
                </c:pt>
                <c:pt idx="1075">
                  <c:v>359</c:v>
                </c:pt>
                <c:pt idx="1077">
                  <c:v>360</c:v>
                </c:pt>
                <c:pt idx="1078">
                  <c:v>360</c:v>
                </c:pt>
                <c:pt idx="1080">
                  <c:v>361</c:v>
                </c:pt>
                <c:pt idx="1081">
                  <c:v>361</c:v>
                </c:pt>
                <c:pt idx="1083">
                  <c:v>362</c:v>
                </c:pt>
                <c:pt idx="1084">
                  <c:v>362</c:v>
                </c:pt>
                <c:pt idx="1086">
                  <c:v>363</c:v>
                </c:pt>
                <c:pt idx="1087">
                  <c:v>363</c:v>
                </c:pt>
                <c:pt idx="1089">
                  <c:v>364</c:v>
                </c:pt>
                <c:pt idx="1090">
                  <c:v>364</c:v>
                </c:pt>
                <c:pt idx="1092">
                  <c:v>365</c:v>
                </c:pt>
                <c:pt idx="1093">
                  <c:v>365</c:v>
                </c:pt>
                <c:pt idx="1095">
                  <c:v>366</c:v>
                </c:pt>
                <c:pt idx="1096">
                  <c:v>366</c:v>
                </c:pt>
                <c:pt idx="1098">
                  <c:v>367</c:v>
                </c:pt>
                <c:pt idx="1099">
                  <c:v>367</c:v>
                </c:pt>
                <c:pt idx="1101">
                  <c:v>368</c:v>
                </c:pt>
                <c:pt idx="1102">
                  <c:v>368</c:v>
                </c:pt>
                <c:pt idx="1104">
                  <c:v>369</c:v>
                </c:pt>
                <c:pt idx="1105">
                  <c:v>369</c:v>
                </c:pt>
                <c:pt idx="1107">
                  <c:v>370</c:v>
                </c:pt>
                <c:pt idx="1108">
                  <c:v>370</c:v>
                </c:pt>
                <c:pt idx="1110">
                  <c:v>371</c:v>
                </c:pt>
                <c:pt idx="1111">
                  <c:v>371</c:v>
                </c:pt>
                <c:pt idx="1113">
                  <c:v>372</c:v>
                </c:pt>
                <c:pt idx="1114">
                  <c:v>372</c:v>
                </c:pt>
                <c:pt idx="1116">
                  <c:v>373</c:v>
                </c:pt>
                <c:pt idx="1117">
                  <c:v>373</c:v>
                </c:pt>
                <c:pt idx="1119">
                  <c:v>374</c:v>
                </c:pt>
                <c:pt idx="1120">
                  <c:v>374</c:v>
                </c:pt>
                <c:pt idx="1122">
                  <c:v>375</c:v>
                </c:pt>
                <c:pt idx="1123">
                  <c:v>375</c:v>
                </c:pt>
                <c:pt idx="1125">
                  <c:v>376</c:v>
                </c:pt>
                <c:pt idx="1126">
                  <c:v>376</c:v>
                </c:pt>
                <c:pt idx="1128">
                  <c:v>377</c:v>
                </c:pt>
                <c:pt idx="1129">
                  <c:v>377</c:v>
                </c:pt>
                <c:pt idx="1131">
                  <c:v>378</c:v>
                </c:pt>
                <c:pt idx="1132">
                  <c:v>378</c:v>
                </c:pt>
                <c:pt idx="1134">
                  <c:v>379</c:v>
                </c:pt>
                <c:pt idx="1135">
                  <c:v>379</c:v>
                </c:pt>
                <c:pt idx="1137">
                  <c:v>380</c:v>
                </c:pt>
                <c:pt idx="1138">
                  <c:v>380</c:v>
                </c:pt>
                <c:pt idx="1140">
                  <c:v>381</c:v>
                </c:pt>
                <c:pt idx="1141">
                  <c:v>381</c:v>
                </c:pt>
                <c:pt idx="1143">
                  <c:v>382</c:v>
                </c:pt>
                <c:pt idx="1144">
                  <c:v>382</c:v>
                </c:pt>
                <c:pt idx="1146">
                  <c:v>383</c:v>
                </c:pt>
                <c:pt idx="1147">
                  <c:v>383</c:v>
                </c:pt>
                <c:pt idx="1149">
                  <c:v>384</c:v>
                </c:pt>
                <c:pt idx="1150">
                  <c:v>384</c:v>
                </c:pt>
                <c:pt idx="1152">
                  <c:v>385</c:v>
                </c:pt>
                <c:pt idx="1153">
                  <c:v>385</c:v>
                </c:pt>
                <c:pt idx="1155">
                  <c:v>386</c:v>
                </c:pt>
                <c:pt idx="1156">
                  <c:v>386</c:v>
                </c:pt>
                <c:pt idx="1158">
                  <c:v>387</c:v>
                </c:pt>
                <c:pt idx="1159">
                  <c:v>387</c:v>
                </c:pt>
                <c:pt idx="1161">
                  <c:v>388</c:v>
                </c:pt>
                <c:pt idx="1162">
                  <c:v>388</c:v>
                </c:pt>
                <c:pt idx="1164">
                  <c:v>389</c:v>
                </c:pt>
                <c:pt idx="1165">
                  <c:v>389</c:v>
                </c:pt>
                <c:pt idx="1167">
                  <c:v>390</c:v>
                </c:pt>
                <c:pt idx="1168">
                  <c:v>390</c:v>
                </c:pt>
                <c:pt idx="1170">
                  <c:v>391</c:v>
                </c:pt>
                <c:pt idx="1171">
                  <c:v>391</c:v>
                </c:pt>
                <c:pt idx="1173">
                  <c:v>392</c:v>
                </c:pt>
                <c:pt idx="1174">
                  <c:v>392</c:v>
                </c:pt>
                <c:pt idx="1176">
                  <c:v>393</c:v>
                </c:pt>
                <c:pt idx="1177">
                  <c:v>393</c:v>
                </c:pt>
                <c:pt idx="1179">
                  <c:v>394</c:v>
                </c:pt>
                <c:pt idx="1180">
                  <c:v>394</c:v>
                </c:pt>
                <c:pt idx="1182">
                  <c:v>395</c:v>
                </c:pt>
                <c:pt idx="1183">
                  <c:v>395</c:v>
                </c:pt>
                <c:pt idx="1185">
                  <c:v>396</c:v>
                </c:pt>
                <c:pt idx="1186">
                  <c:v>396</c:v>
                </c:pt>
                <c:pt idx="1188">
                  <c:v>397</c:v>
                </c:pt>
                <c:pt idx="1189">
                  <c:v>397</c:v>
                </c:pt>
                <c:pt idx="1191">
                  <c:v>398</c:v>
                </c:pt>
                <c:pt idx="1192">
                  <c:v>398</c:v>
                </c:pt>
                <c:pt idx="1194">
                  <c:v>399</c:v>
                </c:pt>
                <c:pt idx="1195">
                  <c:v>399</c:v>
                </c:pt>
                <c:pt idx="1197">
                  <c:v>400</c:v>
                </c:pt>
                <c:pt idx="1198">
                  <c:v>400</c:v>
                </c:pt>
                <c:pt idx="1200">
                  <c:v>401</c:v>
                </c:pt>
                <c:pt idx="1201">
                  <c:v>401</c:v>
                </c:pt>
                <c:pt idx="1203">
                  <c:v>402</c:v>
                </c:pt>
                <c:pt idx="1204">
                  <c:v>402</c:v>
                </c:pt>
                <c:pt idx="1206">
                  <c:v>403</c:v>
                </c:pt>
                <c:pt idx="1207">
                  <c:v>403</c:v>
                </c:pt>
                <c:pt idx="1209">
                  <c:v>404</c:v>
                </c:pt>
                <c:pt idx="1210">
                  <c:v>404</c:v>
                </c:pt>
                <c:pt idx="1212">
                  <c:v>405</c:v>
                </c:pt>
                <c:pt idx="1213">
                  <c:v>405</c:v>
                </c:pt>
                <c:pt idx="1215">
                  <c:v>406</c:v>
                </c:pt>
                <c:pt idx="1216">
                  <c:v>406</c:v>
                </c:pt>
                <c:pt idx="1218">
                  <c:v>407</c:v>
                </c:pt>
                <c:pt idx="1219">
                  <c:v>407</c:v>
                </c:pt>
                <c:pt idx="1221">
                  <c:v>408</c:v>
                </c:pt>
                <c:pt idx="1222">
                  <c:v>408</c:v>
                </c:pt>
                <c:pt idx="1224">
                  <c:v>409</c:v>
                </c:pt>
                <c:pt idx="1225">
                  <c:v>409</c:v>
                </c:pt>
                <c:pt idx="1227">
                  <c:v>410</c:v>
                </c:pt>
                <c:pt idx="1228">
                  <c:v>410</c:v>
                </c:pt>
                <c:pt idx="1230">
                  <c:v>411</c:v>
                </c:pt>
                <c:pt idx="1231">
                  <c:v>411</c:v>
                </c:pt>
                <c:pt idx="1233">
                  <c:v>412</c:v>
                </c:pt>
                <c:pt idx="1234">
                  <c:v>412</c:v>
                </c:pt>
                <c:pt idx="1236">
                  <c:v>413</c:v>
                </c:pt>
                <c:pt idx="1237">
                  <c:v>413</c:v>
                </c:pt>
                <c:pt idx="1239">
                  <c:v>414</c:v>
                </c:pt>
                <c:pt idx="1240">
                  <c:v>414</c:v>
                </c:pt>
                <c:pt idx="1242">
                  <c:v>415</c:v>
                </c:pt>
                <c:pt idx="1243">
                  <c:v>415</c:v>
                </c:pt>
                <c:pt idx="1245">
                  <c:v>416</c:v>
                </c:pt>
                <c:pt idx="1246">
                  <c:v>416</c:v>
                </c:pt>
                <c:pt idx="1248">
                  <c:v>417</c:v>
                </c:pt>
                <c:pt idx="1249">
                  <c:v>417</c:v>
                </c:pt>
                <c:pt idx="1251">
                  <c:v>418</c:v>
                </c:pt>
                <c:pt idx="1252">
                  <c:v>418</c:v>
                </c:pt>
                <c:pt idx="1254">
                  <c:v>419</c:v>
                </c:pt>
                <c:pt idx="1255">
                  <c:v>419</c:v>
                </c:pt>
                <c:pt idx="1257">
                  <c:v>420</c:v>
                </c:pt>
                <c:pt idx="1258">
                  <c:v>420</c:v>
                </c:pt>
                <c:pt idx="1260">
                  <c:v>421</c:v>
                </c:pt>
                <c:pt idx="1261">
                  <c:v>421</c:v>
                </c:pt>
                <c:pt idx="1263">
                  <c:v>422</c:v>
                </c:pt>
                <c:pt idx="1264">
                  <c:v>422</c:v>
                </c:pt>
                <c:pt idx="1266">
                  <c:v>423</c:v>
                </c:pt>
                <c:pt idx="1267">
                  <c:v>423</c:v>
                </c:pt>
                <c:pt idx="1269">
                  <c:v>424</c:v>
                </c:pt>
                <c:pt idx="1270">
                  <c:v>424</c:v>
                </c:pt>
                <c:pt idx="1272">
                  <c:v>425</c:v>
                </c:pt>
                <c:pt idx="1273">
                  <c:v>425</c:v>
                </c:pt>
                <c:pt idx="1275">
                  <c:v>426</c:v>
                </c:pt>
                <c:pt idx="1276">
                  <c:v>426</c:v>
                </c:pt>
                <c:pt idx="1278">
                  <c:v>427</c:v>
                </c:pt>
                <c:pt idx="1279">
                  <c:v>427</c:v>
                </c:pt>
                <c:pt idx="1281">
                  <c:v>428</c:v>
                </c:pt>
                <c:pt idx="1282">
                  <c:v>428</c:v>
                </c:pt>
                <c:pt idx="1284">
                  <c:v>429</c:v>
                </c:pt>
                <c:pt idx="1285">
                  <c:v>429</c:v>
                </c:pt>
                <c:pt idx="1287">
                  <c:v>430</c:v>
                </c:pt>
                <c:pt idx="1288">
                  <c:v>430</c:v>
                </c:pt>
                <c:pt idx="1290">
                  <c:v>431</c:v>
                </c:pt>
                <c:pt idx="1291">
                  <c:v>431</c:v>
                </c:pt>
                <c:pt idx="1293">
                  <c:v>432</c:v>
                </c:pt>
                <c:pt idx="1294">
                  <c:v>432</c:v>
                </c:pt>
                <c:pt idx="1296">
                  <c:v>433</c:v>
                </c:pt>
                <c:pt idx="1297">
                  <c:v>433</c:v>
                </c:pt>
                <c:pt idx="1299">
                  <c:v>434</c:v>
                </c:pt>
                <c:pt idx="1300">
                  <c:v>434</c:v>
                </c:pt>
                <c:pt idx="1302">
                  <c:v>435</c:v>
                </c:pt>
                <c:pt idx="1303">
                  <c:v>435</c:v>
                </c:pt>
                <c:pt idx="1305">
                  <c:v>436</c:v>
                </c:pt>
                <c:pt idx="1306">
                  <c:v>436</c:v>
                </c:pt>
                <c:pt idx="1308">
                  <c:v>437</c:v>
                </c:pt>
                <c:pt idx="1309">
                  <c:v>437</c:v>
                </c:pt>
                <c:pt idx="1311">
                  <c:v>438</c:v>
                </c:pt>
                <c:pt idx="1312">
                  <c:v>438</c:v>
                </c:pt>
                <c:pt idx="1314">
                  <c:v>439</c:v>
                </c:pt>
                <c:pt idx="1315">
                  <c:v>439</c:v>
                </c:pt>
                <c:pt idx="1317">
                  <c:v>440</c:v>
                </c:pt>
                <c:pt idx="1318">
                  <c:v>440</c:v>
                </c:pt>
                <c:pt idx="1320">
                  <c:v>441</c:v>
                </c:pt>
                <c:pt idx="1321">
                  <c:v>441</c:v>
                </c:pt>
                <c:pt idx="1323">
                  <c:v>442</c:v>
                </c:pt>
                <c:pt idx="1324">
                  <c:v>442</c:v>
                </c:pt>
                <c:pt idx="1326">
                  <c:v>443</c:v>
                </c:pt>
                <c:pt idx="1327">
                  <c:v>443</c:v>
                </c:pt>
                <c:pt idx="1329">
                  <c:v>444</c:v>
                </c:pt>
                <c:pt idx="1330">
                  <c:v>444</c:v>
                </c:pt>
                <c:pt idx="1332">
                  <c:v>445</c:v>
                </c:pt>
                <c:pt idx="1333">
                  <c:v>445</c:v>
                </c:pt>
                <c:pt idx="1335">
                  <c:v>446</c:v>
                </c:pt>
                <c:pt idx="1336">
                  <c:v>446</c:v>
                </c:pt>
                <c:pt idx="1338">
                  <c:v>447</c:v>
                </c:pt>
                <c:pt idx="1339">
                  <c:v>447</c:v>
                </c:pt>
                <c:pt idx="1341">
                  <c:v>448</c:v>
                </c:pt>
                <c:pt idx="1342">
                  <c:v>448</c:v>
                </c:pt>
                <c:pt idx="1344">
                  <c:v>449</c:v>
                </c:pt>
                <c:pt idx="1345">
                  <c:v>449</c:v>
                </c:pt>
                <c:pt idx="1347">
                  <c:v>450</c:v>
                </c:pt>
                <c:pt idx="1348">
                  <c:v>450</c:v>
                </c:pt>
                <c:pt idx="1350">
                  <c:v>451</c:v>
                </c:pt>
                <c:pt idx="1351">
                  <c:v>451</c:v>
                </c:pt>
                <c:pt idx="1353">
                  <c:v>452</c:v>
                </c:pt>
                <c:pt idx="1354">
                  <c:v>452</c:v>
                </c:pt>
                <c:pt idx="1356">
                  <c:v>453</c:v>
                </c:pt>
                <c:pt idx="1357">
                  <c:v>453</c:v>
                </c:pt>
                <c:pt idx="1359">
                  <c:v>454</c:v>
                </c:pt>
                <c:pt idx="1360">
                  <c:v>454</c:v>
                </c:pt>
                <c:pt idx="1362">
                  <c:v>455</c:v>
                </c:pt>
                <c:pt idx="1363">
                  <c:v>455</c:v>
                </c:pt>
                <c:pt idx="1365">
                  <c:v>456</c:v>
                </c:pt>
                <c:pt idx="1366">
                  <c:v>456</c:v>
                </c:pt>
                <c:pt idx="1368">
                  <c:v>457</c:v>
                </c:pt>
                <c:pt idx="1369">
                  <c:v>457</c:v>
                </c:pt>
                <c:pt idx="1371">
                  <c:v>458</c:v>
                </c:pt>
                <c:pt idx="1372">
                  <c:v>458</c:v>
                </c:pt>
                <c:pt idx="1374">
                  <c:v>459</c:v>
                </c:pt>
                <c:pt idx="1375">
                  <c:v>459</c:v>
                </c:pt>
                <c:pt idx="1377">
                  <c:v>460</c:v>
                </c:pt>
                <c:pt idx="1378">
                  <c:v>460</c:v>
                </c:pt>
                <c:pt idx="1380">
                  <c:v>461</c:v>
                </c:pt>
                <c:pt idx="1381">
                  <c:v>461</c:v>
                </c:pt>
                <c:pt idx="1383">
                  <c:v>462</c:v>
                </c:pt>
                <c:pt idx="1384">
                  <c:v>462</c:v>
                </c:pt>
                <c:pt idx="1386">
                  <c:v>463</c:v>
                </c:pt>
                <c:pt idx="1387">
                  <c:v>463</c:v>
                </c:pt>
                <c:pt idx="1389">
                  <c:v>464</c:v>
                </c:pt>
                <c:pt idx="1390">
                  <c:v>464</c:v>
                </c:pt>
                <c:pt idx="1392">
                  <c:v>465</c:v>
                </c:pt>
                <c:pt idx="1393">
                  <c:v>465</c:v>
                </c:pt>
                <c:pt idx="1395">
                  <c:v>466</c:v>
                </c:pt>
                <c:pt idx="1396">
                  <c:v>466</c:v>
                </c:pt>
                <c:pt idx="1398">
                  <c:v>467</c:v>
                </c:pt>
                <c:pt idx="1399">
                  <c:v>467</c:v>
                </c:pt>
                <c:pt idx="1401">
                  <c:v>468</c:v>
                </c:pt>
                <c:pt idx="1402">
                  <c:v>468</c:v>
                </c:pt>
                <c:pt idx="1404">
                  <c:v>469</c:v>
                </c:pt>
                <c:pt idx="1405">
                  <c:v>469</c:v>
                </c:pt>
                <c:pt idx="1407">
                  <c:v>470</c:v>
                </c:pt>
                <c:pt idx="1408">
                  <c:v>470</c:v>
                </c:pt>
                <c:pt idx="1410">
                  <c:v>471</c:v>
                </c:pt>
                <c:pt idx="1411">
                  <c:v>471</c:v>
                </c:pt>
                <c:pt idx="1413">
                  <c:v>472</c:v>
                </c:pt>
                <c:pt idx="1414">
                  <c:v>472</c:v>
                </c:pt>
                <c:pt idx="1416">
                  <c:v>473</c:v>
                </c:pt>
                <c:pt idx="1417">
                  <c:v>473</c:v>
                </c:pt>
                <c:pt idx="1419">
                  <c:v>474</c:v>
                </c:pt>
                <c:pt idx="1420">
                  <c:v>474</c:v>
                </c:pt>
                <c:pt idx="1422">
                  <c:v>475</c:v>
                </c:pt>
                <c:pt idx="1423">
                  <c:v>475</c:v>
                </c:pt>
                <c:pt idx="1425">
                  <c:v>476</c:v>
                </c:pt>
                <c:pt idx="1426">
                  <c:v>476</c:v>
                </c:pt>
                <c:pt idx="1428">
                  <c:v>477</c:v>
                </c:pt>
                <c:pt idx="1429">
                  <c:v>477</c:v>
                </c:pt>
                <c:pt idx="1431">
                  <c:v>478</c:v>
                </c:pt>
                <c:pt idx="1432">
                  <c:v>478</c:v>
                </c:pt>
                <c:pt idx="1434">
                  <c:v>479</c:v>
                </c:pt>
                <c:pt idx="1435">
                  <c:v>479</c:v>
                </c:pt>
                <c:pt idx="1437">
                  <c:v>480</c:v>
                </c:pt>
                <c:pt idx="1438">
                  <c:v>480</c:v>
                </c:pt>
                <c:pt idx="1440">
                  <c:v>481</c:v>
                </c:pt>
                <c:pt idx="1441">
                  <c:v>481</c:v>
                </c:pt>
                <c:pt idx="1443">
                  <c:v>482</c:v>
                </c:pt>
                <c:pt idx="1444">
                  <c:v>482</c:v>
                </c:pt>
                <c:pt idx="1446">
                  <c:v>483</c:v>
                </c:pt>
                <c:pt idx="1447">
                  <c:v>483</c:v>
                </c:pt>
                <c:pt idx="1449">
                  <c:v>484</c:v>
                </c:pt>
                <c:pt idx="1450">
                  <c:v>484</c:v>
                </c:pt>
                <c:pt idx="1452">
                  <c:v>485</c:v>
                </c:pt>
                <c:pt idx="1453">
                  <c:v>485</c:v>
                </c:pt>
                <c:pt idx="1455">
                  <c:v>486</c:v>
                </c:pt>
                <c:pt idx="1456">
                  <c:v>486</c:v>
                </c:pt>
              </c:numCache>
            </c:numRef>
          </c:xVal>
          <c:yVal>
            <c:numRef>
              <c:f>Sheet4!$B$2:$B$1459</c:f>
              <c:numCache>
                <c:formatCode>General</c:formatCode>
                <c:ptCount val="1458"/>
                <c:pt idx="0">
                  <c:v>1.0900000000000001</c:v>
                </c:pt>
                <c:pt idx="1">
                  <c:v>0.23</c:v>
                </c:pt>
                <c:pt idx="3">
                  <c:v>1.05</c:v>
                </c:pt>
                <c:pt idx="4">
                  <c:v>0.2</c:v>
                </c:pt>
                <c:pt idx="6">
                  <c:v>1.01</c:v>
                </c:pt>
                <c:pt idx="7">
                  <c:v>0.17</c:v>
                </c:pt>
                <c:pt idx="9">
                  <c:v>0.9</c:v>
                </c:pt>
                <c:pt idx="10">
                  <c:v>7.0000000000000007E-2</c:v>
                </c:pt>
                <c:pt idx="12">
                  <c:v>0.97</c:v>
                </c:pt>
                <c:pt idx="13">
                  <c:v>0.14000000000000001</c:v>
                </c:pt>
                <c:pt idx="15">
                  <c:v>1.02</c:v>
                </c:pt>
                <c:pt idx="16">
                  <c:v>0.2</c:v>
                </c:pt>
                <c:pt idx="18">
                  <c:v>0.98</c:v>
                </c:pt>
                <c:pt idx="19">
                  <c:v>0.18</c:v>
                </c:pt>
                <c:pt idx="21">
                  <c:v>0.91</c:v>
                </c:pt>
                <c:pt idx="22">
                  <c:v>0.12</c:v>
                </c:pt>
                <c:pt idx="24">
                  <c:v>1.01</c:v>
                </c:pt>
                <c:pt idx="25">
                  <c:v>0.22</c:v>
                </c:pt>
                <c:pt idx="27">
                  <c:v>0.93</c:v>
                </c:pt>
                <c:pt idx="28">
                  <c:v>0.16</c:v>
                </c:pt>
                <c:pt idx="30">
                  <c:v>0.87</c:v>
                </c:pt>
                <c:pt idx="31">
                  <c:v>0.11</c:v>
                </c:pt>
                <c:pt idx="33">
                  <c:v>0.94</c:v>
                </c:pt>
                <c:pt idx="34">
                  <c:v>0.18</c:v>
                </c:pt>
                <c:pt idx="36">
                  <c:v>0.95</c:v>
                </c:pt>
                <c:pt idx="37">
                  <c:v>0.19</c:v>
                </c:pt>
                <c:pt idx="39">
                  <c:v>0.96</c:v>
                </c:pt>
                <c:pt idx="40">
                  <c:v>0.2</c:v>
                </c:pt>
                <c:pt idx="42">
                  <c:v>1.03</c:v>
                </c:pt>
                <c:pt idx="43">
                  <c:v>0.27</c:v>
                </c:pt>
                <c:pt idx="45">
                  <c:v>0.94</c:v>
                </c:pt>
                <c:pt idx="46">
                  <c:v>0.19</c:v>
                </c:pt>
                <c:pt idx="48">
                  <c:v>1.01</c:v>
                </c:pt>
                <c:pt idx="49">
                  <c:v>0.26</c:v>
                </c:pt>
                <c:pt idx="51">
                  <c:v>0.95</c:v>
                </c:pt>
                <c:pt idx="52">
                  <c:v>0.21</c:v>
                </c:pt>
                <c:pt idx="54">
                  <c:v>1</c:v>
                </c:pt>
                <c:pt idx="55">
                  <c:v>0.26</c:v>
                </c:pt>
                <c:pt idx="57">
                  <c:v>0.95</c:v>
                </c:pt>
                <c:pt idx="58">
                  <c:v>0.22</c:v>
                </c:pt>
                <c:pt idx="60">
                  <c:v>0.86</c:v>
                </c:pt>
                <c:pt idx="61">
                  <c:v>0.14000000000000001</c:v>
                </c:pt>
                <c:pt idx="63">
                  <c:v>0.94</c:v>
                </c:pt>
                <c:pt idx="64">
                  <c:v>0.23</c:v>
                </c:pt>
                <c:pt idx="66">
                  <c:v>0.96</c:v>
                </c:pt>
                <c:pt idx="67">
                  <c:v>0.25</c:v>
                </c:pt>
                <c:pt idx="69">
                  <c:v>0.99</c:v>
                </c:pt>
                <c:pt idx="70">
                  <c:v>0.28000000000000003</c:v>
                </c:pt>
                <c:pt idx="72">
                  <c:v>1.01</c:v>
                </c:pt>
                <c:pt idx="73">
                  <c:v>0.3</c:v>
                </c:pt>
                <c:pt idx="75">
                  <c:v>0.9</c:v>
                </c:pt>
                <c:pt idx="76">
                  <c:v>0.21</c:v>
                </c:pt>
                <c:pt idx="78">
                  <c:v>1.05</c:v>
                </c:pt>
                <c:pt idx="79">
                  <c:v>0.36</c:v>
                </c:pt>
                <c:pt idx="81">
                  <c:v>0.84</c:v>
                </c:pt>
                <c:pt idx="82">
                  <c:v>0.15</c:v>
                </c:pt>
                <c:pt idx="84">
                  <c:v>0.94</c:v>
                </c:pt>
                <c:pt idx="85">
                  <c:v>0.25</c:v>
                </c:pt>
                <c:pt idx="87">
                  <c:v>0.99</c:v>
                </c:pt>
                <c:pt idx="88">
                  <c:v>0.3</c:v>
                </c:pt>
                <c:pt idx="90">
                  <c:v>0.82</c:v>
                </c:pt>
                <c:pt idx="91">
                  <c:v>0.14000000000000001</c:v>
                </c:pt>
                <c:pt idx="93">
                  <c:v>0.91</c:v>
                </c:pt>
                <c:pt idx="94">
                  <c:v>0.24</c:v>
                </c:pt>
                <c:pt idx="96">
                  <c:v>0.94</c:v>
                </c:pt>
                <c:pt idx="97">
                  <c:v>0.27</c:v>
                </c:pt>
                <c:pt idx="99">
                  <c:v>0.94</c:v>
                </c:pt>
                <c:pt idx="100">
                  <c:v>0.27</c:v>
                </c:pt>
                <c:pt idx="102">
                  <c:v>0.96</c:v>
                </c:pt>
                <c:pt idx="103">
                  <c:v>0.28999999999999998</c:v>
                </c:pt>
                <c:pt idx="105">
                  <c:v>0.99</c:v>
                </c:pt>
                <c:pt idx="106">
                  <c:v>0.32</c:v>
                </c:pt>
                <c:pt idx="108">
                  <c:v>0.94</c:v>
                </c:pt>
                <c:pt idx="109">
                  <c:v>0.28000000000000003</c:v>
                </c:pt>
                <c:pt idx="111">
                  <c:v>0.96</c:v>
                </c:pt>
                <c:pt idx="112">
                  <c:v>0.3</c:v>
                </c:pt>
                <c:pt idx="114">
                  <c:v>0.96</c:v>
                </c:pt>
                <c:pt idx="115">
                  <c:v>0.31</c:v>
                </c:pt>
                <c:pt idx="117">
                  <c:v>0.96</c:v>
                </c:pt>
                <c:pt idx="118">
                  <c:v>0.31</c:v>
                </c:pt>
                <c:pt idx="120">
                  <c:v>0.97</c:v>
                </c:pt>
                <c:pt idx="121">
                  <c:v>0.32</c:v>
                </c:pt>
                <c:pt idx="123">
                  <c:v>0.85</c:v>
                </c:pt>
                <c:pt idx="124">
                  <c:v>0.21</c:v>
                </c:pt>
                <c:pt idx="126">
                  <c:v>0.9</c:v>
                </c:pt>
                <c:pt idx="127">
                  <c:v>0.26</c:v>
                </c:pt>
                <c:pt idx="129">
                  <c:v>1.04</c:v>
                </c:pt>
                <c:pt idx="130">
                  <c:v>0.41</c:v>
                </c:pt>
                <c:pt idx="132">
                  <c:v>0.88</c:v>
                </c:pt>
                <c:pt idx="133">
                  <c:v>0.25</c:v>
                </c:pt>
                <c:pt idx="135">
                  <c:v>0.99</c:v>
                </c:pt>
                <c:pt idx="136">
                  <c:v>0.36</c:v>
                </c:pt>
                <c:pt idx="138">
                  <c:v>0.96</c:v>
                </c:pt>
                <c:pt idx="139">
                  <c:v>0.33</c:v>
                </c:pt>
                <c:pt idx="141">
                  <c:v>0.91</c:v>
                </c:pt>
                <c:pt idx="142">
                  <c:v>0.28999999999999998</c:v>
                </c:pt>
                <c:pt idx="144">
                  <c:v>0.97</c:v>
                </c:pt>
                <c:pt idx="145">
                  <c:v>0.35</c:v>
                </c:pt>
                <c:pt idx="147">
                  <c:v>0.98</c:v>
                </c:pt>
                <c:pt idx="148">
                  <c:v>0.36</c:v>
                </c:pt>
                <c:pt idx="150">
                  <c:v>0.94</c:v>
                </c:pt>
                <c:pt idx="151">
                  <c:v>0.32</c:v>
                </c:pt>
                <c:pt idx="153">
                  <c:v>0.94</c:v>
                </c:pt>
                <c:pt idx="154">
                  <c:v>0.32</c:v>
                </c:pt>
                <c:pt idx="156">
                  <c:v>0.95</c:v>
                </c:pt>
                <c:pt idx="157">
                  <c:v>0.33</c:v>
                </c:pt>
                <c:pt idx="159">
                  <c:v>0.96</c:v>
                </c:pt>
                <c:pt idx="160">
                  <c:v>0.35</c:v>
                </c:pt>
                <c:pt idx="162">
                  <c:v>1</c:v>
                </c:pt>
                <c:pt idx="163">
                  <c:v>0.39</c:v>
                </c:pt>
                <c:pt idx="165">
                  <c:v>0.94</c:v>
                </c:pt>
                <c:pt idx="166">
                  <c:v>0.33</c:v>
                </c:pt>
                <c:pt idx="168">
                  <c:v>0.93</c:v>
                </c:pt>
                <c:pt idx="169">
                  <c:v>0.33</c:v>
                </c:pt>
                <c:pt idx="171">
                  <c:v>0.97</c:v>
                </c:pt>
                <c:pt idx="172">
                  <c:v>0.37</c:v>
                </c:pt>
                <c:pt idx="174">
                  <c:v>0.98</c:v>
                </c:pt>
                <c:pt idx="175">
                  <c:v>0.38</c:v>
                </c:pt>
                <c:pt idx="177">
                  <c:v>0.99</c:v>
                </c:pt>
                <c:pt idx="178">
                  <c:v>0.39</c:v>
                </c:pt>
                <c:pt idx="180">
                  <c:v>1</c:v>
                </c:pt>
                <c:pt idx="181">
                  <c:v>0.4</c:v>
                </c:pt>
                <c:pt idx="183">
                  <c:v>0.94</c:v>
                </c:pt>
                <c:pt idx="184">
                  <c:v>0.34</c:v>
                </c:pt>
                <c:pt idx="186">
                  <c:v>0.87</c:v>
                </c:pt>
                <c:pt idx="187">
                  <c:v>0.28000000000000003</c:v>
                </c:pt>
                <c:pt idx="189">
                  <c:v>0.95</c:v>
                </c:pt>
                <c:pt idx="190">
                  <c:v>0.36</c:v>
                </c:pt>
                <c:pt idx="192">
                  <c:v>0.96</c:v>
                </c:pt>
                <c:pt idx="193">
                  <c:v>0.37</c:v>
                </c:pt>
                <c:pt idx="195">
                  <c:v>0.92</c:v>
                </c:pt>
                <c:pt idx="196">
                  <c:v>0.34</c:v>
                </c:pt>
                <c:pt idx="198">
                  <c:v>0.92</c:v>
                </c:pt>
                <c:pt idx="199">
                  <c:v>0.34</c:v>
                </c:pt>
                <c:pt idx="201">
                  <c:v>0.99</c:v>
                </c:pt>
                <c:pt idx="202">
                  <c:v>0.41</c:v>
                </c:pt>
                <c:pt idx="204">
                  <c:v>1</c:v>
                </c:pt>
                <c:pt idx="205">
                  <c:v>0.42</c:v>
                </c:pt>
                <c:pt idx="207">
                  <c:v>0.94</c:v>
                </c:pt>
                <c:pt idx="208">
                  <c:v>0.36</c:v>
                </c:pt>
                <c:pt idx="210">
                  <c:v>0.87</c:v>
                </c:pt>
                <c:pt idx="211">
                  <c:v>0.3</c:v>
                </c:pt>
                <c:pt idx="213">
                  <c:v>0.89</c:v>
                </c:pt>
                <c:pt idx="214">
                  <c:v>0.32</c:v>
                </c:pt>
                <c:pt idx="216">
                  <c:v>0.9</c:v>
                </c:pt>
                <c:pt idx="217">
                  <c:v>0.33</c:v>
                </c:pt>
                <c:pt idx="219">
                  <c:v>0.84</c:v>
                </c:pt>
                <c:pt idx="220">
                  <c:v>0.27</c:v>
                </c:pt>
                <c:pt idx="222">
                  <c:v>0.94</c:v>
                </c:pt>
                <c:pt idx="223">
                  <c:v>0.38</c:v>
                </c:pt>
                <c:pt idx="225">
                  <c:v>0.94</c:v>
                </c:pt>
                <c:pt idx="226">
                  <c:v>0.38</c:v>
                </c:pt>
                <c:pt idx="228">
                  <c:v>0.95</c:v>
                </c:pt>
                <c:pt idx="229">
                  <c:v>0.39</c:v>
                </c:pt>
                <c:pt idx="231">
                  <c:v>0.97</c:v>
                </c:pt>
                <c:pt idx="232">
                  <c:v>0.42</c:v>
                </c:pt>
                <c:pt idx="234">
                  <c:v>0.99</c:v>
                </c:pt>
                <c:pt idx="235">
                  <c:v>0.44</c:v>
                </c:pt>
                <c:pt idx="237">
                  <c:v>1.06</c:v>
                </c:pt>
                <c:pt idx="238">
                  <c:v>0.52</c:v>
                </c:pt>
                <c:pt idx="240">
                  <c:v>0.89</c:v>
                </c:pt>
                <c:pt idx="241">
                  <c:v>0.36</c:v>
                </c:pt>
                <c:pt idx="243">
                  <c:v>0.95</c:v>
                </c:pt>
                <c:pt idx="244">
                  <c:v>0.42</c:v>
                </c:pt>
                <c:pt idx="246">
                  <c:v>0.96</c:v>
                </c:pt>
                <c:pt idx="247">
                  <c:v>0.43</c:v>
                </c:pt>
                <c:pt idx="249">
                  <c:v>0.99</c:v>
                </c:pt>
                <c:pt idx="250">
                  <c:v>0.46</c:v>
                </c:pt>
                <c:pt idx="252">
                  <c:v>1.01</c:v>
                </c:pt>
                <c:pt idx="253">
                  <c:v>0.49</c:v>
                </c:pt>
                <c:pt idx="255">
                  <c:v>1.02</c:v>
                </c:pt>
                <c:pt idx="256">
                  <c:v>0.5</c:v>
                </c:pt>
                <c:pt idx="258">
                  <c:v>1.02</c:v>
                </c:pt>
                <c:pt idx="259">
                  <c:v>0.5</c:v>
                </c:pt>
                <c:pt idx="261">
                  <c:v>0.84</c:v>
                </c:pt>
                <c:pt idx="262">
                  <c:v>0.33</c:v>
                </c:pt>
                <c:pt idx="264">
                  <c:v>0.88</c:v>
                </c:pt>
                <c:pt idx="265">
                  <c:v>0.37</c:v>
                </c:pt>
                <c:pt idx="267">
                  <c:v>0.94</c:v>
                </c:pt>
                <c:pt idx="268">
                  <c:v>0.43</c:v>
                </c:pt>
                <c:pt idx="270">
                  <c:v>0.96</c:v>
                </c:pt>
                <c:pt idx="271">
                  <c:v>0.45</c:v>
                </c:pt>
                <c:pt idx="273">
                  <c:v>0.96</c:v>
                </c:pt>
                <c:pt idx="274">
                  <c:v>0.45</c:v>
                </c:pt>
                <c:pt idx="276">
                  <c:v>0.97</c:v>
                </c:pt>
                <c:pt idx="277">
                  <c:v>0.46</c:v>
                </c:pt>
                <c:pt idx="279">
                  <c:v>0.97</c:v>
                </c:pt>
                <c:pt idx="280">
                  <c:v>0.47</c:v>
                </c:pt>
                <c:pt idx="282">
                  <c:v>0.95</c:v>
                </c:pt>
                <c:pt idx="283">
                  <c:v>0.45</c:v>
                </c:pt>
                <c:pt idx="285">
                  <c:v>0.8</c:v>
                </c:pt>
                <c:pt idx="286">
                  <c:v>0.31</c:v>
                </c:pt>
                <c:pt idx="288">
                  <c:v>0.9</c:v>
                </c:pt>
                <c:pt idx="289">
                  <c:v>0.41</c:v>
                </c:pt>
                <c:pt idx="291">
                  <c:v>0.92</c:v>
                </c:pt>
                <c:pt idx="292">
                  <c:v>0.44</c:v>
                </c:pt>
                <c:pt idx="294">
                  <c:v>0.93</c:v>
                </c:pt>
                <c:pt idx="295">
                  <c:v>0.45</c:v>
                </c:pt>
                <c:pt idx="297">
                  <c:v>0.97</c:v>
                </c:pt>
                <c:pt idx="298">
                  <c:v>0.49</c:v>
                </c:pt>
                <c:pt idx="300">
                  <c:v>0.97</c:v>
                </c:pt>
                <c:pt idx="301">
                  <c:v>0.5</c:v>
                </c:pt>
                <c:pt idx="303">
                  <c:v>0.98</c:v>
                </c:pt>
                <c:pt idx="304">
                  <c:v>0.51</c:v>
                </c:pt>
                <c:pt idx="306">
                  <c:v>0.99</c:v>
                </c:pt>
                <c:pt idx="307">
                  <c:v>0.52</c:v>
                </c:pt>
                <c:pt idx="309">
                  <c:v>0.9</c:v>
                </c:pt>
                <c:pt idx="310">
                  <c:v>0.44</c:v>
                </c:pt>
                <c:pt idx="312">
                  <c:v>0.61</c:v>
                </c:pt>
                <c:pt idx="313">
                  <c:v>0.15</c:v>
                </c:pt>
                <c:pt idx="315">
                  <c:v>0.99</c:v>
                </c:pt>
                <c:pt idx="316">
                  <c:v>0.53</c:v>
                </c:pt>
                <c:pt idx="318">
                  <c:v>1.02</c:v>
                </c:pt>
                <c:pt idx="319">
                  <c:v>0.56999999999999995</c:v>
                </c:pt>
                <c:pt idx="321">
                  <c:v>1.05</c:v>
                </c:pt>
                <c:pt idx="322">
                  <c:v>0.6</c:v>
                </c:pt>
                <c:pt idx="324">
                  <c:v>0.99</c:v>
                </c:pt>
                <c:pt idx="325">
                  <c:v>0.54</c:v>
                </c:pt>
                <c:pt idx="327">
                  <c:v>1</c:v>
                </c:pt>
                <c:pt idx="328">
                  <c:v>0.55000000000000004</c:v>
                </c:pt>
                <c:pt idx="330">
                  <c:v>0.88</c:v>
                </c:pt>
                <c:pt idx="331">
                  <c:v>0.44</c:v>
                </c:pt>
                <c:pt idx="333">
                  <c:v>0.97</c:v>
                </c:pt>
                <c:pt idx="334">
                  <c:v>0.53</c:v>
                </c:pt>
                <c:pt idx="336">
                  <c:v>0.97</c:v>
                </c:pt>
                <c:pt idx="337">
                  <c:v>0.53</c:v>
                </c:pt>
                <c:pt idx="339">
                  <c:v>0.98</c:v>
                </c:pt>
                <c:pt idx="340">
                  <c:v>0.54</c:v>
                </c:pt>
                <c:pt idx="342">
                  <c:v>0.99</c:v>
                </c:pt>
                <c:pt idx="343">
                  <c:v>0.55000000000000004</c:v>
                </c:pt>
                <c:pt idx="345">
                  <c:v>1</c:v>
                </c:pt>
                <c:pt idx="346">
                  <c:v>0.56999999999999995</c:v>
                </c:pt>
                <c:pt idx="348">
                  <c:v>0.63</c:v>
                </c:pt>
                <c:pt idx="349">
                  <c:v>0.22</c:v>
                </c:pt>
                <c:pt idx="351">
                  <c:v>0.93</c:v>
                </c:pt>
                <c:pt idx="352">
                  <c:v>0.52</c:v>
                </c:pt>
                <c:pt idx="354">
                  <c:v>0.98</c:v>
                </c:pt>
                <c:pt idx="355">
                  <c:v>0.56999999999999995</c:v>
                </c:pt>
                <c:pt idx="357">
                  <c:v>0.99</c:v>
                </c:pt>
                <c:pt idx="358">
                  <c:v>0.57999999999999996</c:v>
                </c:pt>
                <c:pt idx="360">
                  <c:v>0.88</c:v>
                </c:pt>
                <c:pt idx="361">
                  <c:v>0.48</c:v>
                </c:pt>
                <c:pt idx="363">
                  <c:v>0.9</c:v>
                </c:pt>
                <c:pt idx="364">
                  <c:v>0.5</c:v>
                </c:pt>
                <c:pt idx="366">
                  <c:v>0.93</c:v>
                </c:pt>
                <c:pt idx="367">
                  <c:v>0.53</c:v>
                </c:pt>
                <c:pt idx="369">
                  <c:v>0.99</c:v>
                </c:pt>
                <c:pt idx="370">
                  <c:v>0.59</c:v>
                </c:pt>
                <c:pt idx="372">
                  <c:v>1</c:v>
                </c:pt>
                <c:pt idx="373">
                  <c:v>0.6</c:v>
                </c:pt>
                <c:pt idx="375">
                  <c:v>0.98</c:v>
                </c:pt>
                <c:pt idx="376">
                  <c:v>0.59</c:v>
                </c:pt>
                <c:pt idx="378">
                  <c:v>1</c:v>
                </c:pt>
                <c:pt idx="379">
                  <c:v>0.61</c:v>
                </c:pt>
                <c:pt idx="381">
                  <c:v>0.82</c:v>
                </c:pt>
                <c:pt idx="382">
                  <c:v>0.43</c:v>
                </c:pt>
                <c:pt idx="384">
                  <c:v>0.66</c:v>
                </c:pt>
                <c:pt idx="385">
                  <c:v>0.28000000000000003</c:v>
                </c:pt>
                <c:pt idx="387">
                  <c:v>0.9</c:v>
                </c:pt>
                <c:pt idx="388">
                  <c:v>0.52</c:v>
                </c:pt>
                <c:pt idx="390">
                  <c:v>0.95</c:v>
                </c:pt>
                <c:pt idx="391">
                  <c:v>0.56999999999999995</c:v>
                </c:pt>
                <c:pt idx="393">
                  <c:v>0.99</c:v>
                </c:pt>
                <c:pt idx="394">
                  <c:v>0.61</c:v>
                </c:pt>
                <c:pt idx="396">
                  <c:v>0.83</c:v>
                </c:pt>
                <c:pt idx="397">
                  <c:v>0.45</c:v>
                </c:pt>
                <c:pt idx="399">
                  <c:v>0.98</c:v>
                </c:pt>
                <c:pt idx="400">
                  <c:v>0.61</c:v>
                </c:pt>
                <c:pt idx="402">
                  <c:v>0.95</c:v>
                </c:pt>
                <c:pt idx="403">
                  <c:v>0.6</c:v>
                </c:pt>
                <c:pt idx="405">
                  <c:v>0.97</c:v>
                </c:pt>
                <c:pt idx="406">
                  <c:v>0.62</c:v>
                </c:pt>
                <c:pt idx="408">
                  <c:v>0.97</c:v>
                </c:pt>
                <c:pt idx="409">
                  <c:v>0.62</c:v>
                </c:pt>
                <c:pt idx="411">
                  <c:v>0.98</c:v>
                </c:pt>
                <c:pt idx="412">
                  <c:v>0.63</c:v>
                </c:pt>
                <c:pt idx="414">
                  <c:v>0.91</c:v>
                </c:pt>
                <c:pt idx="415">
                  <c:v>0.56999999999999995</c:v>
                </c:pt>
                <c:pt idx="417">
                  <c:v>0.98</c:v>
                </c:pt>
                <c:pt idx="418">
                  <c:v>0.64</c:v>
                </c:pt>
                <c:pt idx="420">
                  <c:v>1</c:v>
                </c:pt>
                <c:pt idx="421">
                  <c:v>0.66</c:v>
                </c:pt>
                <c:pt idx="423">
                  <c:v>1.01</c:v>
                </c:pt>
                <c:pt idx="424">
                  <c:v>0.67</c:v>
                </c:pt>
                <c:pt idx="426">
                  <c:v>0.93</c:v>
                </c:pt>
                <c:pt idx="427">
                  <c:v>0.6</c:v>
                </c:pt>
                <c:pt idx="429">
                  <c:v>0.93</c:v>
                </c:pt>
                <c:pt idx="430">
                  <c:v>0.6</c:v>
                </c:pt>
                <c:pt idx="432">
                  <c:v>1.02</c:v>
                </c:pt>
                <c:pt idx="433">
                  <c:v>0.69</c:v>
                </c:pt>
                <c:pt idx="435">
                  <c:v>0.91</c:v>
                </c:pt>
                <c:pt idx="436">
                  <c:v>0.59</c:v>
                </c:pt>
                <c:pt idx="438">
                  <c:v>0.92</c:v>
                </c:pt>
                <c:pt idx="439">
                  <c:v>0.6</c:v>
                </c:pt>
                <c:pt idx="441">
                  <c:v>1.01</c:v>
                </c:pt>
                <c:pt idx="442">
                  <c:v>0.69</c:v>
                </c:pt>
                <c:pt idx="444">
                  <c:v>0.7</c:v>
                </c:pt>
                <c:pt idx="445">
                  <c:v>0.38</c:v>
                </c:pt>
                <c:pt idx="447">
                  <c:v>0.99</c:v>
                </c:pt>
                <c:pt idx="448">
                  <c:v>0.67</c:v>
                </c:pt>
                <c:pt idx="450">
                  <c:v>1.04</c:v>
                </c:pt>
                <c:pt idx="451">
                  <c:v>0.73</c:v>
                </c:pt>
                <c:pt idx="453">
                  <c:v>0.82</c:v>
                </c:pt>
                <c:pt idx="454">
                  <c:v>0.51</c:v>
                </c:pt>
                <c:pt idx="456">
                  <c:v>0.97</c:v>
                </c:pt>
                <c:pt idx="457">
                  <c:v>0.66</c:v>
                </c:pt>
                <c:pt idx="459">
                  <c:v>1.02</c:v>
                </c:pt>
                <c:pt idx="460">
                  <c:v>0.72</c:v>
                </c:pt>
                <c:pt idx="462">
                  <c:v>1.02</c:v>
                </c:pt>
                <c:pt idx="463">
                  <c:v>0.72</c:v>
                </c:pt>
                <c:pt idx="465">
                  <c:v>0.82</c:v>
                </c:pt>
                <c:pt idx="466">
                  <c:v>0.52</c:v>
                </c:pt>
                <c:pt idx="468">
                  <c:v>0.86</c:v>
                </c:pt>
                <c:pt idx="469">
                  <c:v>0.56000000000000005</c:v>
                </c:pt>
                <c:pt idx="471">
                  <c:v>0.94</c:v>
                </c:pt>
                <c:pt idx="472">
                  <c:v>0.64</c:v>
                </c:pt>
                <c:pt idx="474">
                  <c:v>0.95</c:v>
                </c:pt>
                <c:pt idx="475">
                  <c:v>0.65</c:v>
                </c:pt>
                <c:pt idx="477">
                  <c:v>0.89</c:v>
                </c:pt>
                <c:pt idx="478">
                  <c:v>0.6</c:v>
                </c:pt>
                <c:pt idx="480">
                  <c:v>0.98</c:v>
                </c:pt>
                <c:pt idx="481">
                  <c:v>0.69</c:v>
                </c:pt>
                <c:pt idx="483">
                  <c:v>1.01</c:v>
                </c:pt>
                <c:pt idx="484">
                  <c:v>0.72</c:v>
                </c:pt>
                <c:pt idx="486">
                  <c:v>1.05</c:v>
                </c:pt>
                <c:pt idx="487">
                  <c:v>0.76</c:v>
                </c:pt>
                <c:pt idx="489">
                  <c:v>0.95</c:v>
                </c:pt>
                <c:pt idx="490">
                  <c:v>0.66</c:v>
                </c:pt>
                <c:pt idx="492">
                  <c:v>0.97</c:v>
                </c:pt>
                <c:pt idx="493">
                  <c:v>0.68</c:v>
                </c:pt>
                <c:pt idx="495">
                  <c:v>0.91</c:v>
                </c:pt>
                <c:pt idx="496">
                  <c:v>0.63</c:v>
                </c:pt>
                <c:pt idx="498">
                  <c:v>0.92</c:v>
                </c:pt>
                <c:pt idx="499">
                  <c:v>0.64</c:v>
                </c:pt>
                <c:pt idx="501">
                  <c:v>0.93</c:v>
                </c:pt>
                <c:pt idx="502">
                  <c:v>0.65</c:v>
                </c:pt>
                <c:pt idx="504">
                  <c:v>0.99</c:v>
                </c:pt>
                <c:pt idx="505">
                  <c:v>0.71</c:v>
                </c:pt>
                <c:pt idx="507">
                  <c:v>1</c:v>
                </c:pt>
                <c:pt idx="508">
                  <c:v>0.72</c:v>
                </c:pt>
                <c:pt idx="510">
                  <c:v>0.6</c:v>
                </c:pt>
                <c:pt idx="511">
                  <c:v>0.32</c:v>
                </c:pt>
                <c:pt idx="513">
                  <c:v>0.95</c:v>
                </c:pt>
                <c:pt idx="514">
                  <c:v>0.67</c:v>
                </c:pt>
                <c:pt idx="516">
                  <c:v>0.8</c:v>
                </c:pt>
                <c:pt idx="517">
                  <c:v>0.53</c:v>
                </c:pt>
                <c:pt idx="519">
                  <c:v>0.99</c:v>
                </c:pt>
                <c:pt idx="520">
                  <c:v>0.72</c:v>
                </c:pt>
                <c:pt idx="522">
                  <c:v>0.76</c:v>
                </c:pt>
                <c:pt idx="523">
                  <c:v>0.5</c:v>
                </c:pt>
                <c:pt idx="525">
                  <c:v>0.93</c:v>
                </c:pt>
                <c:pt idx="526">
                  <c:v>0.67</c:v>
                </c:pt>
                <c:pt idx="528">
                  <c:v>0.96</c:v>
                </c:pt>
                <c:pt idx="529">
                  <c:v>0.7</c:v>
                </c:pt>
                <c:pt idx="531">
                  <c:v>1</c:v>
                </c:pt>
                <c:pt idx="532">
                  <c:v>0.74</c:v>
                </c:pt>
                <c:pt idx="534">
                  <c:v>1</c:v>
                </c:pt>
                <c:pt idx="535">
                  <c:v>0.74</c:v>
                </c:pt>
                <c:pt idx="537">
                  <c:v>0.94</c:v>
                </c:pt>
                <c:pt idx="538">
                  <c:v>0.68</c:v>
                </c:pt>
                <c:pt idx="540">
                  <c:v>0.95</c:v>
                </c:pt>
                <c:pt idx="541">
                  <c:v>0.7</c:v>
                </c:pt>
                <c:pt idx="543">
                  <c:v>0.97</c:v>
                </c:pt>
                <c:pt idx="544">
                  <c:v>0.72</c:v>
                </c:pt>
                <c:pt idx="546">
                  <c:v>0.93</c:v>
                </c:pt>
                <c:pt idx="547">
                  <c:v>0.69</c:v>
                </c:pt>
                <c:pt idx="549">
                  <c:v>0.79</c:v>
                </c:pt>
                <c:pt idx="550">
                  <c:v>0.55000000000000004</c:v>
                </c:pt>
                <c:pt idx="552">
                  <c:v>0.88</c:v>
                </c:pt>
                <c:pt idx="553">
                  <c:v>0.64</c:v>
                </c:pt>
                <c:pt idx="555">
                  <c:v>1</c:v>
                </c:pt>
                <c:pt idx="556">
                  <c:v>0.76</c:v>
                </c:pt>
                <c:pt idx="558">
                  <c:v>1.02</c:v>
                </c:pt>
                <c:pt idx="559">
                  <c:v>0.78</c:v>
                </c:pt>
                <c:pt idx="561">
                  <c:v>0.8</c:v>
                </c:pt>
                <c:pt idx="562">
                  <c:v>0.56999999999999995</c:v>
                </c:pt>
                <c:pt idx="564">
                  <c:v>0.99</c:v>
                </c:pt>
                <c:pt idx="565">
                  <c:v>0.76</c:v>
                </c:pt>
                <c:pt idx="567">
                  <c:v>0.99</c:v>
                </c:pt>
                <c:pt idx="568">
                  <c:v>0.76</c:v>
                </c:pt>
                <c:pt idx="570">
                  <c:v>1</c:v>
                </c:pt>
                <c:pt idx="571">
                  <c:v>0.77</c:v>
                </c:pt>
                <c:pt idx="573">
                  <c:v>1.01</c:v>
                </c:pt>
                <c:pt idx="574">
                  <c:v>0.78</c:v>
                </c:pt>
                <c:pt idx="576">
                  <c:v>1.01</c:v>
                </c:pt>
                <c:pt idx="577">
                  <c:v>0.78</c:v>
                </c:pt>
                <c:pt idx="579">
                  <c:v>1.05</c:v>
                </c:pt>
                <c:pt idx="580">
                  <c:v>0.83</c:v>
                </c:pt>
                <c:pt idx="582">
                  <c:v>0.84</c:v>
                </c:pt>
                <c:pt idx="583">
                  <c:v>0.62</c:v>
                </c:pt>
                <c:pt idx="585">
                  <c:v>0.9</c:v>
                </c:pt>
                <c:pt idx="586">
                  <c:v>0.68</c:v>
                </c:pt>
                <c:pt idx="588">
                  <c:v>0.95</c:v>
                </c:pt>
                <c:pt idx="589">
                  <c:v>0.73</c:v>
                </c:pt>
                <c:pt idx="591">
                  <c:v>0.96</c:v>
                </c:pt>
                <c:pt idx="592">
                  <c:v>0.74</c:v>
                </c:pt>
                <c:pt idx="594">
                  <c:v>0.97</c:v>
                </c:pt>
                <c:pt idx="595">
                  <c:v>0.75</c:v>
                </c:pt>
                <c:pt idx="597">
                  <c:v>0.97</c:v>
                </c:pt>
                <c:pt idx="598">
                  <c:v>0.75</c:v>
                </c:pt>
                <c:pt idx="600">
                  <c:v>0.97</c:v>
                </c:pt>
                <c:pt idx="601">
                  <c:v>0.75</c:v>
                </c:pt>
                <c:pt idx="603">
                  <c:v>1.08</c:v>
                </c:pt>
                <c:pt idx="604">
                  <c:v>0.87</c:v>
                </c:pt>
                <c:pt idx="606">
                  <c:v>0.94</c:v>
                </c:pt>
                <c:pt idx="607">
                  <c:v>0.73</c:v>
                </c:pt>
                <c:pt idx="609">
                  <c:v>0.94</c:v>
                </c:pt>
                <c:pt idx="610">
                  <c:v>0.73</c:v>
                </c:pt>
                <c:pt idx="612">
                  <c:v>0.95</c:v>
                </c:pt>
                <c:pt idx="613">
                  <c:v>0.74</c:v>
                </c:pt>
                <c:pt idx="615">
                  <c:v>0.98</c:v>
                </c:pt>
                <c:pt idx="616">
                  <c:v>0.77</c:v>
                </c:pt>
                <c:pt idx="618">
                  <c:v>0.98</c:v>
                </c:pt>
                <c:pt idx="619">
                  <c:v>0.77</c:v>
                </c:pt>
                <c:pt idx="621">
                  <c:v>0.92</c:v>
                </c:pt>
                <c:pt idx="622">
                  <c:v>0.72</c:v>
                </c:pt>
                <c:pt idx="624">
                  <c:v>0.87</c:v>
                </c:pt>
                <c:pt idx="625">
                  <c:v>0.67</c:v>
                </c:pt>
                <c:pt idx="627">
                  <c:v>0.94</c:v>
                </c:pt>
                <c:pt idx="628">
                  <c:v>0.74</c:v>
                </c:pt>
                <c:pt idx="630">
                  <c:v>0.95</c:v>
                </c:pt>
                <c:pt idx="631">
                  <c:v>0.75</c:v>
                </c:pt>
                <c:pt idx="633">
                  <c:v>0.97</c:v>
                </c:pt>
                <c:pt idx="634">
                  <c:v>0.77</c:v>
                </c:pt>
                <c:pt idx="636">
                  <c:v>0.99</c:v>
                </c:pt>
                <c:pt idx="637">
                  <c:v>0.79</c:v>
                </c:pt>
                <c:pt idx="639">
                  <c:v>1.03</c:v>
                </c:pt>
                <c:pt idx="640">
                  <c:v>0.84</c:v>
                </c:pt>
                <c:pt idx="642">
                  <c:v>1.03</c:v>
                </c:pt>
                <c:pt idx="643">
                  <c:v>0.84</c:v>
                </c:pt>
                <c:pt idx="645">
                  <c:v>1.06</c:v>
                </c:pt>
                <c:pt idx="646">
                  <c:v>0.87</c:v>
                </c:pt>
                <c:pt idx="648">
                  <c:v>0.95</c:v>
                </c:pt>
                <c:pt idx="649">
                  <c:v>0.76</c:v>
                </c:pt>
                <c:pt idx="651">
                  <c:v>0.98</c:v>
                </c:pt>
                <c:pt idx="652">
                  <c:v>0.79</c:v>
                </c:pt>
                <c:pt idx="654">
                  <c:v>0.98</c:v>
                </c:pt>
                <c:pt idx="655">
                  <c:v>0.79</c:v>
                </c:pt>
                <c:pt idx="657">
                  <c:v>0.99</c:v>
                </c:pt>
                <c:pt idx="658">
                  <c:v>0.8</c:v>
                </c:pt>
                <c:pt idx="660">
                  <c:v>0.99</c:v>
                </c:pt>
                <c:pt idx="661">
                  <c:v>0.8</c:v>
                </c:pt>
                <c:pt idx="663">
                  <c:v>0.91</c:v>
                </c:pt>
                <c:pt idx="664">
                  <c:v>0.73</c:v>
                </c:pt>
                <c:pt idx="666">
                  <c:v>0.91</c:v>
                </c:pt>
                <c:pt idx="667">
                  <c:v>0.73</c:v>
                </c:pt>
                <c:pt idx="669">
                  <c:v>1.01</c:v>
                </c:pt>
                <c:pt idx="670">
                  <c:v>0.83</c:v>
                </c:pt>
                <c:pt idx="672">
                  <c:v>1.02</c:v>
                </c:pt>
                <c:pt idx="673">
                  <c:v>0.84</c:v>
                </c:pt>
                <c:pt idx="675">
                  <c:v>0.86</c:v>
                </c:pt>
                <c:pt idx="676">
                  <c:v>0.68</c:v>
                </c:pt>
                <c:pt idx="678">
                  <c:v>0.94</c:v>
                </c:pt>
                <c:pt idx="679">
                  <c:v>0.76</c:v>
                </c:pt>
                <c:pt idx="681">
                  <c:v>0.95</c:v>
                </c:pt>
                <c:pt idx="682">
                  <c:v>0.77</c:v>
                </c:pt>
                <c:pt idx="684">
                  <c:v>0.96</c:v>
                </c:pt>
                <c:pt idx="685">
                  <c:v>0.78</c:v>
                </c:pt>
                <c:pt idx="687">
                  <c:v>0.91</c:v>
                </c:pt>
                <c:pt idx="688">
                  <c:v>0.74</c:v>
                </c:pt>
                <c:pt idx="690">
                  <c:v>1.01</c:v>
                </c:pt>
                <c:pt idx="691">
                  <c:v>0.84</c:v>
                </c:pt>
                <c:pt idx="693">
                  <c:v>0.94</c:v>
                </c:pt>
                <c:pt idx="694">
                  <c:v>0.77</c:v>
                </c:pt>
                <c:pt idx="696">
                  <c:v>0.98</c:v>
                </c:pt>
                <c:pt idx="697">
                  <c:v>0.81</c:v>
                </c:pt>
                <c:pt idx="699">
                  <c:v>0.89</c:v>
                </c:pt>
                <c:pt idx="700">
                  <c:v>0.73</c:v>
                </c:pt>
                <c:pt idx="702">
                  <c:v>0.91</c:v>
                </c:pt>
                <c:pt idx="703">
                  <c:v>0.75</c:v>
                </c:pt>
                <c:pt idx="705">
                  <c:v>0.91</c:v>
                </c:pt>
                <c:pt idx="706">
                  <c:v>0.75</c:v>
                </c:pt>
                <c:pt idx="708">
                  <c:v>0.92</c:v>
                </c:pt>
                <c:pt idx="709">
                  <c:v>0.76</c:v>
                </c:pt>
                <c:pt idx="711">
                  <c:v>0.99</c:v>
                </c:pt>
                <c:pt idx="712">
                  <c:v>0.83</c:v>
                </c:pt>
                <c:pt idx="714">
                  <c:v>0.99</c:v>
                </c:pt>
                <c:pt idx="715">
                  <c:v>0.83</c:v>
                </c:pt>
                <c:pt idx="717">
                  <c:v>1</c:v>
                </c:pt>
                <c:pt idx="718">
                  <c:v>0.84</c:v>
                </c:pt>
                <c:pt idx="720">
                  <c:v>1</c:v>
                </c:pt>
                <c:pt idx="721">
                  <c:v>0.84</c:v>
                </c:pt>
                <c:pt idx="723">
                  <c:v>1.01</c:v>
                </c:pt>
                <c:pt idx="724">
                  <c:v>0.85</c:v>
                </c:pt>
                <c:pt idx="726">
                  <c:v>1.01</c:v>
                </c:pt>
                <c:pt idx="727">
                  <c:v>0.85</c:v>
                </c:pt>
                <c:pt idx="729">
                  <c:v>1.01</c:v>
                </c:pt>
                <c:pt idx="730">
                  <c:v>0.85</c:v>
                </c:pt>
                <c:pt idx="732">
                  <c:v>1.05</c:v>
                </c:pt>
                <c:pt idx="733">
                  <c:v>0.89</c:v>
                </c:pt>
                <c:pt idx="735">
                  <c:v>0.84</c:v>
                </c:pt>
                <c:pt idx="736">
                  <c:v>0.68</c:v>
                </c:pt>
                <c:pt idx="738">
                  <c:v>0.89</c:v>
                </c:pt>
                <c:pt idx="739">
                  <c:v>0.74</c:v>
                </c:pt>
                <c:pt idx="741">
                  <c:v>0.89</c:v>
                </c:pt>
                <c:pt idx="742">
                  <c:v>0.74</c:v>
                </c:pt>
                <c:pt idx="744">
                  <c:v>0.91</c:v>
                </c:pt>
                <c:pt idx="745">
                  <c:v>0.76</c:v>
                </c:pt>
                <c:pt idx="747">
                  <c:v>0.92</c:v>
                </c:pt>
                <c:pt idx="748">
                  <c:v>0.77</c:v>
                </c:pt>
                <c:pt idx="750">
                  <c:v>0.99</c:v>
                </c:pt>
                <c:pt idx="751">
                  <c:v>0.84</c:v>
                </c:pt>
                <c:pt idx="753">
                  <c:v>1</c:v>
                </c:pt>
                <c:pt idx="754">
                  <c:v>0.85</c:v>
                </c:pt>
                <c:pt idx="756">
                  <c:v>1</c:v>
                </c:pt>
                <c:pt idx="757">
                  <c:v>0.85</c:v>
                </c:pt>
                <c:pt idx="759">
                  <c:v>1</c:v>
                </c:pt>
                <c:pt idx="760">
                  <c:v>0.85</c:v>
                </c:pt>
                <c:pt idx="762">
                  <c:v>0.83</c:v>
                </c:pt>
                <c:pt idx="763">
                  <c:v>0.68</c:v>
                </c:pt>
                <c:pt idx="765">
                  <c:v>0.94</c:v>
                </c:pt>
                <c:pt idx="766">
                  <c:v>0.79</c:v>
                </c:pt>
                <c:pt idx="768">
                  <c:v>0.95</c:v>
                </c:pt>
                <c:pt idx="769">
                  <c:v>0.8</c:v>
                </c:pt>
                <c:pt idx="771">
                  <c:v>0.95</c:v>
                </c:pt>
                <c:pt idx="772">
                  <c:v>0.8</c:v>
                </c:pt>
                <c:pt idx="774">
                  <c:v>0.95</c:v>
                </c:pt>
                <c:pt idx="775">
                  <c:v>0.8</c:v>
                </c:pt>
                <c:pt idx="777">
                  <c:v>0.9</c:v>
                </c:pt>
                <c:pt idx="778">
                  <c:v>0.76</c:v>
                </c:pt>
                <c:pt idx="780">
                  <c:v>0.92</c:v>
                </c:pt>
                <c:pt idx="781">
                  <c:v>0.78</c:v>
                </c:pt>
                <c:pt idx="783">
                  <c:v>0.92</c:v>
                </c:pt>
                <c:pt idx="784">
                  <c:v>0.78</c:v>
                </c:pt>
                <c:pt idx="786">
                  <c:v>0.93</c:v>
                </c:pt>
                <c:pt idx="787">
                  <c:v>0.79</c:v>
                </c:pt>
                <c:pt idx="789">
                  <c:v>0.96</c:v>
                </c:pt>
                <c:pt idx="790">
                  <c:v>0.82</c:v>
                </c:pt>
                <c:pt idx="792">
                  <c:v>0.98</c:v>
                </c:pt>
                <c:pt idx="793">
                  <c:v>0.84</c:v>
                </c:pt>
                <c:pt idx="795">
                  <c:v>0.98</c:v>
                </c:pt>
                <c:pt idx="796">
                  <c:v>0.84</c:v>
                </c:pt>
                <c:pt idx="798">
                  <c:v>1</c:v>
                </c:pt>
                <c:pt idx="799">
                  <c:v>0.86</c:v>
                </c:pt>
                <c:pt idx="801">
                  <c:v>1.02</c:v>
                </c:pt>
                <c:pt idx="802">
                  <c:v>0.88</c:v>
                </c:pt>
                <c:pt idx="804">
                  <c:v>1.03</c:v>
                </c:pt>
                <c:pt idx="805">
                  <c:v>0.89</c:v>
                </c:pt>
                <c:pt idx="807">
                  <c:v>0.95</c:v>
                </c:pt>
                <c:pt idx="808">
                  <c:v>0.81</c:v>
                </c:pt>
                <c:pt idx="810">
                  <c:v>0.84</c:v>
                </c:pt>
                <c:pt idx="811">
                  <c:v>0.71</c:v>
                </c:pt>
                <c:pt idx="813">
                  <c:v>0.85</c:v>
                </c:pt>
                <c:pt idx="814">
                  <c:v>0.72</c:v>
                </c:pt>
                <c:pt idx="816">
                  <c:v>0.86</c:v>
                </c:pt>
                <c:pt idx="817">
                  <c:v>0.73</c:v>
                </c:pt>
                <c:pt idx="819">
                  <c:v>0.89</c:v>
                </c:pt>
                <c:pt idx="820">
                  <c:v>0.76</c:v>
                </c:pt>
                <c:pt idx="822">
                  <c:v>0.9</c:v>
                </c:pt>
                <c:pt idx="823">
                  <c:v>0.77</c:v>
                </c:pt>
                <c:pt idx="825">
                  <c:v>0.91</c:v>
                </c:pt>
                <c:pt idx="826">
                  <c:v>0.78</c:v>
                </c:pt>
                <c:pt idx="828">
                  <c:v>0.92</c:v>
                </c:pt>
                <c:pt idx="829">
                  <c:v>0.79</c:v>
                </c:pt>
                <c:pt idx="831">
                  <c:v>0.93</c:v>
                </c:pt>
                <c:pt idx="832">
                  <c:v>0.8</c:v>
                </c:pt>
                <c:pt idx="834">
                  <c:v>0.93</c:v>
                </c:pt>
                <c:pt idx="835">
                  <c:v>0.8</c:v>
                </c:pt>
                <c:pt idx="837">
                  <c:v>0.93</c:v>
                </c:pt>
                <c:pt idx="838">
                  <c:v>0.8</c:v>
                </c:pt>
                <c:pt idx="840">
                  <c:v>0.95</c:v>
                </c:pt>
                <c:pt idx="841">
                  <c:v>0.82</c:v>
                </c:pt>
                <c:pt idx="843">
                  <c:v>0.96</c:v>
                </c:pt>
                <c:pt idx="844">
                  <c:v>0.83</c:v>
                </c:pt>
                <c:pt idx="846">
                  <c:v>0.96</c:v>
                </c:pt>
                <c:pt idx="847">
                  <c:v>0.83</c:v>
                </c:pt>
                <c:pt idx="849">
                  <c:v>0.97</c:v>
                </c:pt>
                <c:pt idx="850">
                  <c:v>0.84</c:v>
                </c:pt>
                <c:pt idx="852">
                  <c:v>0.97</c:v>
                </c:pt>
                <c:pt idx="853">
                  <c:v>0.84</c:v>
                </c:pt>
                <c:pt idx="855">
                  <c:v>1.01</c:v>
                </c:pt>
                <c:pt idx="856">
                  <c:v>0.88</c:v>
                </c:pt>
                <c:pt idx="858">
                  <c:v>0.94</c:v>
                </c:pt>
                <c:pt idx="859">
                  <c:v>0.81</c:v>
                </c:pt>
                <c:pt idx="861">
                  <c:v>0.94</c:v>
                </c:pt>
                <c:pt idx="862">
                  <c:v>0.81</c:v>
                </c:pt>
                <c:pt idx="864">
                  <c:v>0.92</c:v>
                </c:pt>
                <c:pt idx="865">
                  <c:v>0.8</c:v>
                </c:pt>
                <c:pt idx="867">
                  <c:v>0.94</c:v>
                </c:pt>
                <c:pt idx="868">
                  <c:v>0.82</c:v>
                </c:pt>
                <c:pt idx="870">
                  <c:v>0.94</c:v>
                </c:pt>
                <c:pt idx="871">
                  <c:v>0.82</c:v>
                </c:pt>
                <c:pt idx="873">
                  <c:v>0.94</c:v>
                </c:pt>
                <c:pt idx="874">
                  <c:v>0.82</c:v>
                </c:pt>
                <c:pt idx="876">
                  <c:v>0.94</c:v>
                </c:pt>
                <c:pt idx="877">
                  <c:v>0.82</c:v>
                </c:pt>
                <c:pt idx="879">
                  <c:v>0.97</c:v>
                </c:pt>
                <c:pt idx="880">
                  <c:v>0.85</c:v>
                </c:pt>
                <c:pt idx="882">
                  <c:v>0.98</c:v>
                </c:pt>
                <c:pt idx="883">
                  <c:v>0.86</c:v>
                </c:pt>
                <c:pt idx="885">
                  <c:v>0.99</c:v>
                </c:pt>
                <c:pt idx="886">
                  <c:v>0.87</c:v>
                </c:pt>
                <c:pt idx="888">
                  <c:v>0.99</c:v>
                </c:pt>
                <c:pt idx="889">
                  <c:v>0.87</c:v>
                </c:pt>
                <c:pt idx="891">
                  <c:v>1</c:v>
                </c:pt>
                <c:pt idx="892">
                  <c:v>0.88</c:v>
                </c:pt>
                <c:pt idx="894">
                  <c:v>1</c:v>
                </c:pt>
                <c:pt idx="895">
                  <c:v>0.88</c:v>
                </c:pt>
                <c:pt idx="897">
                  <c:v>1.01</c:v>
                </c:pt>
                <c:pt idx="898">
                  <c:v>0.89</c:v>
                </c:pt>
                <c:pt idx="900">
                  <c:v>1.01</c:v>
                </c:pt>
                <c:pt idx="901">
                  <c:v>0.89</c:v>
                </c:pt>
                <c:pt idx="903">
                  <c:v>0.93</c:v>
                </c:pt>
                <c:pt idx="904">
                  <c:v>0.82</c:v>
                </c:pt>
                <c:pt idx="906">
                  <c:v>0.93</c:v>
                </c:pt>
                <c:pt idx="907">
                  <c:v>0.82</c:v>
                </c:pt>
                <c:pt idx="909">
                  <c:v>0.93</c:v>
                </c:pt>
                <c:pt idx="910">
                  <c:v>0.82</c:v>
                </c:pt>
                <c:pt idx="912">
                  <c:v>0.86</c:v>
                </c:pt>
                <c:pt idx="913">
                  <c:v>0.75</c:v>
                </c:pt>
                <c:pt idx="915">
                  <c:v>0.91</c:v>
                </c:pt>
                <c:pt idx="916">
                  <c:v>0.8</c:v>
                </c:pt>
                <c:pt idx="918">
                  <c:v>0.92</c:v>
                </c:pt>
                <c:pt idx="919">
                  <c:v>0.81</c:v>
                </c:pt>
                <c:pt idx="921">
                  <c:v>0.95</c:v>
                </c:pt>
                <c:pt idx="922">
                  <c:v>0.84</c:v>
                </c:pt>
                <c:pt idx="924">
                  <c:v>0.97</c:v>
                </c:pt>
                <c:pt idx="925">
                  <c:v>0.86</c:v>
                </c:pt>
                <c:pt idx="927">
                  <c:v>0.98</c:v>
                </c:pt>
                <c:pt idx="928">
                  <c:v>0.87</c:v>
                </c:pt>
                <c:pt idx="930">
                  <c:v>0.98</c:v>
                </c:pt>
                <c:pt idx="931">
                  <c:v>0.87</c:v>
                </c:pt>
                <c:pt idx="933">
                  <c:v>0.98</c:v>
                </c:pt>
                <c:pt idx="934">
                  <c:v>0.87</c:v>
                </c:pt>
                <c:pt idx="936">
                  <c:v>0.99</c:v>
                </c:pt>
                <c:pt idx="937">
                  <c:v>0.88</c:v>
                </c:pt>
                <c:pt idx="939">
                  <c:v>0.93</c:v>
                </c:pt>
                <c:pt idx="940">
                  <c:v>0.83</c:v>
                </c:pt>
                <c:pt idx="942">
                  <c:v>0.86</c:v>
                </c:pt>
                <c:pt idx="943">
                  <c:v>0.76</c:v>
                </c:pt>
                <c:pt idx="945">
                  <c:v>0.87</c:v>
                </c:pt>
                <c:pt idx="946">
                  <c:v>0.77</c:v>
                </c:pt>
                <c:pt idx="948">
                  <c:v>0.89</c:v>
                </c:pt>
                <c:pt idx="949">
                  <c:v>0.79</c:v>
                </c:pt>
                <c:pt idx="951">
                  <c:v>0.89</c:v>
                </c:pt>
                <c:pt idx="952">
                  <c:v>0.79</c:v>
                </c:pt>
                <c:pt idx="954">
                  <c:v>0.91</c:v>
                </c:pt>
                <c:pt idx="955">
                  <c:v>0.81</c:v>
                </c:pt>
                <c:pt idx="957">
                  <c:v>0.94</c:v>
                </c:pt>
                <c:pt idx="958">
                  <c:v>0.84</c:v>
                </c:pt>
                <c:pt idx="960">
                  <c:v>0.95</c:v>
                </c:pt>
                <c:pt idx="961">
                  <c:v>0.85</c:v>
                </c:pt>
                <c:pt idx="963">
                  <c:v>0.95</c:v>
                </c:pt>
                <c:pt idx="964">
                  <c:v>0.85</c:v>
                </c:pt>
                <c:pt idx="966">
                  <c:v>0.95</c:v>
                </c:pt>
                <c:pt idx="967">
                  <c:v>0.85</c:v>
                </c:pt>
                <c:pt idx="969">
                  <c:v>0.96</c:v>
                </c:pt>
                <c:pt idx="970">
                  <c:v>0.86</c:v>
                </c:pt>
                <c:pt idx="972">
                  <c:v>0.97</c:v>
                </c:pt>
                <c:pt idx="973">
                  <c:v>0.87</c:v>
                </c:pt>
                <c:pt idx="975">
                  <c:v>0.97</c:v>
                </c:pt>
                <c:pt idx="976">
                  <c:v>0.87</c:v>
                </c:pt>
                <c:pt idx="978">
                  <c:v>0.78</c:v>
                </c:pt>
                <c:pt idx="979">
                  <c:v>0.69</c:v>
                </c:pt>
                <c:pt idx="981">
                  <c:v>0.8</c:v>
                </c:pt>
                <c:pt idx="982">
                  <c:v>0.71</c:v>
                </c:pt>
                <c:pt idx="984">
                  <c:v>0.91</c:v>
                </c:pt>
                <c:pt idx="985">
                  <c:v>0.82</c:v>
                </c:pt>
                <c:pt idx="987">
                  <c:v>0.91</c:v>
                </c:pt>
                <c:pt idx="988">
                  <c:v>0.82</c:v>
                </c:pt>
                <c:pt idx="990">
                  <c:v>0.93</c:v>
                </c:pt>
                <c:pt idx="991">
                  <c:v>0.84</c:v>
                </c:pt>
                <c:pt idx="993">
                  <c:v>0.93</c:v>
                </c:pt>
                <c:pt idx="994">
                  <c:v>0.84</c:v>
                </c:pt>
                <c:pt idx="996">
                  <c:v>0.93</c:v>
                </c:pt>
                <c:pt idx="997">
                  <c:v>0.84</c:v>
                </c:pt>
                <c:pt idx="999">
                  <c:v>0.9</c:v>
                </c:pt>
                <c:pt idx="1000">
                  <c:v>0.81</c:v>
                </c:pt>
                <c:pt idx="1002">
                  <c:v>0.94</c:v>
                </c:pt>
                <c:pt idx="1003">
                  <c:v>0.85</c:v>
                </c:pt>
                <c:pt idx="1005">
                  <c:v>0.95</c:v>
                </c:pt>
                <c:pt idx="1006">
                  <c:v>0.86</c:v>
                </c:pt>
                <c:pt idx="1008">
                  <c:v>0.95</c:v>
                </c:pt>
                <c:pt idx="1009">
                  <c:v>0.86</c:v>
                </c:pt>
                <c:pt idx="1011">
                  <c:v>0.95</c:v>
                </c:pt>
                <c:pt idx="1012">
                  <c:v>0.86</c:v>
                </c:pt>
                <c:pt idx="1014">
                  <c:v>0.96</c:v>
                </c:pt>
                <c:pt idx="1015">
                  <c:v>0.87</c:v>
                </c:pt>
                <c:pt idx="1017">
                  <c:v>0.96</c:v>
                </c:pt>
                <c:pt idx="1018">
                  <c:v>0.87</c:v>
                </c:pt>
                <c:pt idx="1020">
                  <c:v>0.96</c:v>
                </c:pt>
                <c:pt idx="1021">
                  <c:v>0.87</c:v>
                </c:pt>
                <c:pt idx="1023">
                  <c:v>0.96</c:v>
                </c:pt>
                <c:pt idx="1024">
                  <c:v>0.87</c:v>
                </c:pt>
                <c:pt idx="1026">
                  <c:v>0.97</c:v>
                </c:pt>
                <c:pt idx="1027">
                  <c:v>0.88</c:v>
                </c:pt>
                <c:pt idx="1029">
                  <c:v>0.98</c:v>
                </c:pt>
                <c:pt idx="1030">
                  <c:v>0.89</c:v>
                </c:pt>
                <c:pt idx="1032">
                  <c:v>0.98</c:v>
                </c:pt>
                <c:pt idx="1033">
                  <c:v>0.89</c:v>
                </c:pt>
                <c:pt idx="1035">
                  <c:v>0.9</c:v>
                </c:pt>
                <c:pt idx="1036">
                  <c:v>0.82</c:v>
                </c:pt>
                <c:pt idx="1038">
                  <c:v>0.9</c:v>
                </c:pt>
                <c:pt idx="1039">
                  <c:v>0.82</c:v>
                </c:pt>
                <c:pt idx="1041">
                  <c:v>0.9</c:v>
                </c:pt>
                <c:pt idx="1042">
                  <c:v>0.82</c:v>
                </c:pt>
                <c:pt idx="1044">
                  <c:v>0.91</c:v>
                </c:pt>
                <c:pt idx="1045">
                  <c:v>0.83</c:v>
                </c:pt>
                <c:pt idx="1047">
                  <c:v>0.91</c:v>
                </c:pt>
                <c:pt idx="1048">
                  <c:v>0.83</c:v>
                </c:pt>
                <c:pt idx="1050">
                  <c:v>0.91</c:v>
                </c:pt>
                <c:pt idx="1051">
                  <c:v>0.83</c:v>
                </c:pt>
                <c:pt idx="1053">
                  <c:v>0.91</c:v>
                </c:pt>
                <c:pt idx="1054">
                  <c:v>0.83</c:v>
                </c:pt>
                <c:pt idx="1056">
                  <c:v>0.91</c:v>
                </c:pt>
                <c:pt idx="1057">
                  <c:v>0.83</c:v>
                </c:pt>
                <c:pt idx="1059">
                  <c:v>0.92</c:v>
                </c:pt>
                <c:pt idx="1060">
                  <c:v>0.84</c:v>
                </c:pt>
                <c:pt idx="1062">
                  <c:v>0.92</c:v>
                </c:pt>
                <c:pt idx="1063">
                  <c:v>0.84</c:v>
                </c:pt>
                <c:pt idx="1065">
                  <c:v>0.92</c:v>
                </c:pt>
                <c:pt idx="1066">
                  <c:v>0.84</c:v>
                </c:pt>
                <c:pt idx="1068">
                  <c:v>0.92</c:v>
                </c:pt>
                <c:pt idx="1069">
                  <c:v>0.84</c:v>
                </c:pt>
                <c:pt idx="1071">
                  <c:v>1.02</c:v>
                </c:pt>
                <c:pt idx="1072">
                  <c:v>0.94</c:v>
                </c:pt>
                <c:pt idx="1074">
                  <c:v>0.88</c:v>
                </c:pt>
                <c:pt idx="1075">
                  <c:v>0.8</c:v>
                </c:pt>
                <c:pt idx="1077">
                  <c:v>0.88</c:v>
                </c:pt>
                <c:pt idx="1078">
                  <c:v>0.8</c:v>
                </c:pt>
                <c:pt idx="1080">
                  <c:v>0.88</c:v>
                </c:pt>
                <c:pt idx="1081">
                  <c:v>0.8</c:v>
                </c:pt>
                <c:pt idx="1083">
                  <c:v>0.89</c:v>
                </c:pt>
                <c:pt idx="1084">
                  <c:v>0.81</c:v>
                </c:pt>
                <c:pt idx="1086">
                  <c:v>0.94</c:v>
                </c:pt>
                <c:pt idx="1087">
                  <c:v>0.86</c:v>
                </c:pt>
                <c:pt idx="1089">
                  <c:v>0.94</c:v>
                </c:pt>
                <c:pt idx="1090">
                  <c:v>0.86</c:v>
                </c:pt>
                <c:pt idx="1092">
                  <c:v>0.94</c:v>
                </c:pt>
                <c:pt idx="1093">
                  <c:v>0.86</c:v>
                </c:pt>
                <c:pt idx="1095">
                  <c:v>0.95</c:v>
                </c:pt>
                <c:pt idx="1096">
                  <c:v>0.87</c:v>
                </c:pt>
                <c:pt idx="1098">
                  <c:v>0.95</c:v>
                </c:pt>
                <c:pt idx="1099">
                  <c:v>0.87</c:v>
                </c:pt>
                <c:pt idx="1101">
                  <c:v>0.96</c:v>
                </c:pt>
                <c:pt idx="1102">
                  <c:v>0.88</c:v>
                </c:pt>
                <c:pt idx="1104">
                  <c:v>0.96</c:v>
                </c:pt>
                <c:pt idx="1105">
                  <c:v>0.88</c:v>
                </c:pt>
                <c:pt idx="1107">
                  <c:v>0.96</c:v>
                </c:pt>
                <c:pt idx="1108">
                  <c:v>0.88</c:v>
                </c:pt>
                <c:pt idx="1110">
                  <c:v>0.97</c:v>
                </c:pt>
                <c:pt idx="1111">
                  <c:v>0.89</c:v>
                </c:pt>
                <c:pt idx="1113">
                  <c:v>0.97</c:v>
                </c:pt>
                <c:pt idx="1114">
                  <c:v>0.89</c:v>
                </c:pt>
                <c:pt idx="1116">
                  <c:v>0.97</c:v>
                </c:pt>
                <c:pt idx="1117">
                  <c:v>0.89</c:v>
                </c:pt>
                <c:pt idx="1119">
                  <c:v>0.97</c:v>
                </c:pt>
                <c:pt idx="1120">
                  <c:v>0.89</c:v>
                </c:pt>
                <c:pt idx="1122">
                  <c:v>0.99</c:v>
                </c:pt>
                <c:pt idx="1123">
                  <c:v>0.91</c:v>
                </c:pt>
                <c:pt idx="1125">
                  <c:v>1.01</c:v>
                </c:pt>
                <c:pt idx="1126">
                  <c:v>0.93</c:v>
                </c:pt>
                <c:pt idx="1128">
                  <c:v>0.9</c:v>
                </c:pt>
                <c:pt idx="1129">
                  <c:v>0.83</c:v>
                </c:pt>
                <c:pt idx="1131">
                  <c:v>0.91</c:v>
                </c:pt>
                <c:pt idx="1132">
                  <c:v>0.84</c:v>
                </c:pt>
                <c:pt idx="1134">
                  <c:v>0.92</c:v>
                </c:pt>
                <c:pt idx="1135">
                  <c:v>0.85</c:v>
                </c:pt>
                <c:pt idx="1137">
                  <c:v>0.92</c:v>
                </c:pt>
                <c:pt idx="1138">
                  <c:v>0.85</c:v>
                </c:pt>
                <c:pt idx="1140">
                  <c:v>0.92</c:v>
                </c:pt>
                <c:pt idx="1141">
                  <c:v>0.85</c:v>
                </c:pt>
                <c:pt idx="1143">
                  <c:v>0.93</c:v>
                </c:pt>
                <c:pt idx="1144">
                  <c:v>0.86</c:v>
                </c:pt>
                <c:pt idx="1146">
                  <c:v>0.93</c:v>
                </c:pt>
                <c:pt idx="1147">
                  <c:v>0.86</c:v>
                </c:pt>
                <c:pt idx="1149">
                  <c:v>0.93</c:v>
                </c:pt>
                <c:pt idx="1150">
                  <c:v>0.86</c:v>
                </c:pt>
                <c:pt idx="1152">
                  <c:v>0.93</c:v>
                </c:pt>
                <c:pt idx="1153">
                  <c:v>0.86</c:v>
                </c:pt>
                <c:pt idx="1155">
                  <c:v>0.93</c:v>
                </c:pt>
                <c:pt idx="1156">
                  <c:v>0.86</c:v>
                </c:pt>
                <c:pt idx="1158">
                  <c:v>0.93</c:v>
                </c:pt>
                <c:pt idx="1159">
                  <c:v>0.86</c:v>
                </c:pt>
                <c:pt idx="1161">
                  <c:v>0.62</c:v>
                </c:pt>
                <c:pt idx="1162">
                  <c:v>0.55000000000000004</c:v>
                </c:pt>
                <c:pt idx="1164">
                  <c:v>0.86</c:v>
                </c:pt>
                <c:pt idx="1165">
                  <c:v>0.79</c:v>
                </c:pt>
                <c:pt idx="1167">
                  <c:v>0.87</c:v>
                </c:pt>
                <c:pt idx="1168">
                  <c:v>0.8</c:v>
                </c:pt>
                <c:pt idx="1170">
                  <c:v>0.87</c:v>
                </c:pt>
                <c:pt idx="1171">
                  <c:v>0.8</c:v>
                </c:pt>
                <c:pt idx="1173">
                  <c:v>0.88</c:v>
                </c:pt>
                <c:pt idx="1174">
                  <c:v>0.81</c:v>
                </c:pt>
                <c:pt idx="1176">
                  <c:v>0.88</c:v>
                </c:pt>
                <c:pt idx="1177">
                  <c:v>0.81</c:v>
                </c:pt>
                <c:pt idx="1179">
                  <c:v>0.94</c:v>
                </c:pt>
                <c:pt idx="1180">
                  <c:v>0.87</c:v>
                </c:pt>
                <c:pt idx="1182">
                  <c:v>0.94</c:v>
                </c:pt>
                <c:pt idx="1183">
                  <c:v>0.87</c:v>
                </c:pt>
                <c:pt idx="1185">
                  <c:v>0.94</c:v>
                </c:pt>
                <c:pt idx="1186">
                  <c:v>0.87</c:v>
                </c:pt>
                <c:pt idx="1188">
                  <c:v>0.94</c:v>
                </c:pt>
                <c:pt idx="1189">
                  <c:v>0.87</c:v>
                </c:pt>
                <c:pt idx="1191">
                  <c:v>0.94</c:v>
                </c:pt>
                <c:pt idx="1192">
                  <c:v>0.87</c:v>
                </c:pt>
                <c:pt idx="1194">
                  <c:v>0.95</c:v>
                </c:pt>
                <c:pt idx="1195">
                  <c:v>0.88</c:v>
                </c:pt>
                <c:pt idx="1197">
                  <c:v>0.95</c:v>
                </c:pt>
                <c:pt idx="1198">
                  <c:v>0.88</c:v>
                </c:pt>
                <c:pt idx="1200">
                  <c:v>0.95</c:v>
                </c:pt>
                <c:pt idx="1201">
                  <c:v>0.88</c:v>
                </c:pt>
                <c:pt idx="1203">
                  <c:v>0.96</c:v>
                </c:pt>
                <c:pt idx="1204">
                  <c:v>0.89</c:v>
                </c:pt>
                <c:pt idx="1206">
                  <c:v>0.98</c:v>
                </c:pt>
                <c:pt idx="1207">
                  <c:v>0.91</c:v>
                </c:pt>
                <c:pt idx="1209">
                  <c:v>0.88</c:v>
                </c:pt>
                <c:pt idx="1210">
                  <c:v>0.82</c:v>
                </c:pt>
                <c:pt idx="1212">
                  <c:v>0.88</c:v>
                </c:pt>
                <c:pt idx="1213">
                  <c:v>0.82</c:v>
                </c:pt>
                <c:pt idx="1215">
                  <c:v>0.89</c:v>
                </c:pt>
                <c:pt idx="1216">
                  <c:v>0.83</c:v>
                </c:pt>
                <c:pt idx="1218">
                  <c:v>0.9</c:v>
                </c:pt>
                <c:pt idx="1219">
                  <c:v>0.84</c:v>
                </c:pt>
                <c:pt idx="1221">
                  <c:v>0.9</c:v>
                </c:pt>
                <c:pt idx="1222">
                  <c:v>0.84</c:v>
                </c:pt>
                <c:pt idx="1224">
                  <c:v>0.91</c:v>
                </c:pt>
                <c:pt idx="1225">
                  <c:v>0.85</c:v>
                </c:pt>
                <c:pt idx="1227">
                  <c:v>0.91</c:v>
                </c:pt>
                <c:pt idx="1228">
                  <c:v>0.85</c:v>
                </c:pt>
                <c:pt idx="1230">
                  <c:v>0.92</c:v>
                </c:pt>
                <c:pt idx="1231">
                  <c:v>0.86</c:v>
                </c:pt>
                <c:pt idx="1233">
                  <c:v>0.92</c:v>
                </c:pt>
                <c:pt idx="1234">
                  <c:v>0.86</c:v>
                </c:pt>
                <c:pt idx="1236">
                  <c:v>0.92</c:v>
                </c:pt>
                <c:pt idx="1237">
                  <c:v>0.86</c:v>
                </c:pt>
                <c:pt idx="1239">
                  <c:v>0.93</c:v>
                </c:pt>
                <c:pt idx="1240">
                  <c:v>0.87</c:v>
                </c:pt>
                <c:pt idx="1242">
                  <c:v>0.93</c:v>
                </c:pt>
                <c:pt idx="1243">
                  <c:v>0.87</c:v>
                </c:pt>
                <c:pt idx="1245">
                  <c:v>0.93</c:v>
                </c:pt>
                <c:pt idx="1246">
                  <c:v>0.87</c:v>
                </c:pt>
                <c:pt idx="1248">
                  <c:v>0.93</c:v>
                </c:pt>
                <c:pt idx="1249">
                  <c:v>0.87</c:v>
                </c:pt>
                <c:pt idx="1251">
                  <c:v>0.93</c:v>
                </c:pt>
                <c:pt idx="1252">
                  <c:v>0.87</c:v>
                </c:pt>
                <c:pt idx="1254">
                  <c:v>0.93</c:v>
                </c:pt>
                <c:pt idx="1255">
                  <c:v>0.87</c:v>
                </c:pt>
                <c:pt idx="1257">
                  <c:v>0.93</c:v>
                </c:pt>
                <c:pt idx="1258">
                  <c:v>0.87</c:v>
                </c:pt>
                <c:pt idx="1260">
                  <c:v>0.93</c:v>
                </c:pt>
                <c:pt idx="1261">
                  <c:v>0.87</c:v>
                </c:pt>
                <c:pt idx="1263">
                  <c:v>0.93</c:v>
                </c:pt>
                <c:pt idx="1264">
                  <c:v>0.87</c:v>
                </c:pt>
                <c:pt idx="1266">
                  <c:v>0.93</c:v>
                </c:pt>
                <c:pt idx="1267">
                  <c:v>0.87</c:v>
                </c:pt>
                <c:pt idx="1269">
                  <c:v>0.71</c:v>
                </c:pt>
                <c:pt idx="1270">
                  <c:v>0.65</c:v>
                </c:pt>
                <c:pt idx="1272">
                  <c:v>0.87</c:v>
                </c:pt>
                <c:pt idx="1273">
                  <c:v>0.81</c:v>
                </c:pt>
                <c:pt idx="1275">
                  <c:v>0.94</c:v>
                </c:pt>
                <c:pt idx="1276">
                  <c:v>0.88</c:v>
                </c:pt>
                <c:pt idx="1278">
                  <c:v>0.94</c:v>
                </c:pt>
                <c:pt idx="1279">
                  <c:v>0.88</c:v>
                </c:pt>
                <c:pt idx="1281">
                  <c:v>0.95</c:v>
                </c:pt>
                <c:pt idx="1282">
                  <c:v>0.89</c:v>
                </c:pt>
                <c:pt idx="1284">
                  <c:v>0.95</c:v>
                </c:pt>
                <c:pt idx="1285">
                  <c:v>0.89</c:v>
                </c:pt>
                <c:pt idx="1287">
                  <c:v>0.95</c:v>
                </c:pt>
                <c:pt idx="1288">
                  <c:v>0.89</c:v>
                </c:pt>
                <c:pt idx="1290">
                  <c:v>0.78</c:v>
                </c:pt>
                <c:pt idx="1291">
                  <c:v>0.73</c:v>
                </c:pt>
                <c:pt idx="1293">
                  <c:v>0.9</c:v>
                </c:pt>
                <c:pt idx="1294">
                  <c:v>0.85</c:v>
                </c:pt>
                <c:pt idx="1296">
                  <c:v>0.9</c:v>
                </c:pt>
                <c:pt idx="1297">
                  <c:v>0.85</c:v>
                </c:pt>
                <c:pt idx="1299">
                  <c:v>0.91</c:v>
                </c:pt>
                <c:pt idx="1300">
                  <c:v>0.86</c:v>
                </c:pt>
                <c:pt idx="1302">
                  <c:v>0.91</c:v>
                </c:pt>
                <c:pt idx="1303">
                  <c:v>0.86</c:v>
                </c:pt>
                <c:pt idx="1305">
                  <c:v>0.91</c:v>
                </c:pt>
                <c:pt idx="1306">
                  <c:v>0.86</c:v>
                </c:pt>
                <c:pt idx="1308">
                  <c:v>0.92</c:v>
                </c:pt>
                <c:pt idx="1309">
                  <c:v>0.87</c:v>
                </c:pt>
                <c:pt idx="1311">
                  <c:v>0.92</c:v>
                </c:pt>
                <c:pt idx="1312">
                  <c:v>0.87</c:v>
                </c:pt>
                <c:pt idx="1314">
                  <c:v>0.92</c:v>
                </c:pt>
                <c:pt idx="1315">
                  <c:v>0.87</c:v>
                </c:pt>
                <c:pt idx="1317">
                  <c:v>0.92</c:v>
                </c:pt>
                <c:pt idx="1318">
                  <c:v>0.87</c:v>
                </c:pt>
                <c:pt idx="1320">
                  <c:v>0.93</c:v>
                </c:pt>
                <c:pt idx="1321">
                  <c:v>0.88</c:v>
                </c:pt>
                <c:pt idx="1323">
                  <c:v>0.93</c:v>
                </c:pt>
                <c:pt idx="1324">
                  <c:v>0.88</c:v>
                </c:pt>
                <c:pt idx="1326">
                  <c:v>0.83</c:v>
                </c:pt>
                <c:pt idx="1327">
                  <c:v>0.78</c:v>
                </c:pt>
                <c:pt idx="1329">
                  <c:v>0.84</c:v>
                </c:pt>
                <c:pt idx="1330">
                  <c:v>0.79</c:v>
                </c:pt>
                <c:pt idx="1332">
                  <c:v>0.94</c:v>
                </c:pt>
                <c:pt idx="1333">
                  <c:v>0.89</c:v>
                </c:pt>
                <c:pt idx="1335">
                  <c:v>0.87</c:v>
                </c:pt>
                <c:pt idx="1336">
                  <c:v>0.83</c:v>
                </c:pt>
                <c:pt idx="1338">
                  <c:v>0.87</c:v>
                </c:pt>
                <c:pt idx="1339">
                  <c:v>0.83</c:v>
                </c:pt>
                <c:pt idx="1341">
                  <c:v>0.89</c:v>
                </c:pt>
                <c:pt idx="1342">
                  <c:v>0.85</c:v>
                </c:pt>
                <c:pt idx="1344">
                  <c:v>0.9</c:v>
                </c:pt>
                <c:pt idx="1345">
                  <c:v>0.86</c:v>
                </c:pt>
                <c:pt idx="1347">
                  <c:v>0.91</c:v>
                </c:pt>
                <c:pt idx="1348">
                  <c:v>0.87</c:v>
                </c:pt>
                <c:pt idx="1350">
                  <c:v>0.92</c:v>
                </c:pt>
                <c:pt idx="1351">
                  <c:v>0.88</c:v>
                </c:pt>
                <c:pt idx="1353">
                  <c:v>0.92</c:v>
                </c:pt>
                <c:pt idx="1354">
                  <c:v>0.88</c:v>
                </c:pt>
                <c:pt idx="1356">
                  <c:v>0.93</c:v>
                </c:pt>
                <c:pt idx="1357">
                  <c:v>0.89</c:v>
                </c:pt>
                <c:pt idx="1359">
                  <c:v>0.93</c:v>
                </c:pt>
                <c:pt idx="1360">
                  <c:v>0.89</c:v>
                </c:pt>
                <c:pt idx="1362">
                  <c:v>0.93</c:v>
                </c:pt>
                <c:pt idx="1363">
                  <c:v>0.89</c:v>
                </c:pt>
                <c:pt idx="1365">
                  <c:v>0.93</c:v>
                </c:pt>
                <c:pt idx="1366">
                  <c:v>0.89</c:v>
                </c:pt>
                <c:pt idx="1368">
                  <c:v>0.93</c:v>
                </c:pt>
                <c:pt idx="1369">
                  <c:v>0.89</c:v>
                </c:pt>
                <c:pt idx="1371">
                  <c:v>0.93</c:v>
                </c:pt>
                <c:pt idx="1372">
                  <c:v>0.89</c:v>
                </c:pt>
                <c:pt idx="1374">
                  <c:v>0.93</c:v>
                </c:pt>
                <c:pt idx="1375">
                  <c:v>0.89</c:v>
                </c:pt>
                <c:pt idx="1377">
                  <c:v>0.93</c:v>
                </c:pt>
                <c:pt idx="1378">
                  <c:v>0.89</c:v>
                </c:pt>
                <c:pt idx="1380">
                  <c:v>0.93</c:v>
                </c:pt>
                <c:pt idx="1381">
                  <c:v>0.89</c:v>
                </c:pt>
                <c:pt idx="1383">
                  <c:v>0.93</c:v>
                </c:pt>
                <c:pt idx="1384">
                  <c:v>0.89</c:v>
                </c:pt>
                <c:pt idx="1386">
                  <c:v>0.84</c:v>
                </c:pt>
                <c:pt idx="1387">
                  <c:v>0.8</c:v>
                </c:pt>
                <c:pt idx="1389">
                  <c:v>0.79</c:v>
                </c:pt>
                <c:pt idx="1390">
                  <c:v>0.76</c:v>
                </c:pt>
                <c:pt idx="1392">
                  <c:v>0.87</c:v>
                </c:pt>
                <c:pt idx="1393">
                  <c:v>0.84</c:v>
                </c:pt>
                <c:pt idx="1395">
                  <c:v>0.87</c:v>
                </c:pt>
                <c:pt idx="1396">
                  <c:v>0.84</c:v>
                </c:pt>
                <c:pt idx="1398">
                  <c:v>0.87</c:v>
                </c:pt>
                <c:pt idx="1399">
                  <c:v>0.84</c:v>
                </c:pt>
                <c:pt idx="1401">
                  <c:v>0.88</c:v>
                </c:pt>
                <c:pt idx="1402">
                  <c:v>0.85</c:v>
                </c:pt>
                <c:pt idx="1404">
                  <c:v>0.89</c:v>
                </c:pt>
                <c:pt idx="1405">
                  <c:v>0.86</c:v>
                </c:pt>
                <c:pt idx="1407">
                  <c:v>0.89</c:v>
                </c:pt>
                <c:pt idx="1408">
                  <c:v>0.86</c:v>
                </c:pt>
                <c:pt idx="1410">
                  <c:v>0.89</c:v>
                </c:pt>
                <c:pt idx="1411">
                  <c:v>0.86</c:v>
                </c:pt>
                <c:pt idx="1413">
                  <c:v>0.9</c:v>
                </c:pt>
                <c:pt idx="1414">
                  <c:v>0.87</c:v>
                </c:pt>
                <c:pt idx="1416">
                  <c:v>0.91</c:v>
                </c:pt>
                <c:pt idx="1417">
                  <c:v>0.88</c:v>
                </c:pt>
                <c:pt idx="1419">
                  <c:v>0.91</c:v>
                </c:pt>
                <c:pt idx="1420">
                  <c:v>0.88</c:v>
                </c:pt>
                <c:pt idx="1422">
                  <c:v>0.92</c:v>
                </c:pt>
                <c:pt idx="1423">
                  <c:v>0.89</c:v>
                </c:pt>
                <c:pt idx="1425">
                  <c:v>0.92</c:v>
                </c:pt>
                <c:pt idx="1426">
                  <c:v>0.89</c:v>
                </c:pt>
                <c:pt idx="1428">
                  <c:v>0.87</c:v>
                </c:pt>
                <c:pt idx="1429">
                  <c:v>0.85</c:v>
                </c:pt>
                <c:pt idx="1431">
                  <c:v>0.88</c:v>
                </c:pt>
                <c:pt idx="1432">
                  <c:v>0.86</c:v>
                </c:pt>
                <c:pt idx="1434">
                  <c:v>0.88</c:v>
                </c:pt>
                <c:pt idx="1435">
                  <c:v>0.86</c:v>
                </c:pt>
                <c:pt idx="1437">
                  <c:v>0.88</c:v>
                </c:pt>
                <c:pt idx="1438">
                  <c:v>0.86</c:v>
                </c:pt>
                <c:pt idx="1440">
                  <c:v>0.9</c:v>
                </c:pt>
                <c:pt idx="1441">
                  <c:v>0.88</c:v>
                </c:pt>
                <c:pt idx="1443">
                  <c:v>0.9</c:v>
                </c:pt>
                <c:pt idx="1444">
                  <c:v>0.88</c:v>
                </c:pt>
                <c:pt idx="1446">
                  <c:v>0.82</c:v>
                </c:pt>
                <c:pt idx="1447">
                  <c:v>0.8</c:v>
                </c:pt>
                <c:pt idx="1449">
                  <c:v>0.81</c:v>
                </c:pt>
                <c:pt idx="1450">
                  <c:v>0.8</c:v>
                </c:pt>
                <c:pt idx="1452">
                  <c:v>0.84</c:v>
                </c:pt>
                <c:pt idx="1453">
                  <c:v>0.83</c:v>
                </c:pt>
                <c:pt idx="1455">
                  <c:v>0.9</c:v>
                </c:pt>
                <c:pt idx="1456">
                  <c:v>0.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E4C-42E0-96E4-D0EDD5ED2BEC}"/>
            </c:ext>
          </c:extLst>
        </c:ser>
        <c:ser>
          <c:idx val="1"/>
          <c:order val="1"/>
          <c:spPr>
            <a:ln w="127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xVal>
            <c:numRef>
              <c:f>Sheet4!$A$1460:$A$1525</c:f>
              <c:numCache>
                <c:formatCode>General</c:formatCode>
                <c:ptCount val="66"/>
                <c:pt idx="0">
                  <c:v>487</c:v>
                </c:pt>
                <c:pt idx="1">
                  <c:v>487</c:v>
                </c:pt>
                <c:pt idx="3">
                  <c:v>488</c:v>
                </c:pt>
                <c:pt idx="4">
                  <c:v>488</c:v>
                </c:pt>
                <c:pt idx="6">
                  <c:v>489</c:v>
                </c:pt>
                <c:pt idx="7">
                  <c:v>489</c:v>
                </c:pt>
                <c:pt idx="9">
                  <c:v>490</c:v>
                </c:pt>
                <c:pt idx="10">
                  <c:v>490</c:v>
                </c:pt>
                <c:pt idx="12">
                  <c:v>491</c:v>
                </c:pt>
                <c:pt idx="13">
                  <c:v>491</c:v>
                </c:pt>
                <c:pt idx="15">
                  <c:v>492</c:v>
                </c:pt>
                <c:pt idx="16">
                  <c:v>492</c:v>
                </c:pt>
                <c:pt idx="18">
                  <c:v>493</c:v>
                </c:pt>
                <c:pt idx="19">
                  <c:v>493</c:v>
                </c:pt>
                <c:pt idx="21">
                  <c:v>494</c:v>
                </c:pt>
                <c:pt idx="22">
                  <c:v>494</c:v>
                </c:pt>
                <c:pt idx="24">
                  <c:v>495</c:v>
                </c:pt>
                <c:pt idx="25">
                  <c:v>495</c:v>
                </c:pt>
                <c:pt idx="27">
                  <c:v>496</c:v>
                </c:pt>
                <c:pt idx="28">
                  <c:v>496</c:v>
                </c:pt>
                <c:pt idx="30">
                  <c:v>497</c:v>
                </c:pt>
                <c:pt idx="31">
                  <c:v>497</c:v>
                </c:pt>
                <c:pt idx="33">
                  <c:v>498</c:v>
                </c:pt>
                <c:pt idx="34">
                  <c:v>498</c:v>
                </c:pt>
                <c:pt idx="36">
                  <c:v>499</c:v>
                </c:pt>
                <c:pt idx="37">
                  <c:v>499</c:v>
                </c:pt>
                <c:pt idx="39">
                  <c:v>500</c:v>
                </c:pt>
                <c:pt idx="40">
                  <c:v>500</c:v>
                </c:pt>
                <c:pt idx="42">
                  <c:v>501</c:v>
                </c:pt>
                <c:pt idx="43">
                  <c:v>501</c:v>
                </c:pt>
                <c:pt idx="45">
                  <c:v>502</c:v>
                </c:pt>
                <c:pt idx="46">
                  <c:v>502</c:v>
                </c:pt>
                <c:pt idx="48">
                  <c:v>503</c:v>
                </c:pt>
                <c:pt idx="49">
                  <c:v>503</c:v>
                </c:pt>
                <c:pt idx="51">
                  <c:v>504</c:v>
                </c:pt>
                <c:pt idx="52">
                  <c:v>504</c:v>
                </c:pt>
                <c:pt idx="54">
                  <c:v>505</c:v>
                </c:pt>
                <c:pt idx="55">
                  <c:v>505</c:v>
                </c:pt>
                <c:pt idx="57">
                  <c:v>506</c:v>
                </c:pt>
                <c:pt idx="58">
                  <c:v>506</c:v>
                </c:pt>
                <c:pt idx="60">
                  <c:v>507</c:v>
                </c:pt>
                <c:pt idx="61">
                  <c:v>507</c:v>
                </c:pt>
                <c:pt idx="63">
                  <c:v>508</c:v>
                </c:pt>
                <c:pt idx="64">
                  <c:v>508</c:v>
                </c:pt>
              </c:numCache>
            </c:numRef>
          </c:xVal>
          <c:yVal>
            <c:numRef>
              <c:f>Sheet4!$B$1460:$B$1525</c:f>
              <c:numCache>
                <c:formatCode>General</c:formatCode>
                <c:ptCount val="66"/>
                <c:pt idx="0">
                  <c:v>0.87</c:v>
                </c:pt>
                <c:pt idx="1">
                  <c:v>0.87</c:v>
                </c:pt>
                <c:pt idx="3">
                  <c:v>0.87</c:v>
                </c:pt>
                <c:pt idx="4">
                  <c:v>0.87</c:v>
                </c:pt>
                <c:pt idx="6">
                  <c:v>0.88</c:v>
                </c:pt>
                <c:pt idx="7">
                  <c:v>0.88</c:v>
                </c:pt>
                <c:pt idx="9">
                  <c:v>0.88</c:v>
                </c:pt>
                <c:pt idx="10">
                  <c:v>0.88</c:v>
                </c:pt>
                <c:pt idx="12">
                  <c:v>0.89</c:v>
                </c:pt>
                <c:pt idx="13">
                  <c:v>0.89</c:v>
                </c:pt>
                <c:pt idx="15">
                  <c:v>0.89</c:v>
                </c:pt>
                <c:pt idx="16">
                  <c:v>0.89</c:v>
                </c:pt>
                <c:pt idx="18">
                  <c:v>0.89</c:v>
                </c:pt>
                <c:pt idx="19">
                  <c:v>0.89</c:v>
                </c:pt>
                <c:pt idx="21">
                  <c:v>0.84</c:v>
                </c:pt>
                <c:pt idx="22">
                  <c:v>0.85</c:v>
                </c:pt>
                <c:pt idx="24">
                  <c:v>0.84</c:v>
                </c:pt>
                <c:pt idx="25">
                  <c:v>0.85</c:v>
                </c:pt>
                <c:pt idx="27">
                  <c:v>0.87</c:v>
                </c:pt>
                <c:pt idx="28">
                  <c:v>0.88</c:v>
                </c:pt>
                <c:pt idx="30">
                  <c:v>0.66</c:v>
                </c:pt>
                <c:pt idx="31">
                  <c:v>0.68</c:v>
                </c:pt>
                <c:pt idx="33">
                  <c:v>0.85</c:v>
                </c:pt>
                <c:pt idx="34">
                  <c:v>0.87</c:v>
                </c:pt>
                <c:pt idx="36">
                  <c:v>0.86</c:v>
                </c:pt>
                <c:pt idx="37">
                  <c:v>0.88</c:v>
                </c:pt>
                <c:pt idx="39">
                  <c:v>0.86</c:v>
                </c:pt>
                <c:pt idx="40">
                  <c:v>0.88</c:v>
                </c:pt>
                <c:pt idx="42">
                  <c:v>0.86</c:v>
                </c:pt>
                <c:pt idx="43">
                  <c:v>0.89</c:v>
                </c:pt>
                <c:pt idx="45">
                  <c:v>0.86</c:v>
                </c:pt>
                <c:pt idx="46">
                  <c:v>0.89</c:v>
                </c:pt>
                <c:pt idx="48">
                  <c:v>0.82</c:v>
                </c:pt>
                <c:pt idx="49">
                  <c:v>0.86</c:v>
                </c:pt>
                <c:pt idx="51">
                  <c:v>0.82</c:v>
                </c:pt>
                <c:pt idx="52">
                  <c:v>0.86</c:v>
                </c:pt>
                <c:pt idx="54">
                  <c:v>0.85</c:v>
                </c:pt>
                <c:pt idx="55">
                  <c:v>0.89</c:v>
                </c:pt>
                <c:pt idx="57">
                  <c:v>0.77</c:v>
                </c:pt>
                <c:pt idx="58">
                  <c:v>0.82</c:v>
                </c:pt>
                <c:pt idx="60">
                  <c:v>0.84</c:v>
                </c:pt>
                <c:pt idx="61">
                  <c:v>0.89</c:v>
                </c:pt>
                <c:pt idx="63">
                  <c:v>0.73</c:v>
                </c:pt>
                <c:pt idx="64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E4C-42E0-96E4-D0EDD5ED2B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3698848"/>
        <c:axId val="1193717888"/>
      </c:scatterChart>
      <c:valAx>
        <c:axId val="1193698848"/>
        <c:scaling>
          <c:orientation val="minMax"/>
          <c:max val="550"/>
          <c:min val="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3717888"/>
        <c:crosses val="autoZero"/>
        <c:crossBetween val="midCat"/>
      </c:valAx>
      <c:valAx>
        <c:axId val="1193717888"/>
        <c:scaling>
          <c:orientation val="minMax"/>
          <c:max val="1.1000000000000001"/>
          <c:min val="0"/>
        </c:scaling>
        <c:delete val="0"/>
        <c:axPos val="l"/>
        <c:numFmt formatCode="#,##0.00_);[Red]\(#,##0.00\)" sourceLinked="0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193698848"/>
        <c:crosses val="autoZero"/>
        <c:crossBetween val="midCat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B5D-4643-A811-F7630166A2DD}"/>
              </c:ext>
            </c:extLst>
          </c:dPt>
          <c:dPt>
            <c:idx val="1"/>
            <c:bubble3D val="0"/>
            <c:spPr>
              <a:solidFill>
                <a:schemeClr val="accent5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B5D-4643-A811-F7630166A2DD}"/>
              </c:ext>
            </c:extLst>
          </c:dPt>
          <c:dPt>
            <c:idx val="2"/>
            <c:bubble3D val="0"/>
            <c:spPr>
              <a:solidFill>
                <a:schemeClr val="accent5">
                  <a:tint val="3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B5D-4643-A811-F7630166A2DD}"/>
              </c:ext>
            </c:extLst>
          </c:dPt>
          <c:cat>
            <c:strRef>
              <c:f>Sheet1!$A$2:$A$3</c:f>
              <c:strCache>
                <c:ptCount val="2"/>
                <c:pt idx="0">
                  <c:v>Post iFR≤0.89</c:v>
                </c:pt>
                <c:pt idx="1">
                  <c:v>Post iFR&gt;0.89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5D-4643-A811-F7630166A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7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with Residual Ischemia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5FC-47C7-B9BA-931E22B9F5A7}"/>
              </c:ext>
            </c:extLst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5FC-47C7-B9BA-931E22B9F5A7}"/>
              </c:ext>
            </c:extLst>
          </c:dPt>
          <c:dLbls>
            <c:dLbl>
              <c:idx val="0"/>
              <c:layout>
                <c:manualLayout>
                  <c:x val="0.21359673465772172"/>
                  <c:y val="-1.33846003749207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800" dirty="0"/>
                      <a:t>81.6%</a:t>
                    </a:r>
                  </a:p>
                  <a:p>
                    <a:pPr>
                      <a:defRPr sz="1800" b="1">
                        <a:solidFill>
                          <a:schemeClr val="bg1"/>
                        </a:solidFill>
                      </a:defRPr>
                    </a:pPr>
                    <a:r>
                      <a:rPr lang="en-US" sz="1800" dirty="0"/>
                      <a:t>Foca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685412418052147"/>
                      <c:h val="0.2843412557322728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5FC-47C7-B9BA-931E22B9F5A7}"/>
                </c:ext>
              </c:extLst>
            </c:dLbl>
            <c:dLbl>
              <c:idx val="1"/>
              <c:layout>
                <c:manualLayout>
                  <c:x val="-8.646486991514829E-2"/>
                  <c:y val="-1.378499575547198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300" dirty="0"/>
                      <a:t>18.4%</a:t>
                    </a:r>
                  </a:p>
                  <a:p>
                    <a:pPr>
                      <a:defRPr sz="1300" b="1">
                        <a:solidFill>
                          <a:schemeClr val="bg1"/>
                        </a:solidFill>
                      </a:defRPr>
                    </a:pPr>
                    <a:r>
                      <a:rPr lang="en-US" sz="1300" dirty="0"/>
                      <a:t>Diffuse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235128932688"/>
                      <c:h val="0.1975163570933299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5FC-47C7-B9BA-931E22B9F5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cal Stenosis</c:v>
                </c:pt>
                <c:pt idx="1">
                  <c:v>Diffuse Diseas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1599999999999995</c:v>
                </c:pt>
                <c:pt idx="1">
                  <c:v>0.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FC-47C7-B9BA-931E22B9F5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with Residual Ischemia</c:v>
                </c:pt>
              </c:strCache>
            </c:strRef>
          </c:tx>
          <c:dPt>
            <c:idx val="0"/>
            <c:bubble3D val="0"/>
            <c:explosion val="29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B7-4BB2-8658-574F9CBD4A0D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EB7-4BB2-8658-574F9CBD4A0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B7-4BB2-8658-574F9CBD4A0D}"/>
                </c:ext>
              </c:extLst>
            </c:dLbl>
            <c:dLbl>
              <c:idx val="1"/>
              <c:layout>
                <c:manualLayout>
                  <c:x val="0.10718054595285109"/>
                  <c:y val="0.1405931898719401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38.4%</a:t>
                    </a:r>
                  </a:p>
                  <a:p>
                    <a:pPr>
                      <a:defRPr sz="1400" b="1">
                        <a:solidFill>
                          <a:schemeClr val="bg1"/>
                        </a:solidFill>
                      </a:defRPr>
                    </a:pPr>
                    <a:r>
                      <a:rPr lang="en-US" sz="1400" dirty="0"/>
                      <a:t>In-stent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235128932688"/>
                      <c:h val="0.355392278631123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EB7-4BB2-8658-574F9CBD4A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cal Stenosis</c:v>
                </c:pt>
                <c:pt idx="1">
                  <c:v>Diffuse Diseas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1599999999999999</c:v>
                </c:pt>
                <c:pt idx="1">
                  <c:v>0.38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B7-4BB2-8658-574F9CBD4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with Residual Ischemia</c:v>
                </c:pt>
              </c:strCache>
            </c:strRef>
          </c:tx>
          <c:explosion val="38"/>
          <c:dPt>
            <c:idx val="0"/>
            <c:bubble3D val="0"/>
            <c:explosion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BC-48B2-B015-52E294479418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4BC-48B2-B015-52E29447941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BC-48B2-B015-52E294479418}"/>
                </c:ext>
              </c:extLst>
            </c:dLbl>
            <c:dLbl>
              <c:idx val="1"/>
              <c:layout>
                <c:manualLayout>
                  <c:x val="7.2326396787173772E-2"/>
                  <c:y val="0.1732219513886435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dirty="0"/>
                      <a:t>31.5%</a:t>
                    </a:r>
                  </a:p>
                  <a:p>
                    <a:pPr>
                      <a:defRPr sz="1200" b="1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/>
                      <a:t>Proxima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235128932688"/>
                      <c:h val="0.355392278631123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4BC-48B2-B015-52E2944794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cal Stenosis</c:v>
                </c:pt>
                <c:pt idx="1">
                  <c:v>Diffuse Diseas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8500000000000005</c:v>
                </c:pt>
                <c:pt idx="1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4BC-48B2-B015-52E2944794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with Residual Ischemia</c:v>
                </c:pt>
              </c:strCache>
            </c:strRef>
          </c:tx>
          <c:dPt>
            <c:idx val="0"/>
            <c:bubble3D val="0"/>
            <c:explosion val="15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B1-4564-AD07-95A2279787F0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B1-4564-AD07-95A2279787F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B1-4564-AD07-95A2279787F0}"/>
                </c:ext>
              </c:extLst>
            </c:dLbl>
            <c:dLbl>
              <c:idx val="1"/>
              <c:layout>
                <c:manualLayout>
                  <c:x val="0.12445264532984977"/>
                  <c:y val="0.1859494988009584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30.1%</a:t>
                    </a:r>
                  </a:p>
                  <a:p>
                    <a:pPr>
                      <a:defRPr sz="1400" b="1">
                        <a:solidFill>
                          <a:schemeClr val="bg1"/>
                        </a:solidFill>
                      </a:defRPr>
                    </a:pPr>
                    <a:r>
                      <a:rPr lang="en-US" sz="1400" dirty="0"/>
                      <a:t>Dista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235128932688"/>
                      <c:h val="0.355392278631123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DB1-4564-AD07-95A2279787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cal Stenosis</c:v>
                </c:pt>
                <c:pt idx="1">
                  <c:v>Diffuse Diseas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9899999999999995</c:v>
                </c:pt>
                <c:pt idx="1">
                  <c:v>0.300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B1-4564-AD07-95A227978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with Residual Ischemia</c:v>
                </c:pt>
              </c:strCache>
            </c:strRef>
          </c:tx>
          <c:dPt>
            <c:idx val="0"/>
            <c:bubble3D val="0"/>
            <c:explosion val="15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B1-4564-AD07-95A2279787F0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B1-4564-AD07-95A2279787F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B1-4564-AD07-95A2279787F0}"/>
                </c:ext>
              </c:extLst>
            </c:dLbl>
            <c:dLbl>
              <c:idx val="1"/>
              <c:layout>
                <c:manualLayout>
                  <c:x val="0.12445264532984977"/>
                  <c:y val="0.1859494988009584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30.1%</a:t>
                    </a:r>
                  </a:p>
                  <a:p>
                    <a:pPr>
                      <a:defRPr sz="1400" b="1">
                        <a:solidFill>
                          <a:schemeClr val="bg1"/>
                        </a:solidFill>
                      </a:defRPr>
                    </a:pPr>
                    <a:r>
                      <a:rPr lang="en-US" sz="1400" dirty="0"/>
                      <a:t>Dista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879235128932688"/>
                      <c:h val="0.3553922786311234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DB1-4564-AD07-95A2279787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Focal Stenosis</c:v>
                </c:pt>
                <c:pt idx="1">
                  <c:v>Diffuse Diseas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9899999999999995</c:v>
                </c:pt>
                <c:pt idx="1">
                  <c:v>0.300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B1-4564-AD07-95A227978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E2AA3B-F16E-8042-9BD6-5BB808E29AB5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6813A8-A861-8645-B07E-D6680F4835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043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5FCD248-A9A1-424B-B1F4-46FAE91D7317}" type="slidenum">
              <a:rPr lang="en-US" smtClean="0">
                <a:ea typeface="ヒラギノ角ゴ Pro W3"/>
                <a:cs typeface="ヒラギノ角ゴ Pro W3"/>
              </a:rPr>
              <a:pPr/>
              <a:t>2</a:t>
            </a:fld>
            <a:endParaRPr lang="en-US">
              <a:ea typeface="ヒラギノ角ゴ Pro W3"/>
              <a:cs typeface="ヒラギノ角ゴ Pro W3"/>
            </a:endParaRPr>
          </a:p>
        </p:txBody>
      </p:sp>
      <p:sp>
        <p:nvSpPr>
          <p:cNvPr id="1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6" y="4342781"/>
            <a:ext cx="5487629" cy="4115110"/>
          </a:xfrm>
          <a:noFill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6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242334">
              <a:defRPr/>
            </a:pPr>
            <a:r>
              <a:rPr lang="en-US" dirty="0"/>
              <a:t>iFR allows rapid assessment of the lesion without hyperemia, with pullback capability to interrogate the entire arte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09035-2A4D-4DEF-8CB7-76293891436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2076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odeled to improve from 0.84 ± 0.06 to 0.95 ± 0.0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09035-2A4D-4DEF-8CB7-76293891436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829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8ACDB3CC-F982-40F9-8DD6-BCC9AFBF44BD}" type="datetime1">
              <a:rPr lang="en-US" smtClean="0"/>
              <a:pPr/>
              <a:t>3/1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F88E988-FB04-AB4E-BE5A-59F242AF7F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BU Centered Paragrap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0" y="4772025"/>
            <a:ext cx="9144000" cy="37147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1500" baseline="0">
                <a:solidFill>
                  <a:srgbClr val="FFFFFF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736270" y="348716"/>
            <a:ext cx="3950530" cy="286263"/>
          </a:xfrm>
          <a:prstGeom prst="rect">
            <a:avLst/>
          </a:prstGeom>
        </p:spPr>
        <p:txBody>
          <a:bodyPr rIns="0">
            <a:noAutofit/>
          </a:bodyPr>
          <a:lstStyle>
            <a:lvl1pPr algn="r">
              <a:buFontTx/>
              <a:buNone/>
              <a:defRPr sz="1125" cap="all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57200" y="800101"/>
            <a:ext cx="8229600" cy="3905250"/>
          </a:xfrm>
        </p:spPr>
        <p:txBody>
          <a:bodyPr tIns="0" rIns="0" bIns="0" anchor="ctr"/>
          <a:lstStyle>
            <a:lvl1pPr algn="ctr">
              <a:buFontTx/>
              <a:buNone/>
              <a:defRPr>
                <a:solidFill>
                  <a:srgbClr val="B60225"/>
                </a:solidFill>
              </a:defRPr>
            </a:lvl1pPr>
            <a:lvl2pPr marL="171450" indent="-171450" algn="ctr">
              <a:buClr>
                <a:srgbClr val="C03137"/>
              </a:buClr>
              <a:buFontTx/>
              <a:buNone/>
              <a:defRPr sz="1800"/>
            </a:lvl2pPr>
            <a:lvl3pPr marL="344091" indent="-172641" algn="ctr">
              <a:buFontTx/>
              <a:buNone/>
              <a:defRPr/>
            </a:lvl3pPr>
            <a:lvl4pPr marL="344091" indent="-172641" algn="ctr">
              <a:buFontTx/>
              <a:buNone/>
              <a:defRPr/>
            </a:lvl4pPr>
            <a:lvl5pPr marL="344091" indent="-172641" algn="ctr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671178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1"/>
            <a:ext cx="158751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AC83BE2-57A6-D44C-8635-2CF4D4F68619}" type="datetime1">
              <a:rPr lang="en-US" smtClean="0"/>
              <a:t>3/17/2019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469600" y="4884456"/>
            <a:ext cx="6134400" cy="2590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2018 Koninklijke Philips N.V. All rights reserved. Approved for internal distribution. DXXXXXX-XX MMYYYY 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552" y="1161001"/>
            <a:ext cx="8064896" cy="3462977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34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700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841" y="138639"/>
            <a:ext cx="8444162" cy="781923"/>
          </a:xfrm>
        </p:spPr>
        <p:txBody>
          <a:bodyPr/>
          <a:lstStyle>
            <a:lvl1pPr algn="l">
              <a:defRPr>
                <a:solidFill>
                  <a:srgbClr val="245C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1841" y="1338831"/>
            <a:ext cx="8679521" cy="24965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955557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830416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4A9E7B99-7C3F-4BC3-B7B8-7E1F8C620B24}" type="datetime1">
              <a:rPr lang="en-US" smtClean="0"/>
              <a:pPr/>
              <a:t>3/1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1AF2B4D-6B12-4EDF-87BB-2B55CECB66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394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55555"/>
            <a:ext cx="4038600" cy="31390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5555"/>
            <a:ext cx="4038600" cy="31390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0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3/17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24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3/17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712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224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C6B1FF6-39B9-40F5-8B67-33C6354A3D4F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220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C2560D-EC28-3B41-86E8-18F1CE0113B4}" type="datetimeFigureOut">
              <a:rPr lang="en-US" smtClean="0"/>
              <a:t>3/1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983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285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38639"/>
            <a:ext cx="8444162" cy="7819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1841" y="1059201"/>
            <a:ext cx="8679521" cy="33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  <p:sldLayoutId id="2147493458" r:id="rId3"/>
    <p:sldLayoutId id="2147493459" r:id="rId4"/>
    <p:sldLayoutId id="2147493460" r:id="rId5"/>
    <p:sldLayoutId id="2147493461" r:id="rId6"/>
    <p:sldLayoutId id="2147493462" r:id="rId7"/>
    <p:sldLayoutId id="2147493463" r:id="rId8"/>
    <p:sldLayoutId id="2147493464" r:id="rId9"/>
    <p:sldLayoutId id="2147493469" r:id="rId10"/>
    <p:sldLayoutId id="2147493470" r:id="rId11"/>
  </p:sldLayoutIdLst>
  <p:txStyles>
    <p:titleStyle>
      <a:lvl1pPr algn="r" defTabSz="457200" rtl="0" eaLnBrk="1" latinLnBrk="0" hangingPunct="1">
        <a:spcBef>
          <a:spcPct val="0"/>
        </a:spcBef>
        <a:buNone/>
        <a:defRPr sz="3600" b="1" i="0" kern="1200">
          <a:solidFill>
            <a:srgbClr val="0B5569"/>
          </a:solidFill>
          <a:latin typeface="Arial Narrow"/>
          <a:ea typeface="+mj-ea"/>
          <a:cs typeface="Arial Narrow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/>
          </a:solidFill>
          <a:latin typeface="Arial Narrow"/>
          <a:ea typeface="+mn-ea"/>
          <a:cs typeface="Arial Narrow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b="0" i="0" kern="1200">
          <a:solidFill>
            <a:schemeClr val="tx1"/>
          </a:solidFill>
          <a:latin typeface="Arial Narrow"/>
          <a:ea typeface="+mn-ea"/>
          <a:cs typeface="Arial Narrow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Arial Narrow"/>
          <a:ea typeface="+mn-ea"/>
          <a:cs typeface="Arial Narrow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Arial Narrow"/>
          <a:ea typeface="+mn-ea"/>
          <a:cs typeface="Arial Narrow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0" i="0" kern="120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"/>
            <a:ext cx="9143999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79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8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microsoft.com/office/2007/relationships/media" Target="../media/media2.wmv"/><Relationship Id="rId7" Type="http://schemas.openxmlformats.org/officeDocument/2006/relationships/image" Target="../media/image12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1.png"/><Relationship Id="rId5" Type="http://schemas.openxmlformats.org/officeDocument/2006/relationships/slideLayout" Target="../slideLayouts/slideLayout7.xml"/><Relationship Id="rId4" Type="http://schemas.openxmlformats.org/officeDocument/2006/relationships/video" Target="../media/media2.wmv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G"/><Relationship Id="rId4" Type="http://schemas.openxmlformats.org/officeDocument/2006/relationships/chart" Target="../charts/char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G"/><Relationship Id="rId4" Type="http://schemas.openxmlformats.org/officeDocument/2006/relationships/chart" Target="../charts/char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G"/><Relationship Id="rId4" Type="http://schemas.openxmlformats.org/officeDocument/2006/relationships/chart" Target="../charts/char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9">
            <a:extLst>
              <a:ext uri="{FF2B5EF4-FFF2-40B4-BE49-F238E27FC236}">
                <a16:creationId xmlns:a16="http://schemas.microsoft.com/office/drawing/2014/main" id="{D45FCFA4-62BE-4E9C-971C-A93D686130B6}"/>
              </a:ext>
            </a:extLst>
          </p:cNvPr>
          <p:cNvSpPr txBox="1">
            <a:spLocks noChangeArrowheads="1"/>
          </p:cNvSpPr>
          <p:nvPr/>
        </p:nvSpPr>
        <p:spPr>
          <a:xfrm>
            <a:off x="4521757" y="1500172"/>
            <a:ext cx="4795156" cy="2308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bg1"/>
                </a:solidFill>
                <a:latin typeface="Arial Narrow" panose="020B0606020202030204" pitchFamily="34" charset="0"/>
              </a:rPr>
              <a:t>Blinded Physiological Assessment of Residual Ischemia after Successful Angiographic PCI </a:t>
            </a:r>
          </a:p>
          <a:p>
            <a:endParaRPr lang="en-US" sz="33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endParaRPr lang="en-US" sz="33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B9E941-F931-4907-BDC7-7A5E9AE01A3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300" y="499667"/>
            <a:ext cx="2911929" cy="4727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7DBCFF-5390-4FF9-BCB7-505AC962AEA8}"/>
              </a:ext>
            </a:extLst>
          </p:cNvPr>
          <p:cNvSpPr/>
          <p:nvPr/>
        </p:nvSpPr>
        <p:spPr>
          <a:xfrm>
            <a:off x="4245428" y="3687041"/>
            <a:ext cx="4955722" cy="11572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rgbClr val="CCFF33"/>
              </a:buClr>
              <a:buSzPct val="70000"/>
              <a:buFont typeface="Wingdings" pitchFamily="2" charset="2"/>
              <a:buNone/>
            </a:pPr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Allen Jeremias, MD, MSc</a:t>
            </a:r>
          </a:p>
          <a:p>
            <a:pPr>
              <a:spcBef>
                <a:spcPct val="20000"/>
              </a:spcBef>
              <a:buClr>
                <a:srgbClr val="CCFF33"/>
              </a:buClr>
              <a:buSzPct val="70000"/>
              <a:buFont typeface="Wingdings" pitchFamily="2" charset="2"/>
              <a:buNone/>
            </a:pPr>
            <a:endParaRPr lang="en-US" sz="5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>
              <a:spcBef>
                <a:spcPct val="20000"/>
              </a:spcBef>
              <a:buClr>
                <a:srgbClr val="CCFF33"/>
              </a:buClr>
              <a:buSzPct val="70000"/>
            </a:pPr>
            <a:r>
              <a:rPr lang="en-US" i="1" dirty="0">
                <a:solidFill>
                  <a:schemeClr val="bg1"/>
                </a:solidFill>
                <a:latin typeface="Arial Narrow" panose="020B0606020202030204" pitchFamily="34" charset="0"/>
              </a:rPr>
              <a:t>On behalf of Justin Davies, Manesh Patel, Gregg Stone </a:t>
            </a:r>
          </a:p>
          <a:p>
            <a:pPr algn="ctr">
              <a:spcBef>
                <a:spcPct val="20000"/>
              </a:spcBef>
              <a:buClr>
                <a:srgbClr val="CCFF33"/>
              </a:buClr>
              <a:buSzPct val="70000"/>
            </a:pPr>
            <a:r>
              <a:rPr lang="en-US" i="1" dirty="0">
                <a:solidFill>
                  <a:schemeClr val="bg1"/>
                </a:solidFill>
                <a:latin typeface="Arial Narrow" panose="020B0606020202030204" pitchFamily="34" charset="0"/>
              </a:rPr>
              <a:t>and the DEFINE PCI Investigators</a:t>
            </a:r>
          </a:p>
        </p:txBody>
      </p:sp>
    </p:spTree>
    <p:extLst>
      <p:ext uri="{BB962C8B-B14F-4D97-AF65-F5344CB8AC3E}">
        <p14:creationId xmlns:p14="http://schemas.microsoft.com/office/powerpoint/2010/main" val="29391439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49293AE5-8E9F-4943-8993-CF6F45E5BF89}"/>
              </a:ext>
            </a:extLst>
          </p:cNvPr>
          <p:cNvSpPr/>
          <p:nvPr/>
        </p:nvSpPr>
        <p:spPr>
          <a:xfrm>
            <a:off x="1" y="4438751"/>
            <a:ext cx="4403170" cy="352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1CBD9BC-5A2B-4A2E-807E-533CE9FA449F}"/>
              </a:ext>
            </a:extLst>
          </p:cNvPr>
          <p:cNvCxnSpPr>
            <a:cxnSpLocks/>
          </p:cNvCxnSpPr>
          <p:nvPr/>
        </p:nvCxnSpPr>
        <p:spPr>
          <a:xfrm>
            <a:off x="4432300" y="773736"/>
            <a:ext cx="0" cy="5539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E062B0-9D28-4C7F-AA94-89ECF15358D9}"/>
              </a:ext>
            </a:extLst>
          </p:cNvPr>
          <p:cNvSpPr/>
          <p:nvPr/>
        </p:nvSpPr>
        <p:spPr>
          <a:xfrm>
            <a:off x="1371603" y="141511"/>
            <a:ext cx="6196690" cy="655183"/>
          </a:xfrm>
          <a:prstGeom prst="roundRect">
            <a:avLst/>
          </a:prstGeom>
          <a:solidFill>
            <a:srgbClr val="002060"/>
          </a:solidFill>
          <a:ln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E18824-F067-41A6-9332-8200173B8083}"/>
              </a:ext>
            </a:extLst>
          </p:cNvPr>
          <p:cNvCxnSpPr>
            <a:cxnSpLocks/>
          </p:cNvCxnSpPr>
          <p:nvPr/>
        </p:nvCxnSpPr>
        <p:spPr>
          <a:xfrm>
            <a:off x="2607729" y="1328305"/>
            <a:ext cx="3649137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52E732-E3D4-41A0-B6D9-836956917BBF}"/>
              </a:ext>
            </a:extLst>
          </p:cNvPr>
          <p:cNvCxnSpPr>
            <a:cxnSpLocks/>
            <a:endCxn id="18" idx="2"/>
          </p:cNvCxnSpPr>
          <p:nvPr/>
        </p:nvCxnSpPr>
        <p:spPr>
          <a:xfrm>
            <a:off x="6244167" y="1329571"/>
            <a:ext cx="10580" cy="14866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4D7903F-D2B1-48CB-9BEB-BDB4A54323BE}"/>
              </a:ext>
            </a:extLst>
          </p:cNvPr>
          <p:cNvCxnSpPr>
            <a:cxnSpLocks/>
          </p:cNvCxnSpPr>
          <p:nvPr/>
        </p:nvCxnSpPr>
        <p:spPr>
          <a:xfrm>
            <a:off x="2611966" y="1328306"/>
            <a:ext cx="0" cy="34633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7110AA3-A958-4E20-AF6F-4A5AE034400C}"/>
              </a:ext>
            </a:extLst>
          </p:cNvPr>
          <p:cNvSpPr/>
          <p:nvPr/>
        </p:nvSpPr>
        <p:spPr>
          <a:xfrm>
            <a:off x="1490133" y="1441891"/>
            <a:ext cx="2235191" cy="448822"/>
          </a:xfrm>
          <a:prstGeom prst="roundRect">
            <a:avLst/>
          </a:prstGeom>
          <a:solidFill>
            <a:srgbClr val="008E8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016BA52-0F8F-4C30-ABCA-B1FC3109A87F}"/>
              </a:ext>
            </a:extLst>
          </p:cNvPr>
          <p:cNvSpPr/>
          <p:nvPr/>
        </p:nvSpPr>
        <p:spPr>
          <a:xfrm>
            <a:off x="840924" y="1957310"/>
            <a:ext cx="3554690" cy="89789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C8BDE8A-52C6-4676-B779-4001D74FB2BE}"/>
              </a:ext>
            </a:extLst>
          </p:cNvPr>
          <p:cNvSpPr/>
          <p:nvPr/>
        </p:nvSpPr>
        <p:spPr>
          <a:xfrm>
            <a:off x="848480" y="3953163"/>
            <a:ext cx="3554690" cy="515323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0898294-6728-4339-8C6F-0BA06F3FBBCF}"/>
              </a:ext>
            </a:extLst>
          </p:cNvPr>
          <p:cNvSpPr/>
          <p:nvPr/>
        </p:nvSpPr>
        <p:spPr>
          <a:xfrm>
            <a:off x="5137151" y="2029775"/>
            <a:ext cx="2235191" cy="78641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0C7709C-E5A8-44D3-A803-8A0D25A20CC1}"/>
              </a:ext>
            </a:extLst>
          </p:cNvPr>
          <p:cNvSpPr/>
          <p:nvPr/>
        </p:nvSpPr>
        <p:spPr>
          <a:xfrm>
            <a:off x="1439347" y="104718"/>
            <a:ext cx="60536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chemeClr val="bg1"/>
                </a:solidFill>
                <a:cs typeface="Arial" panose="020B0604020202020204" pitchFamily="34" charset="0"/>
              </a:rPr>
              <a:t>DEFINE PCI</a:t>
            </a:r>
          </a:p>
          <a:p>
            <a:pPr lvl="0" algn="ctr"/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Patients with stable and unstable angina (N = 500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15C89EF-70C4-4905-810B-0548AF2E5F33}"/>
              </a:ext>
            </a:extLst>
          </p:cNvPr>
          <p:cNvSpPr/>
          <p:nvPr/>
        </p:nvSpPr>
        <p:spPr>
          <a:xfrm>
            <a:off x="1567543" y="881432"/>
            <a:ext cx="5794218" cy="32777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E9A5E4-2B1D-458A-A8FC-B21533E6984A}"/>
              </a:ext>
            </a:extLst>
          </p:cNvPr>
          <p:cNvSpPr/>
          <p:nvPr/>
        </p:nvSpPr>
        <p:spPr>
          <a:xfrm>
            <a:off x="1375836" y="855267"/>
            <a:ext cx="611293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700" dirty="0" err="1">
                <a:solidFill>
                  <a:schemeClr val="bg1"/>
                </a:solidFill>
                <a:cs typeface="Arial" panose="020B0604020202020204" pitchFamily="34" charset="0"/>
              </a:rPr>
              <a:t>iFR</a:t>
            </a:r>
            <a:r>
              <a:rPr lang="en-US" sz="1700" dirty="0">
                <a:solidFill>
                  <a:schemeClr val="bg1"/>
                </a:solidFill>
                <a:cs typeface="Arial" panose="020B0604020202020204" pitchFamily="34" charset="0"/>
              </a:rPr>
              <a:t> of all vessels with angiographic lesions ≥ 40% stenosis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4207375-8CA4-4824-9899-B65553B10772}"/>
              </a:ext>
            </a:extLst>
          </p:cNvPr>
          <p:cNvSpPr/>
          <p:nvPr/>
        </p:nvSpPr>
        <p:spPr>
          <a:xfrm>
            <a:off x="840924" y="2930296"/>
            <a:ext cx="3554690" cy="449707"/>
          </a:xfrm>
          <a:prstGeom prst="roundRect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032C12-23A2-4A4F-A726-E393D54DC65F}"/>
              </a:ext>
            </a:extLst>
          </p:cNvPr>
          <p:cNvSpPr/>
          <p:nvPr/>
        </p:nvSpPr>
        <p:spPr>
          <a:xfrm>
            <a:off x="1671415" y="1519270"/>
            <a:ext cx="187262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≤0.8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DC0308-92D0-440F-8E3D-653DE26D51B2}"/>
              </a:ext>
            </a:extLst>
          </p:cNvPr>
          <p:cNvSpPr/>
          <p:nvPr/>
        </p:nvSpPr>
        <p:spPr>
          <a:xfrm>
            <a:off x="881137" y="2000795"/>
            <a:ext cx="348272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of care algorithm for PCI as per local operators</a:t>
            </a:r>
          </a:p>
          <a:p>
            <a:pPr lvl="0"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ntravascular imaging optional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CA762F-FA0D-43EC-8ADE-47FDC9A0D617}"/>
              </a:ext>
            </a:extLst>
          </p:cNvPr>
          <p:cNvSpPr/>
          <p:nvPr/>
        </p:nvSpPr>
        <p:spPr>
          <a:xfrm>
            <a:off x="856645" y="2996506"/>
            <a:ext cx="3515712" cy="326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ful angiographic PCI result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367BA0FF-10C8-4665-86C8-9BA74B001BF6}"/>
              </a:ext>
            </a:extLst>
          </p:cNvPr>
          <p:cNvSpPr/>
          <p:nvPr/>
        </p:nvSpPr>
        <p:spPr>
          <a:xfrm>
            <a:off x="838201" y="3441921"/>
            <a:ext cx="3554690" cy="449707"/>
          </a:xfrm>
          <a:prstGeom prst="roundRect">
            <a:avLst/>
          </a:prstGeom>
          <a:solidFill>
            <a:srgbClr val="3276C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2AD3C0-654A-4472-973E-FDDC06AD4A0A}"/>
              </a:ext>
            </a:extLst>
          </p:cNvPr>
          <p:cNvSpPr/>
          <p:nvPr/>
        </p:nvSpPr>
        <p:spPr>
          <a:xfrm>
            <a:off x="956053" y="3519153"/>
            <a:ext cx="332815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inded final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llback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4E66EA8-D56B-4E58-B0DB-59E695126FB0}"/>
              </a:ext>
            </a:extLst>
          </p:cNvPr>
          <p:cNvSpPr/>
          <p:nvPr/>
        </p:nvSpPr>
        <p:spPr>
          <a:xfrm>
            <a:off x="919157" y="4060566"/>
            <a:ext cx="34202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line Directed Medical Therapy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2B48AB91-D107-426D-810F-60070333899B}"/>
              </a:ext>
            </a:extLst>
          </p:cNvPr>
          <p:cNvSpPr/>
          <p:nvPr/>
        </p:nvSpPr>
        <p:spPr>
          <a:xfrm>
            <a:off x="5126571" y="1439647"/>
            <a:ext cx="2235191" cy="448822"/>
          </a:xfrm>
          <a:prstGeom prst="roundRect">
            <a:avLst/>
          </a:prstGeom>
          <a:solidFill>
            <a:srgbClr val="008E8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BFD22E-B780-4BBD-8D80-8E09740F1459}"/>
              </a:ext>
            </a:extLst>
          </p:cNvPr>
          <p:cNvSpPr/>
          <p:nvPr/>
        </p:nvSpPr>
        <p:spPr>
          <a:xfrm>
            <a:off x="5307853" y="1517026"/>
            <a:ext cx="187262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0.89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9891242-A2A8-415D-BE20-3A504AA7F314}"/>
              </a:ext>
            </a:extLst>
          </p:cNvPr>
          <p:cNvSpPr/>
          <p:nvPr/>
        </p:nvSpPr>
        <p:spPr>
          <a:xfrm>
            <a:off x="5126571" y="2162798"/>
            <a:ext cx="22457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line Directed Medical Therapy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1B1C7BF0-EA43-445A-AA1F-07A7209050F2}"/>
              </a:ext>
            </a:extLst>
          </p:cNvPr>
          <p:cNvSpPr/>
          <p:nvPr/>
        </p:nvSpPr>
        <p:spPr>
          <a:xfrm>
            <a:off x="851916" y="4523506"/>
            <a:ext cx="3554690" cy="466075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16E8DE4-D902-4A3E-8F0B-809658C90A46}"/>
              </a:ext>
            </a:extLst>
          </p:cNvPr>
          <p:cNvSpPr/>
          <p:nvPr/>
        </p:nvSpPr>
        <p:spPr>
          <a:xfrm>
            <a:off x="881137" y="4586065"/>
            <a:ext cx="35254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day, 6 month &amp; 1 year follow up</a:t>
            </a:r>
          </a:p>
        </p:txBody>
      </p:sp>
    </p:spTree>
    <p:extLst>
      <p:ext uri="{BB962C8B-B14F-4D97-AF65-F5344CB8AC3E}">
        <p14:creationId xmlns:p14="http://schemas.microsoft.com/office/powerpoint/2010/main" val="1494178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608DA85F-F599-674A-8E36-3CC31BD01A58}"/>
              </a:ext>
            </a:extLst>
          </p:cNvPr>
          <p:cNvGrpSpPr/>
          <p:nvPr/>
        </p:nvGrpSpPr>
        <p:grpSpPr>
          <a:xfrm>
            <a:off x="930730" y="1028553"/>
            <a:ext cx="2505736" cy="2077173"/>
            <a:chOff x="547200" y="1580712"/>
            <a:chExt cx="2602269" cy="2365372"/>
          </a:xfrm>
          <a:solidFill>
            <a:schemeClr val="tx2"/>
          </a:solidFill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4EEB7A6-12F6-F447-BEAE-DFB83E92F810}"/>
                </a:ext>
              </a:extLst>
            </p:cNvPr>
            <p:cNvGrpSpPr/>
            <p:nvPr/>
          </p:nvGrpSpPr>
          <p:grpSpPr>
            <a:xfrm>
              <a:off x="547200" y="2101896"/>
              <a:ext cx="2274992" cy="1724306"/>
              <a:chOff x="547200" y="2101896"/>
              <a:chExt cx="2274992" cy="1724306"/>
            </a:xfrm>
            <a:grpFill/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3EED937-EAAA-3F45-9D8F-869D4E37DD00}"/>
                  </a:ext>
                </a:extLst>
              </p:cNvPr>
              <p:cNvGrpSpPr/>
              <p:nvPr/>
            </p:nvGrpSpPr>
            <p:grpSpPr>
              <a:xfrm>
                <a:off x="723689" y="3726364"/>
                <a:ext cx="124968" cy="99838"/>
                <a:chOff x="723689" y="3726364"/>
                <a:chExt cx="124968" cy="99838"/>
              </a:xfrm>
              <a:grpFill/>
            </p:grpSpPr>
            <p:sp>
              <p:nvSpPr>
                <p:cNvPr id="68" name="Freeform 1">
                  <a:extLst>
                    <a:ext uri="{FF2B5EF4-FFF2-40B4-BE49-F238E27FC236}">
                      <a16:creationId xmlns:a16="http://schemas.microsoft.com/office/drawing/2014/main" id="{43C01467-261E-3444-B0D6-2DDA3A2976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3689" y="3739529"/>
                  <a:ext cx="8770" cy="4388"/>
                </a:xfrm>
                <a:custGeom>
                  <a:avLst/>
                  <a:gdLst>
                    <a:gd name="T0" fmla="*/ 105 w 106"/>
                    <a:gd name="T1" fmla="*/ 0 h 52"/>
                    <a:gd name="T2" fmla="*/ 105 w 106"/>
                    <a:gd name="T3" fmla="*/ 0 h 52"/>
                    <a:gd name="T4" fmla="*/ 54 w 106"/>
                    <a:gd name="T5" fmla="*/ 51 h 52"/>
                    <a:gd name="T6" fmla="*/ 105 w 106"/>
                    <a:gd name="T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6" h="52">
                      <a:moveTo>
                        <a:pt x="105" y="0"/>
                      </a:moveTo>
                      <a:lnTo>
                        <a:pt x="105" y="0"/>
                      </a:lnTo>
                      <a:cubicBezTo>
                        <a:pt x="54" y="51"/>
                        <a:pt x="54" y="51"/>
                        <a:pt x="54" y="51"/>
                      </a:cubicBezTo>
                      <a:cubicBezTo>
                        <a:pt x="0" y="51"/>
                        <a:pt x="105" y="0"/>
                        <a:pt x="105" y="0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9" name="Freeform 2">
                  <a:extLst>
                    <a:ext uri="{FF2B5EF4-FFF2-40B4-BE49-F238E27FC236}">
                      <a16:creationId xmlns:a16="http://schemas.microsoft.com/office/drawing/2014/main" id="{6254B1E0-41D7-0D4A-9DBD-D7F315C065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3116" y="3761106"/>
                  <a:ext cx="12789" cy="4388"/>
                </a:xfrm>
                <a:custGeom>
                  <a:avLst/>
                  <a:gdLst>
                    <a:gd name="T0" fmla="*/ 101 w 156"/>
                    <a:gd name="T1" fmla="*/ 0 h 52"/>
                    <a:gd name="T2" fmla="*/ 101 w 156"/>
                    <a:gd name="T3" fmla="*/ 0 h 52"/>
                    <a:gd name="T4" fmla="*/ 101 w 156"/>
                    <a:gd name="T5" fmla="*/ 0 h 52"/>
                    <a:gd name="T6" fmla="*/ 155 w 156"/>
                    <a:gd name="T7" fmla="*/ 0 h 52"/>
                    <a:gd name="T8" fmla="*/ 101 w 156"/>
                    <a:gd name="T9" fmla="*/ 51 h 52"/>
                    <a:gd name="T10" fmla="*/ 50 w 156"/>
                    <a:gd name="T11" fmla="*/ 51 h 52"/>
                    <a:gd name="T12" fmla="*/ 0 w 156"/>
                    <a:gd name="T13" fmla="*/ 51 h 52"/>
                    <a:gd name="T14" fmla="*/ 0 w 156"/>
                    <a:gd name="T15" fmla="*/ 0 h 52"/>
                    <a:gd name="T16" fmla="*/ 101 w 156"/>
                    <a:gd name="T1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6" h="52">
                      <a:moveTo>
                        <a:pt x="101" y="0"/>
                      </a:moveTo>
                      <a:lnTo>
                        <a:pt x="101" y="0"/>
                      </a:lnTo>
                      <a:lnTo>
                        <a:pt x="101" y="0"/>
                      </a:ln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51"/>
                        <a:pt x="101" y="51"/>
                      </a:cubicBezTo>
                      <a:cubicBezTo>
                        <a:pt x="101" y="51"/>
                        <a:pt x="101" y="51"/>
                        <a:pt x="50" y="51"/>
                      </a:cubicBezTo>
                      <a:cubicBezTo>
                        <a:pt x="50" y="51"/>
                        <a:pt x="50" y="51"/>
                        <a:pt x="0" y="5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0" y="0"/>
                        <a:pt x="50" y="0"/>
                        <a:pt x="101" y="0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0" name="Freeform 3">
                  <a:extLst>
                    <a:ext uri="{FF2B5EF4-FFF2-40B4-BE49-F238E27FC236}">
                      <a16:creationId xmlns:a16="http://schemas.microsoft.com/office/drawing/2014/main" id="{C233884C-F7DE-5A4C-9480-3A8B8CC255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5905" y="3778294"/>
                  <a:ext cx="8770" cy="4388"/>
                </a:xfrm>
                <a:custGeom>
                  <a:avLst/>
                  <a:gdLst>
                    <a:gd name="T0" fmla="*/ 51 w 105"/>
                    <a:gd name="T1" fmla="*/ 0 h 52"/>
                    <a:gd name="T2" fmla="*/ 51 w 105"/>
                    <a:gd name="T3" fmla="*/ 0 h 52"/>
                    <a:gd name="T4" fmla="*/ 0 w 105"/>
                    <a:gd name="T5" fmla="*/ 0 h 52"/>
                    <a:gd name="T6" fmla="*/ 51 w 105"/>
                    <a:gd name="T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5" h="52">
                      <a:moveTo>
                        <a:pt x="51" y="0"/>
                      </a:moveTo>
                      <a:lnTo>
                        <a:pt x="51" y="0"/>
                      </a:lnTo>
                      <a:cubicBezTo>
                        <a:pt x="104" y="0"/>
                        <a:pt x="51" y="51"/>
                        <a:pt x="0" y="0"/>
                      </a:cubicBezTo>
                      <a:cubicBezTo>
                        <a:pt x="51" y="0"/>
                        <a:pt x="51" y="0"/>
                        <a:pt x="51" y="0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1" name="Freeform 4">
                  <a:extLst>
                    <a:ext uri="{FF2B5EF4-FFF2-40B4-BE49-F238E27FC236}">
                      <a16:creationId xmlns:a16="http://schemas.microsoft.com/office/drawing/2014/main" id="{2E0E0FF3-FCBB-D746-B7C5-9A68BD20A2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135" y="3769517"/>
                  <a:ext cx="8770" cy="8777"/>
                </a:xfrm>
                <a:custGeom>
                  <a:avLst/>
                  <a:gdLst>
                    <a:gd name="T0" fmla="*/ 51 w 106"/>
                    <a:gd name="T1" fmla="*/ 0 h 106"/>
                    <a:gd name="T2" fmla="*/ 51 w 106"/>
                    <a:gd name="T3" fmla="*/ 0 h 106"/>
                    <a:gd name="T4" fmla="*/ 105 w 106"/>
                    <a:gd name="T5" fmla="*/ 0 h 106"/>
                    <a:gd name="T6" fmla="*/ 105 w 106"/>
                    <a:gd name="T7" fmla="*/ 51 h 106"/>
                    <a:gd name="T8" fmla="*/ 51 w 106"/>
                    <a:gd name="T9" fmla="*/ 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6" h="106">
                      <a:moveTo>
                        <a:pt x="51" y="0"/>
                      </a:moveTo>
                      <a:lnTo>
                        <a:pt x="51" y="0"/>
                      </a:lnTo>
                      <a:cubicBezTo>
                        <a:pt x="0" y="0"/>
                        <a:pt x="51" y="0"/>
                        <a:pt x="105" y="0"/>
                      </a:cubicBezTo>
                      <a:cubicBezTo>
                        <a:pt x="105" y="51"/>
                        <a:pt x="105" y="51"/>
                        <a:pt x="105" y="51"/>
                      </a:cubicBezTo>
                      <a:cubicBezTo>
                        <a:pt x="51" y="105"/>
                        <a:pt x="51" y="51"/>
                        <a:pt x="51" y="0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2" name="Freeform 5">
                  <a:extLst>
                    <a:ext uri="{FF2B5EF4-FFF2-40B4-BE49-F238E27FC236}">
                      <a16:creationId xmlns:a16="http://schemas.microsoft.com/office/drawing/2014/main" id="{C1EC7E19-2DD6-6347-8D38-205EAB9780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6844" y="3726364"/>
                  <a:ext cx="13155" cy="17553"/>
                </a:xfrm>
                <a:custGeom>
                  <a:avLst/>
                  <a:gdLst>
                    <a:gd name="T0" fmla="*/ 158 w 159"/>
                    <a:gd name="T1" fmla="*/ 158 h 210"/>
                    <a:gd name="T2" fmla="*/ 158 w 159"/>
                    <a:gd name="T3" fmla="*/ 158 h 210"/>
                    <a:gd name="T4" fmla="*/ 0 w 159"/>
                    <a:gd name="T5" fmla="*/ 158 h 210"/>
                    <a:gd name="T6" fmla="*/ 158 w 159"/>
                    <a:gd name="T7" fmla="*/ 158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9" h="210">
                      <a:moveTo>
                        <a:pt x="158" y="158"/>
                      </a:moveTo>
                      <a:lnTo>
                        <a:pt x="158" y="158"/>
                      </a:lnTo>
                      <a:cubicBezTo>
                        <a:pt x="158" y="209"/>
                        <a:pt x="0" y="158"/>
                        <a:pt x="0" y="158"/>
                      </a:cubicBezTo>
                      <a:cubicBezTo>
                        <a:pt x="0" y="104"/>
                        <a:pt x="158" y="0"/>
                        <a:pt x="158" y="158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3" name="Freeform 6">
                  <a:extLst>
                    <a:ext uri="{FF2B5EF4-FFF2-40B4-BE49-F238E27FC236}">
                      <a16:creationId xmlns:a16="http://schemas.microsoft.com/office/drawing/2014/main" id="{CAB6666D-3880-0F4C-9817-1FF7994D87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1557" y="3748306"/>
                  <a:ext cx="12789" cy="17188"/>
                </a:xfrm>
                <a:custGeom>
                  <a:avLst/>
                  <a:gdLst>
                    <a:gd name="T0" fmla="*/ 101 w 156"/>
                    <a:gd name="T1" fmla="*/ 0 h 208"/>
                    <a:gd name="T2" fmla="*/ 101 w 156"/>
                    <a:gd name="T3" fmla="*/ 0 h 208"/>
                    <a:gd name="T4" fmla="*/ 155 w 156"/>
                    <a:gd name="T5" fmla="*/ 105 h 208"/>
                    <a:gd name="T6" fmla="*/ 155 w 156"/>
                    <a:gd name="T7" fmla="*/ 105 h 208"/>
                    <a:gd name="T8" fmla="*/ 155 w 156"/>
                    <a:gd name="T9" fmla="*/ 105 h 208"/>
                    <a:gd name="T10" fmla="*/ 155 w 156"/>
                    <a:gd name="T11" fmla="*/ 156 h 208"/>
                    <a:gd name="T12" fmla="*/ 101 w 156"/>
                    <a:gd name="T13" fmla="*/ 105 h 208"/>
                    <a:gd name="T14" fmla="*/ 0 w 156"/>
                    <a:gd name="T15" fmla="*/ 51 h 208"/>
                    <a:gd name="T16" fmla="*/ 50 w 156"/>
                    <a:gd name="T17" fmla="*/ 51 h 208"/>
                    <a:gd name="T18" fmla="*/ 101 w 156"/>
                    <a:gd name="T19" fmla="*/ 0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6" h="208">
                      <a:moveTo>
                        <a:pt x="101" y="0"/>
                      </a:moveTo>
                      <a:lnTo>
                        <a:pt x="101" y="0"/>
                      </a:lnTo>
                      <a:cubicBezTo>
                        <a:pt x="101" y="0"/>
                        <a:pt x="101" y="51"/>
                        <a:pt x="155" y="105"/>
                      </a:cubicBezTo>
                      <a:cubicBezTo>
                        <a:pt x="155" y="105"/>
                        <a:pt x="155" y="51"/>
                        <a:pt x="155" y="105"/>
                      </a:cubicBezTo>
                      <a:lnTo>
                        <a:pt x="155" y="105"/>
                      </a:lnTo>
                      <a:cubicBezTo>
                        <a:pt x="155" y="156"/>
                        <a:pt x="155" y="156"/>
                        <a:pt x="155" y="156"/>
                      </a:cubicBezTo>
                      <a:cubicBezTo>
                        <a:pt x="101" y="105"/>
                        <a:pt x="101" y="105"/>
                        <a:pt x="101" y="105"/>
                      </a:cubicBezTo>
                      <a:cubicBezTo>
                        <a:pt x="101" y="105"/>
                        <a:pt x="50" y="207"/>
                        <a:pt x="0" y="51"/>
                      </a:cubicBezTo>
                      <a:cubicBezTo>
                        <a:pt x="0" y="0"/>
                        <a:pt x="50" y="51"/>
                        <a:pt x="50" y="51"/>
                      </a:cubicBezTo>
                      <a:cubicBezTo>
                        <a:pt x="50" y="0"/>
                        <a:pt x="101" y="0"/>
                        <a:pt x="101" y="0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4" name="Freeform 7">
                  <a:extLst>
                    <a:ext uri="{FF2B5EF4-FFF2-40B4-BE49-F238E27FC236}">
                      <a16:creationId xmlns:a16="http://schemas.microsoft.com/office/drawing/2014/main" id="{50E07548-13C3-5A48-AEC9-786AD0F0BC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5905" y="3765129"/>
                  <a:ext cx="21559" cy="13165"/>
                </a:xfrm>
                <a:custGeom>
                  <a:avLst/>
                  <a:gdLst>
                    <a:gd name="T0" fmla="*/ 155 w 261"/>
                    <a:gd name="T1" fmla="*/ 53 h 159"/>
                    <a:gd name="T2" fmla="*/ 155 w 261"/>
                    <a:gd name="T3" fmla="*/ 53 h 159"/>
                    <a:gd name="T4" fmla="*/ 155 w 261"/>
                    <a:gd name="T5" fmla="*/ 53 h 159"/>
                    <a:gd name="T6" fmla="*/ 104 w 261"/>
                    <a:gd name="T7" fmla="*/ 158 h 159"/>
                    <a:gd name="T8" fmla="*/ 104 w 261"/>
                    <a:gd name="T9" fmla="*/ 104 h 159"/>
                    <a:gd name="T10" fmla="*/ 0 w 261"/>
                    <a:gd name="T11" fmla="*/ 53 h 159"/>
                    <a:gd name="T12" fmla="*/ 51 w 261"/>
                    <a:gd name="T13" fmla="*/ 0 h 159"/>
                    <a:gd name="T14" fmla="*/ 104 w 261"/>
                    <a:gd name="T15" fmla="*/ 53 h 159"/>
                    <a:gd name="T16" fmla="*/ 155 w 261"/>
                    <a:gd name="T17" fmla="*/ 53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1" h="159">
                      <a:moveTo>
                        <a:pt x="155" y="53"/>
                      </a:moveTo>
                      <a:lnTo>
                        <a:pt x="155" y="53"/>
                      </a:lnTo>
                      <a:lnTo>
                        <a:pt x="155" y="53"/>
                      </a:lnTo>
                      <a:cubicBezTo>
                        <a:pt x="260" y="158"/>
                        <a:pt x="104" y="158"/>
                        <a:pt x="104" y="158"/>
                      </a:cubicBezTo>
                      <a:cubicBezTo>
                        <a:pt x="51" y="158"/>
                        <a:pt x="104" y="104"/>
                        <a:pt x="104" y="104"/>
                      </a:cubicBezTo>
                      <a:cubicBezTo>
                        <a:pt x="51" y="53"/>
                        <a:pt x="51" y="53"/>
                        <a:pt x="0" y="53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53"/>
                        <a:pt x="104" y="53"/>
                      </a:cubicBezTo>
                      <a:cubicBezTo>
                        <a:pt x="104" y="53"/>
                        <a:pt x="104" y="53"/>
                        <a:pt x="155" y="53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5" name="Freeform 8">
                  <a:extLst>
                    <a:ext uri="{FF2B5EF4-FFF2-40B4-BE49-F238E27FC236}">
                      <a16:creationId xmlns:a16="http://schemas.microsoft.com/office/drawing/2014/main" id="{983E80B2-F85C-BA4B-B112-EDCBBEAED0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2714" y="3787072"/>
                  <a:ext cx="25943" cy="39130"/>
                </a:xfrm>
                <a:custGeom>
                  <a:avLst/>
                  <a:gdLst>
                    <a:gd name="T0" fmla="*/ 105 w 315"/>
                    <a:gd name="T1" fmla="*/ 415 h 470"/>
                    <a:gd name="T2" fmla="*/ 105 w 315"/>
                    <a:gd name="T3" fmla="*/ 415 h 470"/>
                    <a:gd name="T4" fmla="*/ 0 w 315"/>
                    <a:gd name="T5" fmla="*/ 415 h 470"/>
                    <a:gd name="T6" fmla="*/ 0 w 315"/>
                    <a:gd name="T7" fmla="*/ 260 h 470"/>
                    <a:gd name="T8" fmla="*/ 0 w 315"/>
                    <a:gd name="T9" fmla="*/ 260 h 470"/>
                    <a:gd name="T10" fmla="*/ 0 w 315"/>
                    <a:gd name="T11" fmla="*/ 209 h 470"/>
                    <a:gd name="T12" fmla="*/ 54 w 315"/>
                    <a:gd name="T13" fmla="*/ 105 h 470"/>
                    <a:gd name="T14" fmla="*/ 54 w 315"/>
                    <a:gd name="T15" fmla="*/ 0 h 470"/>
                    <a:gd name="T16" fmla="*/ 54 w 315"/>
                    <a:gd name="T17" fmla="*/ 0 h 470"/>
                    <a:gd name="T18" fmla="*/ 209 w 315"/>
                    <a:gd name="T19" fmla="*/ 105 h 470"/>
                    <a:gd name="T20" fmla="*/ 260 w 315"/>
                    <a:gd name="T21" fmla="*/ 209 h 470"/>
                    <a:gd name="T22" fmla="*/ 260 w 315"/>
                    <a:gd name="T23" fmla="*/ 209 h 470"/>
                    <a:gd name="T24" fmla="*/ 314 w 315"/>
                    <a:gd name="T25" fmla="*/ 209 h 470"/>
                    <a:gd name="T26" fmla="*/ 314 w 315"/>
                    <a:gd name="T27" fmla="*/ 260 h 470"/>
                    <a:gd name="T28" fmla="*/ 314 w 315"/>
                    <a:gd name="T29" fmla="*/ 260 h 470"/>
                    <a:gd name="T30" fmla="*/ 105 w 315"/>
                    <a:gd name="T31" fmla="*/ 415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15" h="470">
                      <a:moveTo>
                        <a:pt x="105" y="415"/>
                      </a:moveTo>
                      <a:lnTo>
                        <a:pt x="105" y="415"/>
                      </a:lnTo>
                      <a:cubicBezTo>
                        <a:pt x="105" y="469"/>
                        <a:pt x="54" y="415"/>
                        <a:pt x="0" y="415"/>
                      </a:cubicBezTo>
                      <a:cubicBezTo>
                        <a:pt x="0" y="365"/>
                        <a:pt x="0" y="311"/>
                        <a:pt x="0" y="260"/>
                      </a:cubicBezTo>
                      <a:lnTo>
                        <a:pt x="0" y="260"/>
                      </a:lnTo>
                      <a:cubicBezTo>
                        <a:pt x="0" y="209"/>
                        <a:pt x="0" y="209"/>
                        <a:pt x="0" y="209"/>
                      </a:cubicBezTo>
                      <a:cubicBezTo>
                        <a:pt x="0" y="156"/>
                        <a:pt x="54" y="105"/>
                        <a:pt x="54" y="105"/>
                      </a:cubicBezTo>
                      <a:cubicBezTo>
                        <a:pt x="54" y="105"/>
                        <a:pt x="0" y="0"/>
                        <a:pt x="54" y="0"/>
                      </a:cubicBezTo>
                      <a:lnTo>
                        <a:pt x="54" y="0"/>
                      </a:lnTo>
                      <a:cubicBezTo>
                        <a:pt x="105" y="0"/>
                        <a:pt x="209" y="105"/>
                        <a:pt x="209" y="105"/>
                      </a:cubicBezTo>
                      <a:cubicBezTo>
                        <a:pt x="260" y="105"/>
                        <a:pt x="260" y="156"/>
                        <a:pt x="260" y="209"/>
                      </a:cubicBezTo>
                      <a:cubicBezTo>
                        <a:pt x="260" y="209"/>
                        <a:pt x="260" y="156"/>
                        <a:pt x="260" y="209"/>
                      </a:cubicBezTo>
                      <a:cubicBezTo>
                        <a:pt x="260" y="209"/>
                        <a:pt x="260" y="209"/>
                        <a:pt x="314" y="209"/>
                      </a:cubicBezTo>
                      <a:cubicBezTo>
                        <a:pt x="314" y="260"/>
                        <a:pt x="314" y="260"/>
                        <a:pt x="314" y="260"/>
                      </a:cubicBezTo>
                      <a:lnTo>
                        <a:pt x="314" y="260"/>
                      </a:lnTo>
                      <a:cubicBezTo>
                        <a:pt x="314" y="365"/>
                        <a:pt x="158" y="311"/>
                        <a:pt x="105" y="415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2A0B4D25-1843-C24B-AD56-FDDE9A86879D}"/>
                  </a:ext>
                </a:extLst>
              </p:cNvPr>
              <p:cNvGrpSpPr/>
              <p:nvPr/>
            </p:nvGrpSpPr>
            <p:grpSpPr>
              <a:xfrm>
                <a:off x="547200" y="2101896"/>
                <a:ext cx="2274992" cy="1555349"/>
                <a:chOff x="547200" y="2101896"/>
                <a:chExt cx="2274992" cy="1555349"/>
              </a:xfrm>
              <a:grpFill/>
            </p:grpSpPr>
            <p:sp>
              <p:nvSpPr>
                <p:cNvPr id="50" name="Freeform 10">
                  <a:extLst>
                    <a:ext uri="{FF2B5EF4-FFF2-40B4-BE49-F238E27FC236}">
                      <a16:creationId xmlns:a16="http://schemas.microsoft.com/office/drawing/2014/main" id="{CFF984CE-1951-1E45-AC6F-A34B794DFA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5381" y="2909741"/>
                  <a:ext cx="1296811" cy="747504"/>
                </a:xfrm>
                <a:custGeom>
                  <a:avLst/>
                  <a:gdLst>
                    <a:gd name="T0" fmla="*/ 14452 w 15648"/>
                    <a:gd name="T1" fmla="*/ 1719 h 9014"/>
                    <a:gd name="T2" fmla="*/ 14658 w 15648"/>
                    <a:gd name="T3" fmla="*/ 1510 h 9014"/>
                    <a:gd name="T4" fmla="*/ 15023 w 15648"/>
                    <a:gd name="T5" fmla="*/ 783 h 9014"/>
                    <a:gd name="T6" fmla="*/ 15438 w 15648"/>
                    <a:gd name="T7" fmla="*/ 1041 h 9014"/>
                    <a:gd name="T8" fmla="*/ 15542 w 15648"/>
                    <a:gd name="T9" fmla="*/ 1666 h 9014"/>
                    <a:gd name="T10" fmla="*/ 15283 w 15648"/>
                    <a:gd name="T11" fmla="*/ 1979 h 9014"/>
                    <a:gd name="T12" fmla="*/ 14763 w 15648"/>
                    <a:gd name="T13" fmla="*/ 2188 h 9014"/>
                    <a:gd name="T14" fmla="*/ 14712 w 15648"/>
                    <a:gd name="T15" fmla="*/ 2917 h 9014"/>
                    <a:gd name="T16" fmla="*/ 14712 w 15648"/>
                    <a:gd name="T17" fmla="*/ 3073 h 9014"/>
                    <a:gd name="T18" fmla="*/ 14088 w 15648"/>
                    <a:gd name="T19" fmla="*/ 3177 h 9014"/>
                    <a:gd name="T20" fmla="*/ 13514 w 15648"/>
                    <a:gd name="T21" fmla="*/ 3960 h 9014"/>
                    <a:gd name="T22" fmla="*/ 13412 w 15648"/>
                    <a:gd name="T23" fmla="*/ 4064 h 9014"/>
                    <a:gd name="T24" fmla="*/ 13254 w 15648"/>
                    <a:gd name="T25" fmla="*/ 4273 h 9014"/>
                    <a:gd name="T26" fmla="*/ 13152 w 15648"/>
                    <a:gd name="T27" fmla="*/ 3909 h 9014"/>
                    <a:gd name="T28" fmla="*/ 13048 w 15648"/>
                    <a:gd name="T29" fmla="*/ 4324 h 9014"/>
                    <a:gd name="T30" fmla="*/ 13099 w 15648"/>
                    <a:gd name="T31" fmla="*/ 4793 h 9014"/>
                    <a:gd name="T32" fmla="*/ 12994 w 15648"/>
                    <a:gd name="T33" fmla="*/ 5053 h 9014"/>
                    <a:gd name="T34" fmla="*/ 13203 w 15648"/>
                    <a:gd name="T35" fmla="*/ 5315 h 9014"/>
                    <a:gd name="T36" fmla="*/ 13152 w 15648"/>
                    <a:gd name="T37" fmla="*/ 5420 h 9014"/>
                    <a:gd name="T38" fmla="*/ 12268 w 15648"/>
                    <a:gd name="T39" fmla="*/ 6200 h 9014"/>
                    <a:gd name="T40" fmla="*/ 12008 w 15648"/>
                    <a:gd name="T41" fmla="*/ 7815 h 9014"/>
                    <a:gd name="T42" fmla="*/ 11904 w 15648"/>
                    <a:gd name="T43" fmla="*/ 8909 h 9014"/>
                    <a:gd name="T44" fmla="*/ 11593 w 15648"/>
                    <a:gd name="T45" fmla="*/ 8389 h 9014"/>
                    <a:gd name="T46" fmla="*/ 11384 w 15648"/>
                    <a:gd name="T47" fmla="*/ 7815 h 9014"/>
                    <a:gd name="T48" fmla="*/ 10655 w 15648"/>
                    <a:gd name="T49" fmla="*/ 7296 h 9014"/>
                    <a:gd name="T50" fmla="*/ 10031 w 15648"/>
                    <a:gd name="T51" fmla="*/ 7087 h 9014"/>
                    <a:gd name="T52" fmla="*/ 9355 w 15648"/>
                    <a:gd name="T53" fmla="*/ 7242 h 9014"/>
                    <a:gd name="T54" fmla="*/ 9564 w 15648"/>
                    <a:gd name="T55" fmla="*/ 7400 h 9014"/>
                    <a:gd name="T56" fmla="*/ 9355 w 15648"/>
                    <a:gd name="T57" fmla="*/ 7556 h 9014"/>
                    <a:gd name="T58" fmla="*/ 8889 w 15648"/>
                    <a:gd name="T59" fmla="*/ 7296 h 9014"/>
                    <a:gd name="T60" fmla="*/ 8211 w 15648"/>
                    <a:gd name="T61" fmla="*/ 7400 h 9014"/>
                    <a:gd name="T62" fmla="*/ 7691 w 15648"/>
                    <a:gd name="T63" fmla="*/ 7765 h 9014"/>
                    <a:gd name="T64" fmla="*/ 7432 w 15648"/>
                    <a:gd name="T65" fmla="*/ 8649 h 9014"/>
                    <a:gd name="T66" fmla="*/ 5717 w 15648"/>
                    <a:gd name="T67" fmla="*/ 7556 h 9014"/>
                    <a:gd name="T68" fmla="*/ 4522 w 15648"/>
                    <a:gd name="T69" fmla="*/ 6773 h 9014"/>
                    <a:gd name="T70" fmla="*/ 2079 w 15648"/>
                    <a:gd name="T71" fmla="*/ 6358 h 9014"/>
                    <a:gd name="T72" fmla="*/ 988 w 15648"/>
                    <a:gd name="T73" fmla="*/ 5262 h 9014"/>
                    <a:gd name="T74" fmla="*/ 259 w 15648"/>
                    <a:gd name="T75" fmla="*/ 3855 h 9014"/>
                    <a:gd name="T76" fmla="*/ 104 w 15648"/>
                    <a:gd name="T77" fmla="*/ 627 h 9014"/>
                    <a:gd name="T78" fmla="*/ 570 w 15648"/>
                    <a:gd name="T79" fmla="*/ 469 h 9014"/>
                    <a:gd name="T80" fmla="*/ 8056 w 15648"/>
                    <a:gd name="T81" fmla="*/ 54 h 9014"/>
                    <a:gd name="T82" fmla="*/ 8785 w 15648"/>
                    <a:gd name="T83" fmla="*/ 469 h 9014"/>
                    <a:gd name="T84" fmla="*/ 9045 w 15648"/>
                    <a:gd name="T85" fmla="*/ 833 h 9014"/>
                    <a:gd name="T86" fmla="*/ 9409 w 15648"/>
                    <a:gd name="T87" fmla="*/ 1095 h 9014"/>
                    <a:gd name="T88" fmla="*/ 10189 w 15648"/>
                    <a:gd name="T89" fmla="*/ 1146 h 9014"/>
                    <a:gd name="T90" fmla="*/ 10969 w 15648"/>
                    <a:gd name="T91" fmla="*/ 1197 h 9014"/>
                    <a:gd name="T92" fmla="*/ 10449 w 15648"/>
                    <a:gd name="T93" fmla="*/ 1355 h 9014"/>
                    <a:gd name="T94" fmla="*/ 10031 w 15648"/>
                    <a:gd name="T95" fmla="*/ 1770 h 9014"/>
                    <a:gd name="T96" fmla="*/ 10031 w 15648"/>
                    <a:gd name="T97" fmla="*/ 2188 h 9014"/>
                    <a:gd name="T98" fmla="*/ 10395 w 15648"/>
                    <a:gd name="T99" fmla="*/ 2344 h 9014"/>
                    <a:gd name="T100" fmla="*/ 10604 w 15648"/>
                    <a:gd name="T101" fmla="*/ 1824 h 9014"/>
                    <a:gd name="T102" fmla="*/ 11073 w 15648"/>
                    <a:gd name="T103" fmla="*/ 1564 h 9014"/>
                    <a:gd name="T104" fmla="*/ 11124 w 15648"/>
                    <a:gd name="T105" fmla="*/ 2293 h 9014"/>
                    <a:gd name="T106" fmla="*/ 11435 w 15648"/>
                    <a:gd name="T107" fmla="*/ 2657 h 9014"/>
                    <a:gd name="T108" fmla="*/ 11384 w 15648"/>
                    <a:gd name="T109" fmla="*/ 3022 h 9014"/>
                    <a:gd name="T110" fmla="*/ 12423 w 15648"/>
                    <a:gd name="T111" fmla="*/ 2604 h 9014"/>
                    <a:gd name="T112" fmla="*/ 12734 w 15648"/>
                    <a:gd name="T113" fmla="*/ 2397 h 9014"/>
                    <a:gd name="T114" fmla="*/ 13152 w 15648"/>
                    <a:gd name="T115" fmla="*/ 2033 h 90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648" h="9014">
                      <a:moveTo>
                        <a:pt x="13568" y="1719"/>
                      </a:moveTo>
                      <a:lnTo>
                        <a:pt x="13568" y="1719"/>
                      </a:lnTo>
                      <a:cubicBezTo>
                        <a:pt x="13568" y="1770"/>
                        <a:pt x="13619" y="1719"/>
                        <a:pt x="13672" y="1719"/>
                      </a:cubicBezTo>
                      <a:cubicBezTo>
                        <a:pt x="14452" y="1719"/>
                        <a:pt x="14452" y="1719"/>
                        <a:pt x="14452" y="1719"/>
                      </a:cubicBezTo>
                      <a:cubicBezTo>
                        <a:pt x="14452" y="1615"/>
                        <a:pt x="14452" y="1615"/>
                        <a:pt x="14503" y="1615"/>
                      </a:cubicBezTo>
                      <a:cubicBezTo>
                        <a:pt x="14554" y="1666"/>
                        <a:pt x="14554" y="1615"/>
                        <a:pt x="14554" y="1615"/>
                      </a:cubicBezTo>
                      <a:cubicBezTo>
                        <a:pt x="14607" y="1666"/>
                        <a:pt x="14607" y="1564"/>
                        <a:pt x="14658" y="1564"/>
                      </a:cubicBezTo>
                      <a:cubicBezTo>
                        <a:pt x="14712" y="1564"/>
                        <a:pt x="14554" y="1564"/>
                        <a:pt x="14658" y="1510"/>
                      </a:cubicBezTo>
                      <a:cubicBezTo>
                        <a:pt x="14763" y="1406"/>
                        <a:pt x="14658" y="1459"/>
                        <a:pt x="14763" y="1406"/>
                      </a:cubicBezTo>
                      <a:cubicBezTo>
                        <a:pt x="14814" y="1355"/>
                        <a:pt x="14712" y="1301"/>
                        <a:pt x="14814" y="1197"/>
                      </a:cubicBezTo>
                      <a:cubicBezTo>
                        <a:pt x="14867" y="1146"/>
                        <a:pt x="14763" y="1146"/>
                        <a:pt x="14867" y="1041"/>
                      </a:cubicBezTo>
                      <a:cubicBezTo>
                        <a:pt x="14918" y="937"/>
                        <a:pt x="15023" y="783"/>
                        <a:pt x="15023" y="783"/>
                      </a:cubicBezTo>
                      <a:cubicBezTo>
                        <a:pt x="15023" y="783"/>
                        <a:pt x="15074" y="783"/>
                        <a:pt x="15074" y="833"/>
                      </a:cubicBezTo>
                      <a:cubicBezTo>
                        <a:pt x="15074" y="886"/>
                        <a:pt x="15127" y="886"/>
                        <a:pt x="15178" y="886"/>
                      </a:cubicBezTo>
                      <a:cubicBezTo>
                        <a:pt x="15232" y="833"/>
                        <a:pt x="15283" y="783"/>
                        <a:pt x="15333" y="886"/>
                      </a:cubicBezTo>
                      <a:cubicBezTo>
                        <a:pt x="15438" y="937"/>
                        <a:pt x="15438" y="937"/>
                        <a:pt x="15438" y="1041"/>
                      </a:cubicBezTo>
                      <a:cubicBezTo>
                        <a:pt x="15438" y="1095"/>
                        <a:pt x="15438" y="1355"/>
                        <a:pt x="15438" y="1406"/>
                      </a:cubicBezTo>
                      <a:cubicBezTo>
                        <a:pt x="15438" y="1459"/>
                        <a:pt x="15387" y="1459"/>
                        <a:pt x="15438" y="1459"/>
                      </a:cubicBezTo>
                      <a:cubicBezTo>
                        <a:pt x="15492" y="1510"/>
                        <a:pt x="15492" y="1510"/>
                        <a:pt x="15492" y="1510"/>
                      </a:cubicBezTo>
                      <a:cubicBezTo>
                        <a:pt x="15492" y="1564"/>
                        <a:pt x="15492" y="1666"/>
                        <a:pt x="15542" y="1666"/>
                      </a:cubicBezTo>
                      <a:cubicBezTo>
                        <a:pt x="15593" y="1666"/>
                        <a:pt x="15593" y="1719"/>
                        <a:pt x="15593" y="1770"/>
                      </a:cubicBezTo>
                      <a:cubicBezTo>
                        <a:pt x="15647" y="1824"/>
                        <a:pt x="15647" y="1770"/>
                        <a:pt x="15593" y="1875"/>
                      </a:cubicBezTo>
                      <a:cubicBezTo>
                        <a:pt x="15542" y="1928"/>
                        <a:pt x="15492" y="1875"/>
                        <a:pt x="15387" y="1928"/>
                      </a:cubicBezTo>
                      <a:cubicBezTo>
                        <a:pt x="15333" y="2033"/>
                        <a:pt x="15333" y="1928"/>
                        <a:pt x="15283" y="1979"/>
                      </a:cubicBezTo>
                      <a:cubicBezTo>
                        <a:pt x="15232" y="1979"/>
                        <a:pt x="15283" y="2033"/>
                        <a:pt x="15178" y="1979"/>
                      </a:cubicBezTo>
                      <a:cubicBezTo>
                        <a:pt x="15074" y="1928"/>
                        <a:pt x="15127" y="2135"/>
                        <a:pt x="15023" y="2135"/>
                      </a:cubicBezTo>
                      <a:cubicBezTo>
                        <a:pt x="14972" y="2135"/>
                        <a:pt x="14972" y="2188"/>
                        <a:pt x="14918" y="2239"/>
                      </a:cubicBezTo>
                      <a:cubicBezTo>
                        <a:pt x="14814" y="2293"/>
                        <a:pt x="14814" y="2188"/>
                        <a:pt x="14763" y="2188"/>
                      </a:cubicBezTo>
                      <a:cubicBezTo>
                        <a:pt x="14712" y="2239"/>
                        <a:pt x="14814" y="2239"/>
                        <a:pt x="14763" y="2293"/>
                      </a:cubicBezTo>
                      <a:cubicBezTo>
                        <a:pt x="14658" y="2397"/>
                        <a:pt x="14607" y="2604"/>
                        <a:pt x="14658" y="2604"/>
                      </a:cubicBezTo>
                      <a:cubicBezTo>
                        <a:pt x="14712" y="2657"/>
                        <a:pt x="14503" y="2762"/>
                        <a:pt x="14607" y="2762"/>
                      </a:cubicBezTo>
                      <a:cubicBezTo>
                        <a:pt x="14658" y="2813"/>
                        <a:pt x="14658" y="2813"/>
                        <a:pt x="14712" y="2917"/>
                      </a:cubicBezTo>
                      <a:cubicBezTo>
                        <a:pt x="14712" y="3022"/>
                        <a:pt x="14814" y="2971"/>
                        <a:pt x="14814" y="2917"/>
                      </a:cubicBezTo>
                      <a:cubicBezTo>
                        <a:pt x="14814" y="2866"/>
                        <a:pt x="14763" y="2866"/>
                        <a:pt x="14763" y="2866"/>
                      </a:cubicBezTo>
                      <a:cubicBezTo>
                        <a:pt x="14814" y="2813"/>
                        <a:pt x="14814" y="2866"/>
                        <a:pt x="14867" y="2971"/>
                      </a:cubicBezTo>
                      <a:cubicBezTo>
                        <a:pt x="14867" y="3073"/>
                        <a:pt x="14763" y="2971"/>
                        <a:pt x="14712" y="3073"/>
                      </a:cubicBezTo>
                      <a:cubicBezTo>
                        <a:pt x="14607" y="3126"/>
                        <a:pt x="14712" y="2917"/>
                        <a:pt x="14607" y="3022"/>
                      </a:cubicBezTo>
                      <a:cubicBezTo>
                        <a:pt x="14503" y="3126"/>
                        <a:pt x="14503" y="3073"/>
                        <a:pt x="14503" y="3022"/>
                      </a:cubicBezTo>
                      <a:cubicBezTo>
                        <a:pt x="14452" y="2917"/>
                        <a:pt x="14452" y="3022"/>
                        <a:pt x="14452" y="3073"/>
                      </a:cubicBezTo>
                      <a:cubicBezTo>
                        <a:pt x="14452" y="3126"/>
                        <a:pt x="14192" y="3126"/>
                        <a:pt x="14088" y="3177"/>
                      </a:cubicBezTo>
                      <a:cubicBezTo>
                        <a:pt x="13983" y="3177"/>
                        <a:pt x="13828" y="3282"/>
                        <a:pt x="13723" y="3335"/>
                      </a:cubicBezTo>
                      <a:cubicBezTo>
                        <a:pt x="13672" y="3440"/>
                        <a:pt x="13672" y="3491"/>
                        <a:pt x="13723" y="3491"/>
                      </a:cubicBezTo>
                      <a:cubicBezTo>
                        <a:pt x="13828" y="3491"/>
                        <a:pt x="13723" y="3646"/>
                        <a:pt x="13672" y="3804"/>
                      </a:cubicBezTo>
                      <a:cubicBezTo>
                        <a:pt x="13568" y="3960"/>
                        <a:pt x="13463" y="4115"/>
                        <a:pt x="13514" y="3960"/>
                      </a:cubicBezTo>
                      <a:cubicBezTo>
                        <a:pt x="13514" y="3855"/>
                        <a:pt x="13463" y="4013"/>
                        <a:pt x="13359" y="3855"/>
                      </a:cubicBezTo>
                      <a:cubicBezTo>
                        <a:pt x="13254" y="3700"/>
                        <a:pt x="13514" y="3595"/>
                        <a:pt x="13412" y="3646"/>
                      </a:cubicBezTo>
                      <a:cubicBezTo>
                        <a:pt x="13308" y="3700"/>
                        <a:pt x="13308" y="3751"/>
                        <a:pt x="13308" y="3855"/>
                      </a:cubicBezTo>
                      <a:cubicBezTo>
                        <a:pt x="13359" y="3960"/>
                        <a:pt x="13359" y="4064"/>
                        <a:pt x="13412" y="4064"/>
                      </a:cubicBezTo>
                      <a:cubicBezTo>
                        <a:pt x="13463" y="4064"/>
                        <a:pt x="13514" y="4169"/>
                        <a:pt x="13412" y="4324"/>
                      </a:cubicBezTo>
                      <a:cubicBezTo>
                        <a:pt x="13308" y="4428"/>
                        <a:pt x="13254" y="4688"/>
                        <a:pt x="13203" y="4688"/>
                      </a:cubicBezTo>
                      <a:cubicBezTo>
                        <a:pt x="13152" y="4638"/>
                        <a:pt x="13308" y="4428"/>
                        <a:pt x="13254" y="4378"/>
                      </a:cubicBezTo>
                      <a:cubicBezTo>
                        <a:pt x="13203" y="4378"/>
                        <a:pt x="13254" y="4378"/>
                        <a:pt x="13254" y="4273"/>
                      </a:cubicBezTo>
                      <a:cubicBezTo>
                        <a:pt x="13203" y="4219"/>
                        <a:pt x="13203" y="4324"/>
                        <a:pt x="13152" y="4273"/>
                      </a:cubicBezTo>
                      <a:cubicBezTo>
                        <a:pt x="13099" y="4219"/>
                        <a:pt x="13152" y="4219"/>
                        <a:pt x="13152" y="4169"/>
                      </a:cubicBezTo>
                      <a:cubicBezTo>
                        <a:pt x="13099" y="4115"/>
                        <a:pt x="13152" y="4115"/>
                        <a:pt x="13152" y="4064"/>
                      </a:cubicBezTo>
                      <a:cubicBezTo>
                        <a:pt x="13099" y="4013"/>
                        <a:pt x="13099" y="3960"/>
                        <a:pt x="13152" y="3909"/>
                      </a:cubicBezTo>
                      <a:cubicBezTo>
                        <a:pt x="13152" y="3855"/>
                        <a:pt x="13203" y="3804"/>
                        <a:pt x="13152" y="3855"/>
                      </a:cubicBezTo>
                      <a:cubicBezTo>
                        <a:pt x="13099" y="3909"/>
                        <a:pt x="13099" y="3909"/>
                        <a:pt x="13099" y="4013"/>
                      </a:cubicBezTo>
                      <a:cubicBezTo>
                        <a:pt x="13048" y="4064"/>
                        <a:pt x="13048" y="4115"/>
                        <a:pt x="13099" y="4219"/>
                      </a:cubicBezTo>
                      <a:cubicBezTo>
                        <a:pt x="13099" y="4324"/>
                        <a:pt x="13152" y="4378"/>
                        <a:pt x="13048" y="4324"/>
                      </a:cubicBezTo>
                      <a:cubicBezTo>
                        <a:pt x="12943" y="4219"/>
                        <a:pt x="12994" y="4273"/>
                        <a:pt x="13099" y="4378"/>
                      </a:cubicBezTo>
                      <a:cubicBezTo>
                        <a:pt x="13203" y="4428"/>
                        <a:pt x="13099" y="4378"/>
                        <a:pt x="13152" y="4533"/>
                      </a:cubicBezTo>
                      <a:cubicBezTo>
                        <a:pt x="13152" y="4688"/>
                        <a:pt x="13048" y="4584"/>
                        <a:pt x="13099" y="4638"/>
                      </a:cubicBezTo>
                      <a:cubicBezTo>
                        <a:pt x="13203" y="4688"/>
                        <a:pt x="13048" y="4793"/>
                        <a:pt x="13099" y="4793"/>
                      </a:cubicBezTo>
                      <a:cubicBezTo>
                        <a:pt x="13152" y="4742"/>
                        <a:pt x="13203" y="4688"/>
                        <a:pt x="13254" y="4793"/>
                      </a:cubicBezTo>
                      <a:cubicBezTo>
                        <a:pt x="13308" y="5106"/>
                        <a:pt x="13359" y="5157"/>
                        <a:pt x="13359" y="5157"/>
                      </a:cubicBezTo>
                      <a:cubicBezTo>
                        <a:pt x="13308" y="5157"/>
                        <a:pt x="13254" y="4951"/>
                        <a:pt x="13152" y="5053"/>
                      </a:cubicBezTo>
                      <a:cubicBezTo>
                        <a:pt x="13048" y="5157"/>
                        <a:pt x="12994" y="5002"/>
                        <a:pt x="12994" y="5053"/>
                      </a:cubicBezTo>
                      <a:cubicBezTo>
                        <a:pt x="12994" y="5106"/>
                        <a:pt x="12994" y="5157"/>
                        <a:pt x="13099" y="5106"/>
                      </a:cubicBezTo>
                      <a:cubicBezTo>
                        <a:pt x="13254" y="5106"/>
                        <a:pt x="13203" y="5157"/>
                        <a:pt x="13254" y="5106"/>
                      </a:cubicBezTo>
                      <a:cubicBezTo>
                        <a:pt x="13254" y="5106"/>
                        <a:pt x="13308" y="5106"/>
                        <a:pt x="13254" y="5211"/>
                      </a:cubicBezTo>
                      <a:cubicBezTo>
                        <a:pt x="13254" y="5315"/>
                        <a:pt x="13254" y="5211"/>
                        <a:pt x="13203" y="5315"/>
                      </a:cubicBezTo>
                      <a:cubicBezTo>
                        <a:pt x="13152" y="5366"/>
                        <a:pt x="13152" y="5315"/>
                        <a:pt x="13048" y="5315"/>
                      </a:cubicBezTo>
                      <a:cubicBezTo>
                        <a:pt x="12892" y="5262"/>
                        <a:pt x="13099" y="5315"/>
                        <a:pt x="13048" y="5420"/>
                      </a:cubicBezTo>
                      <a:cubicBezTo>
                        <a:pt x="12994" y="5471"/>
                        <a:pt x="12943" y="5420"/>
                        <a:pt x="12994" y="5471"/>
                      </a:cubicBezTo>
                      <a:cubicBezTo>
                        <a:pt x="13048" y="5522"/>
                        <a:pt x="13099" y="5420"/>
                        <a:pt x="13152" y="5420"/>
                      </a:cubicBezTo>
                      <a:cubicBezTo>
                        <a:pt x="13152" y="5471"/>
                        <a:pt x="13152" y="5522"/>
                        <a:pt x="12994" y="5575"/>
                      </a:cubicBezTo>
                      <a:cubicBezTo>
                        <a:pt x="12892" y="5575"/>
                        <a:pt x="12734" y="5680"/>
                        <a:pt x="12734" y="5784"/>
                      </a:cubicBezTo>
                      <a:cubicBezTo>
                        <a:pt x="12683" y="5889"/>
                        <a:pt x="12633" y="5784"/>
                        <a:pt x="12474" y="5889"/>
                      </a:cubicBezTo>
                      <a:cubicBezTo>
                        <a:pt x="12319" y="5991"/>
                        <a:pt x="12373" y="6149"/>
                        <a:pt x="12268" y="6200"/>
                      </a:cubicBezTo>
                      <a:cubicBezTo>
                        <a:pt x="12214" y="6200"/>
                        <a:pt x="12164" y="6358"/>
                        <a:pt x="12059" y="6358"/>
                      </a:cubicBezTo>
                      <a:cubicBezTo>
                        <a:pt x="11955" y="6358"/>
                        <a:pt x="12059" y="6358"/>
                        <a:pt x="11955" y="6409"/>
                      </a:cubicBezTo>
                      <a:cubicBezTo>
                        <a:pt x="11904" y="6513"/>
                        <a:pt x="11695" y="6722"/>
                        <a:pt x="11748" y="7138"/>
                      </a:cubicBezTo>
                      <a:cubicBezTo>
                        <a:pt x="11799" y="7556"/>
                        <a:pt x="12008" y="7711"/>
                        <a:pt x="12008" y="7815"/>
                      </a:cubicBezTo>
                      <a:cubicBezTo>
                        <a:pt x="11955" y="7971"/>
                        <a:pt x="12164" y="8284"/>
                        <a:pt x="12113" y="8440"/>
                      </a:cubicBezTo>
                      <a:cubicBezTo>
                        <a:pt x="12113" y="8544"/>
                        <a:pt x="12113" y="8649"/>
                        <a:pt x="12059" y="8753"/>
                      </a:cubicBezTo>
                      <a:cubicBezTo>
                        <a:pt x="12008" y="8807"/>
                        <a:pt x="12113" y="8807"/>
                        <a:pt x="12008" y="8909"/>
                      </a:cubicBezTo>
                      <a:cubicBezTo>
                        <a:pt x="11955" y="9013"/>
                        <a:pt x="12008" y="8858"/>
                        <a:pt x="11904" y="8909"/>
                      </a:cubicBezTo>
                      <a:cubicBezTo>
                        <a:pt x="11853" y="8962"/>
                        <a:pt x="11799" y="8909"/>
                        <a:pt x="11853" y="8858"/>
                      </a:cubicBezTo>
                      <a:cubicBezTo>
                        <a:pt x="11853" y="8807"/>
                        <a:pt x="11799" y="8909"/>
                        <a:pt x="11799" y="8753"/>
                      </a:cubicBezTo>
                      <a:cubicBezTo>
                        <a:pt x="11748" y="8598"/>
                        <a:pt x="11695" y="8702"/>
                        <a:pt x="11644" y="8544"/>
                      </a:cubicBezTo>
                      <a:cubicBezTo>
                        <a:pt x="11644" y="8440"/>
                        <a:pt x="11593" y="8493"/>
                        <a:pt x="11593" y="8389"/>
                      </a:cubicBezTo>
                      <a:cubicBezTo>
                        <a:pt x="11539" y="8284"/>
                        <a:pt x="11593" y="8389"/>
                        <a:pt x="11488" y="8338"/>
                      </a:cubicBezTo>
                      <a:cubicBezTo>
                        <a:pt x="11435" y="8284"/>
                        <a:pt x="11384" y="8129"/>
                        <a:pt x="11435" y="8075"/>
                      </a:cubicBezTo>
                      <a:cubicBezTo>
                        <a:pt x="11539" y="7971"/>
                        <a:pt x="11435" y="7971"/>
                        <a:pt x="11435" y="8025"/>
                      </a:cubicBezTo>
                      <a:cubicBezTo>
                        <a:pt x="11384" y="8075"/>
                        <a:pt x="11333" y="7971"/>
                        <a:pt x="11384" y="7815"/>
                      </a:cubicBezTo>
                      <a:cubicBezTo>
                        <a:pt x="11435" y="7711"/>
                        <a:pt x="11384" y="7502"/>
                        <a:pt x="11333" y="7502"/>
                      </a:cubicBezTo>
                      <a:cubicBezTo>
                        <a:pt x="11279" y="7502"/>
                        <a:pt x="11124" y="7191"/>
                        <a:pt x="11019" y="7191"/>
                      </a:cubicBezTo>
                      <a:cubicBezTo>
                        <a:pt x="10915" y="7191"/>
                        <a:pt x="10969" y="7296"/>
                        <a:pt x="10915" y="7296"/>
                      </a:cubicBezTo>
                      <a:cubicBezTo>
                        <a:pt x="10864" y="7296"/>
                        <a:pt x="10655" y="7400"/>
                        <a:pt x="10655" y="7296"/>
                      </a:cubicBezTo>
                      <a:cubicBezTo>
                        <a:pt x="10655" y="7191"/>
                        <a:pt x="10604" y="7242"/>
                        <a:pt x="10604" y="7191"/>
                      </a:cubicBezTo>
                      <a:cubicBezTo>
                        <a:pt x="10604" y="7138"/>
                        <a:pt x="10553" y="7138"/>
                        <a:pt x="10449" y="7138"/>
                      </a:cubicBezTo>
                      <a:cubicBezTo>
                        <a:pt x="10344" y="7087"/>
                        <a:pt x="10189" y="7138"/>
                        <a:pt x="10031" y="7138"/>
                      </a:cubicBezTo>
                      <a:cubicBezTo>
                        <a:pt x="9875" y="7191"/>
                        <a:pt x="10031" y="7138"/>
                        <a:pt x="10031" y="7087"/>
                      </a:cubicBezTo>
                      <a:cubicBezTo>
                        <a:pt x="9929" y="6929"/>
                        <a:pt x="9980" y="7033"/>
                        <a:pt x="9929" y="7087"/>
                      </a:cubicBezTo>
                      <a:cubicBezTo>
                        <a:pt x="9929" y="7138"/>
                        <a:pt x="9720" y="7033"/>
                        <a:pt x="9669" y="7138"/>
                      </a:cubicBezTo>
                      <a:cubicBezTo>
                        <a:pt x="9564" y="7191"/>
                        <a:pt x="9564" y="7191"/>
                        <a:pt x="9460" y="7138"/>
                      </a:cubicBezTo>
                      <a:cubicBezTo>
                        <a:pt x="9355" y="7033"/>
                        <a:pt x="9251" y="7191"/>
                        <a:pt x="9355" y="7242"/>
                      </a:cubicBezTo>
                      <a:cubicBezTo>
                        <a:pt x="9460" y="7242"/>
                        <a:pt x="9409" y="7191"/>
                        <a:pt x="9460" y="7191"/>
                      </a:cubicBezTo>
                      <a:cubicBezTo>
                        <a:pt x="9564" y="7242"/>
                        <a:pt x="9460" y="7242"/>
                        <a:pt x="9511" y="7296"/>
                      </a:cubicBezTo>
                      <a:cubicBezTo>
                        <a:pt x="9564" y="7296"/>
                        <a:pt x="9564" y="7191"/>
                        <a:pt x="9615" y="7242"/>
                      </a:cubicBezTo>
                      <a:cubicBezTo>
                        <a:pt x="9669" y="7347"/>
                        <a:pt x="9460" y="7347"/>
                        <a:pt x="9564" y="7400"/>
                      </a:cubicBezTo>
                      <a:cubicBezTo>
                        <a:pt x="9669" y="7502"/>
                        <a:pt x="9720" y="7502"/>
                        <a:pt x="9615" y="7556"/>
                      </a:cubicBezTo>
                      <a:cubicBezTo>
                        <a:pt x="9564" y="7660"/>
                        <a:pt x="9615" y="7556"/>
                        <a:pt x="9511" y="7502"/>
                      </a:cubicBezTo>
                      <a:cubicBezTo>
                        <a:pt x="9460" y="7400"/>
                        <a:pt x="9355" y="7400"/>
                        <a:pt x="9409" y="7451"/>
                      </a:cubicBezTo>
                      <a:cubicBezTo>
                        <a:pt x="9460" y="7502"/>
                        <a:pt x="9355" y="7606"/>
                        <a:pt x="9355" y="7556"/>
                      </a:cubicBezTo>
                      <a:cubicBezTo>
                        <a:pt x="9304" y="7451"/>
                        <a:pt x="9251" y="7502"/>
                        <a:pt x="9251" y="7556"/>
                      </a:cubicBezTo>
                      <a:cubicBezTo>
                        <a:pt x="9251" y="7556"/>
                        <a:pt x="9045" y="7502"/>
                        <a:pt x="9096" y="7451"/>
                      </a:cubicBezTo>
                      <a:cubicBezTo>
                        <a:pt x="9149" y="7400"/>
                        <a:pt x="9045" y="7451"/>
                        <a:pt x="8991" y="7400"/>
                      </a:cubicBezTo>
                      <a:cubicBezTo>
                        <a:pt x="8991" y="7347"/>
                        <a:pt x="8940" y="7296"/>
                        <a:pt x="8889" y="7296"/>
                      </a:cubicBezTo>
                      <a:cubicBezTo>
                        <a:pt x="8785" y="7347"/>
                        <a:pt x="8991" y="7347"/>
                        <a:pt x="8940" y="7400"/>
                      </a:cubicBezTo>
                      <a:cubicBezTo>
                        <a:pt x="8889" y="7451"/>
                        <a:pt x="8889" y="7347"/>
                        <a:pt x="8785" y="7400"/>
                      </a:cubicBezTo>
                      <a:cubicBezTo>
                        <a:pt x="8680" y="7400"/>
                        <a:pt x="8680" y="7296"/>
                        <a:pt x="8471" y="7296"/>
                      </a:cubicBezTo>
                      <a:cubicBezTo>
                        <a:pt x="8316" y="7347"/>
                        <a:pt x="8316" y="7347"/>
                        <a:pt x="8211" y="7400"/>
                      </a:cubicBezTo>
                      <a:cubicBezTo>
                        <a:pt x="8109" y="7502"/>
                        <a:pt x="8109" y="7502"/>
                        <a:pt x="8005" y="7556"/>
                      </a:cubicBezTo>
                      <a:cubicBezTo>
                        <a:pt x="7951" y="7660"/>
                        <a:pt x="7796" y="7765"/>
                        <a:pt x="7745" y="7711"/>
                      </a:cubicBezTo>
                      <a:cubicBezTo>
                        <a:pt x="7691" y="7660"/>
                        <a:pt x="7691" y="7765"/>
                        <a:pt x="7641" y="7711"/>
                      </a:cubicBezTo>
                      <a:cubicBezTo>
                        <a:pt x="7590" y="7711"/>
                        <a:pt x="7641" y="7765"/>
                        <a:pt x="7691" y="7765"/>
                      </a:cubicBezTo>
                      <a:cubicBezTo>
                        <a:pt x="7745" y="7815"/>
                        <a:pt x="7590" y="7869"/>
                        <a:pt x="7536" y="7971"/>
                      </a:cubicBezTo>
                      <a:cubicBezTo>
                        <a:pt x="7485" y="8025"/>
                        <a:pt x="7432" y="8075"/>
                        <a:pt x="7432" y="8180"/>
                      </a:cubicBezTo>
                      <a:cubicBezTo>
                        <a:pt x="7381" y="8284"/>
                        <a:pt x="7485" y="8493"/>
                        <a:pt x="7485" y="8649"/>
                      </a:cubicBezTo>
                      <a:cubicBezTo>
                        <a:pt x="7432" y="8649"/>
                        <a:pt x="7432" y="8649"/>
                        <a:pt x="7432" y="8649"/>
                      </a:cubicBezTo>
                      <a:cubicBezTo>
                        <a:pt x="7432" y="8702"/>
                        <a:pt x="7330" y="8598"/>
                        <a:pt x="7276" y="8598"/>
                      </a:cubicBezTo>
                      <a:cubicBezTo>
                        <a:pt x="6810" y="8544"/>
                        <a:pt x="6965" y="8233"/>
                        <a:pt x="6756" y="7971"/>
                      </a:cubicBezTo>
                      <a:cubicBezTo>
                        <a:pt x="6550" y="7711"/>
                        <a:pt x="6496" y="7296"/>
                        <a:pt x="6186" y="7242"/>
                      </a:cubicBezTo>
                      <a:cubicBezTo>
                        <a:pt x="5821" y="7191"/>
                        <a:pt x="6030" y="7660"/>
                        <a:pt x="5717" y="7556"/>
                      </a:cubicBezTo>
                      <a:cubicBezTo>
                        <a:pt x="5457" y="7400"/>
                        <a:pt x="5510" y="7138"/>
                        <a:pt x="5352" y="7033"/>
                      </a:cubicBezTo>
                      <a:cubicBezTo>
                        <a:pt x="5250" y="6929"/>
                        <a:pt x="4937" y="6618"/>
                        <a:pt x="4937" y="6618"/>
                      </a:cubicBezTo>
                      <a:cubicBezTo>
                        <a:pt x="4522" y="6618"/>
                        <a:pt x="4522" y="6618"/>
                        <a:pt x="4522" y="6618"/>
                      </a:cubicBezTo>
                      <a:cubicBezTo>
                        <a:pt x="4522" y="6773"/>
                        <a:pt x="4522" y="6773"/>
                        <a:pt x="4522" y="6773"/>
                      </a:cubicBezTo>
                      <a:cubicBezTo>
                        <a:pt x="3742" y="6773"/>
                        <a:pt x="3742" y="6773"/>
                        <a:pt x="3742" y="6773"/>
                      </a:cubicBezTo>
                      <a:cubicBezTo>
                        <a:pt x="3637" y="6722"/>
                        <a:pt x="2858" y="6409"/>
                        <a:pt x="2702" y="6358"/>
                      </a:cubicBezTo>
                      <a:cubicBezTo>
                        <a:pt x="2702" y="6253"/>
                        <a:pt x="2702" y="6253"/>
                        <a:pt x="2702" y="6253"/>
                      </a:cubicBezTo>
                      <a:cubicBezTo>
                        <a:pt x="2598" y="6304"/>
                        <a:pt x="2233" y="6304"/>
                        <a:pt x="2079" y="6358"/>
                      </a:cubicBezTo>
                      <a:cubicBezTo>
                        <a:pt x="2028" y="6200"/>
                        <a:pt x="2079" y="6149"/>
                        <a:pt x="1923" y="5991"/>
                      </a:cubicBezTo>
                      <a:cubicBezTo>
                        <a:pt x="1768" y="5835"/>
                        <a:pt x="1768" y="5991"/>
                        <a:pt x="1610" y="5835"/>
                      </a:cubicBezTo>
                      <a:cubicBezTo>
                        <a:pt x="1404" y="5626"/>
                        <a:pt x="1248" y="5680"/>
                        <a:pt x="1144" y="5626"/>
                      </a:cubicBezTo>
                      <a:cubicBezTo>
                        <a:pt x="1090" y="5575"/>
                        <a:pt x="1195" y="5471"/>
                        <a:pt x="988" y="5262"/>
                      </a:cubicBezTo>
                      <a:cubicBezTo>
                        <a:pt x="830" y="5002"/>
                        <a:pt x="728" y="4951"/>
                        <a:pt x="779" y="4846"/>
                      </a:cubicBezTo>
                      <a:cubicBezTo>
                        <a:pt x="830" y="4688"/>
                        <a:pt x="675" y="4793"/>
                        <a:pt x="624" y="4533"/>
                      </a:cubicBezTo>
                      <a:cubicBezTo>
                        <a:pt x="624" y="4324"/>
                        <a:pt x="519" y="4428"/>
                        <a:pt x="468" y="4273"/>
                      </a:cubicBezTo>
                      <a:cubicBezTo>
                        <a:pt x="468" y="4115"/>
                        <a:pt x="310" y="4169"/>
                        <a:pt x="259" y="3855"/>
                      </a:cubicBezTo>
                      <a:cubicBezTo>
                        <a:pt x="259" y="3544"/>
                        <a:pt x="50" y="3595"/>
                        <a:pt x="155" y="3282"/>
                      </a:cubicBezTo>
                      <a:cubicBezTo>
                        <a:pt x="259" y="3022"/>
                        <a:pt x="0" y="2657"/>
                        <a:pt x="104" y="2448"/>
                      </a:cubicBezTo>
                      <a:cubicBezTo>
                        <a:pt x="209" y="2188"/>
                        <a:pt x="209" y="1666"/>
                        <a:pt x="209" y="1406"/>
                      </a:cubicBezTo>
                      <a:cubicBezTo>
                        <a:pt x="209" y="1146"/>
                        <a:pt x="155" y="783"/>
                        <a:pt x="104" y="627"/>
                      </a:cubicBezTo>
                      <a:cubicBezTo>
                        <a:pt x="0" y="523"/>
                        <a:pt x="0" y="365"/>
                        <a:pt x="104" y="469"/>
                      </a:cubicBezTo>
                      <a:cubicBezTo>
                        <a:pt x="259" y="523"/>
                        <a:pt x="519" y="469"/>
                        <a:pt x="570" y="574"/>
                      </a:cubicBezTo>
                      <a:cubicBezTo>
                        <a:pt x="624" y="729"/>
                        <a:pt x="624" y="991"/>
                        <a:pt x="675" y="783"/>
                      </a:cubicBezTo>
                      <a:cubicBezTo>
                        <a:pt x="675" y="574"/>
                        <a:pt x="675" y="574"/>
                        <a:pt x="570" y="469"/>
                      </a:cubicBezTo>
                      <a:cubicBezTo>
                        <a:pt x="519" y="365"/>
                        <a:pt x="624" y="418"/>
                        <a:pt x="624" y="365"/>
                      </a:cubicBezTo>
                      <a:cubicBezTo>
                        <a:pt x="624" y="260"/>
                        <a:pt x="519" y="314"/>
                        <a:pt x="519" y="209"/>
                      </a:cubicBezTo>
                      <a:cubicBezTo>
                        <a:pt x="8005" y="209"/>
                        <a:pt x="8005" y="209"/>
                        <a:pt x="8005" y="209"/>
                      </a:cubicBezTo>
                      <a:cubicBezTo>
                        <a:pt x="8056" y="209"/>
                        <a:pt x="8005" y="0"/>
                        <a:pt x="8056" y="54"/>
                      </a:cubicBezTo>
                      <a:cubicBezTo>
                        <a:pt x="8109" y="54"/>
                        <a:pt x="8109" y="105"/>
                        <a:pt x="8160" y="209"/>
                      </a:cubicBezTo>
                      <a:cubicBezTo>
                        <a:pt x="8160" y="365"/>
                        <a:pt x="8316" y="260"/>
                        <a:pt x="8369" y="365"/>
                      </a:cubicBezTo>
                      <a:cubicBezTo>
                        <a:pt x="8420" y="418"/>
                        <a:pt x="8420" y="260"/>
                        <a:pt x="8629" y="365"/>
                      </a:cubicBezTo>
                      <a:cubicBezTo>
                        <a:pt x="8836" y="418"/>
                        <a:pt x="8731" y="523"/>
                        <a:pt x="8785" y="469"/>
                      </a:cubicBezTo>
                      <a:cubicBezTo>
                        <a:pt x="8889" y="418"/>
                        <a:pt x="8940" y="627"/>
                        <a:pt x="9045" y="523"/>
                      </a:cubicBezTo>
                      <a:cubicBezTo>
                        <a:pt x="9251" y="469"/>
                        <a:pt x="9149" y="574"/>
                        <a:pt x="9304" y="523"/>
                      </a:cubicBezTo>
                      <a:cubicBezTo>
                        <a:pt x="9460" y="523"/>
                        <a:pt x="9355" y="574"/>
                        <a:pt x="9511" y="574"/>
                      </a:cubicBezTo>
                      <a:cubicBezTo>
                        <a:pt x="9251" y="678"/>
                        <a:pt x="9200" y="678"/>
                        <a:pt x="9045" y="833"/>
                      </a:cubicBezTo>
                      <a:cubicBezTo>
                        <a:pt x="8940" y="991"/>
                        <a:pt x="8785" y="1041"/>
                        <a:pt x="8889" y="1095"/>
                      </a:cubicBezTo>
                      <a:cubicBezTo>
                        <a:pt x="8991" y="1095"/>
                        <a:pt x="9096" y="991"/>
                        <a:pt x="9200" y="991"/>
                      </a:cubicBezTo>
                      <a:cubicBezTo>
                        <a:pt x="9251" y="991"/>
                        <a:pt x="9096" y="1146"/>
                        <a:pt x="9200" y="1146"/>
                      </a:cubicBezTo>
                      <a:cubicBezTo>
                        <a:pt x="9304" y="1095"/>
                        <a:pt x="9304" y="1197"/>
                        <a:pt x="9409" y="1095"/>
                      </a:cubicBezTo>
                      <a:cubicBezTo>
                        <a:pt x="9564" y="991"/>
                        <a:pt x="9564" y="1095"/>
                        <a:pt x="9669" y="991"/>
                      </a:cubicBezTo>
                      <a:cubicBezTo>
                        <a:pt x="9771" y="886"/>
                        <a:pt x="9824" y="886"/>
                        <a:pt x="9824" y="991"/>
                      </a:cubicBezTo>
                      <a:cubicBezTo>
                        <a:pt x="9824" y="1095"/>
                        <a:pt x="9875" y="937"/>
                        <a:pt x="9980" y="991"/>
                      </a:cubicBezTo>
                      <a:cubicBezTo>
                        <a:pt x="10084" y="1041"/>
                        <a:pt x="10084" y="1146"/>
                        <a:pt x="10189" y="1146"/>
                      </a:cubicBezTo>
                      <a:cubicBezTo>
                        <a:pt x="10293" y="1146"/>
                        <a:pt x="10293" y="1197"/>
                        <a:pt x="10395" y="1146"/>
                      </a:cubicBezTo>
                      <a:cubicBezTo>
                        <a:pt x="10449" y="1095"/>
                        <a:pt x="10655" y="1095"/>
                        <a:pt x="10759" y="1041"/>
                      </a:cubicBezTo>
                      <a:cubicBezTo>
                        <a:pt x="10813" y="1041"/>
                        <a:pt x="10709" y="1146"/>
                        <a:pt x="10813" y="1146"/>
                      </a:cubicBezTo>
                      <a:cubicBezTo>
                        <a:pt x="10915" y="1197"/>
                        <a:pt x="10969" y="1146"/>
                        <a:pt x="10969" y="1197"/>
                      </a:cubicBezTo>
                      <a:cubicBezTo>
                        <a:pt x="10969" y="1301"/>
                        <a:pt x="11019" y="1251"/>
                        <a:pt x="11073" y="1301"/>
                      </a:cubicBezTo>
                      <a:cubicBezTo>
                        <a:pt x="11073" y="1406"/>
                        <a:pt x="10969" y="1355"/>
                        <a:pt x="10864" y="1355"/>
                      </a:cubicBezTo>
                      <a:cubicBezTo>
                        <a:pt x="10813" y="1301"/>
                        <a:pt x="10915" y="1459"/>
                        <a:pt x="10759" y="1355"/>
                      </a:cubicBezTo>
                      <a:cubicBezTo>
                        <a:pt x="10553" y="1251"/>
                        <a:pt x="10655" y="1406"/>
                        <a:pt x="10449" y="1355"/>
                      </a:cubicBezTo>
                      <a:cubicBezTo>
                        <a:pt x="10395" y="1355"/>
                        <a:pt x="10293" y="1564"/>
                        <a:pt x="10344" y="1459"/>
                      </a:cubicBezTo>
                      <a:cubicBezTo>
                        <a:pt x="10344" y="1355"/>
                        <a:pt x="10240" y="1510"/>
                        <a:pt x="10240" y="1406"/>
                      </a:cubicBezTo>
                      <a:cubicBezTo>
                        <a:pt x="10240" y="1355"/>
                        <a:pt x="10135" y="1564"/>
                        <a:pt x="10084" y="1666"/>
                      </a:cubicBezTo>
                      <a:cubicBezTo>
                        <a:pt x="10031" y="1719"/>
                        <a:pt x="10084" y="1719"/>
                        <a:pt x="10031" y="1770"/>
                      </a:cubicBezTo>
                      <a:cubicBezTo>
                        <a:pt x="9980" y="1770"/>
                        <a:pt x="9929" y="1979"/>
                        <a:pt x="9980" y="1928"/>
                      </a:cubicBezTo>
                      <a:cubicBezTo>
                        <a:pt x="10084" y="1824"/>
                        <a:pt x="10031" y="1770"/>
                        <a:pt x="10084" y="1824"/>
                      </a:cubicBezTo>
                      <a:cubicBezTo>
                        <a:pt x="10189" y="1824"/>
                        <a:pt x="10031" y="1979"/>
                        <a:pt x="10084" y="2033"/>
                      </a:cubicBezTo>
                      <a:cubicBezTo>
                        <a:pt x="10135" y="2135"/>
                        <a:pt x="10031" y="2033"/>
                        <a:pt x="10031" y="2188"/>
                      </a:cubicBezTo>
                      <a:cubicBezTo>
                        <a:pt x="10031" y="2397"/>
                        <a:pt x="9980" y="2344"/>
                        <a:pt x="9980" y="2502"/>
                      </a:cubicBezTo>
                      <a:cubicBezTo>
                        <a:pt x="10031" y="2657"/>
                        <a:pt x="9929" y="2762"/>
                        <a:pt x="10031" y="2917"/>
                      </a:cubicBezTo>
                      <a:cubicBezTo>
                        <a:pt x="10135" y="3073"/>
                        <a:pt x="10240" y="3022"/>
                        <a:pt x="10344" y="2866"/>
                      </a:cubicBezTo>
                      <a:cubicBezTo>
                        <a:pt x="10449" y="2708"/>
                        <a:pt x="10449" y="2553"/>
                        <a:pt x="10395" y="2344"/>
                      </a:cubicBezTo>
                      <a:cubicBezTo>
                        <a:pt x="10344" y="2188"/>
                        <a:pt x="10395" y="2239"/>
                        <a:pt x="10395" y="2135"/>
                      </a:cubicBezTo>
                      <a:cubicBezTo>
                        <a:pt x="10344" y="2084"/>
                        <a:pt x="10449" y="2033"/>
                        <a:pt x="10449" y="1928"/>
                      </a:cubicBezTo>
                      <a:cubicBezTo>
                        <a:pt x="10395" y="1770"/>
                        <a:pt x="10449" y="1875"/>
                        <a:pt x="10500" y="1770"/>
                      </a:cubicBezTo>
                      <a:cubicBezTo>
                        <a:pt x="10655" y="1564"/>
                        <a:pt x="10553" y="1824"/>
                        <a:pt x="10604" y="1824"/>
                      </a:cubicBezTo>
                      <a:cubicBezTo>
                        <a:pt x="10655" y="1824"/>
                        <a:pt x="10604" y="1615"/>
                        <a:pt x="10709" y="1615"/>
                      </a:cubicBezTo>
                      <a:cubicBezTo>
                        <a:pt x="10864" y="1564"/>
                        <a:pt x="10655" y="1564"/>
                        <a:pt x="10759" y="1459"/>
                      </a:cubicBezTo>
                      <a:cubicBezTo>
                        <a:pt x="10864" y="1406"/>
                        <a:pt x="10864" y="1510"/>
                        <a:pt x="10969" y="1510"/>
                      </a:cubicBezTo>
                      <a:cubicBezTo>
                        <a:pt x="11019" y="1510"/>
                        <a:pt x="10969" y="1564"/>
                        <a:pt x="11073" y="1564"/>
                      </a:cubicBezTo>
                      <a:cubicBezTo>
                        <a:pt x="11175" y="1615"/>
                        <a:pt x="11279" y="1719"/>
                        <a:pt x="11228" y="1719"/>
                      </a:cubicBezTo>
                      <a:cubicBezTo>
                        <a:pt x="11124" y="1719"/>
                        <a:pt x="11228" y="1770"/>
                        <a:pt x="11228" y="1928"/>
                      </a:cubicBezTo>
                      <a:cubicBezTo>
                        <a:pt x="11228" y="2033"/>
                        <a:pt x="11175" y="2084"/>
                        <a:pt x="11124" y="2135"/>
                      </a:cubicBezTo>
                      <a:cubicBezTo>
                        <a:pt x="11019" y="2135"/>
                        <a:pt x="11073" y="2293"/>
                        <a:pt x="11124" y="2293"/>
                      </a:cubicBezTo>
                      <a:cubicBezTo>
                        <a:pt x="11175" y="2239"/>
                        <a:pt x="11175" y="2135"/>
                        <a:pt x="11279" y="2135"/>
                      </a:cubicBezTo>
                      <a:cubicBezTo>
                        <a:pt x="11435" y="2084"/>
                        <a:pt x="11435" y="2397"/>
                        <a:pt x="11488" y="2502"/>
                      </a:cubicBezTo>
                      <a:cubicBezTo>
                        <a:pt x="11488" y="2553"/>
                        <a:pt x="11435" y="2553"/>
                        <a:pt x="11435" y="2604"/>
                      </a:cubicBezTo>
                      <a:cubicBezTo>
                        <a:pt x="11435" y="2657"/>
                        <a:pt x="11435" y="2657"/>
                        <a:pt x="11435" y="2657"/>
                      </a:cubicBezTo>
                      <a:cubicBezTo>
                        <a:pt x="11384" y="2604"/>
                        <a:pt x="11384" y="2604"/>
                        <a:pt x="11333" y="2657"/>
                      </a:cubicBezTo>
                      <a:cubicBezTo>
                        <a:pt x="11333" y="2762"/>
                        <a:pt x="11279" y="2708"/>
                        <a:pt x="11228" y="2813"/>
                      </a:cubicBezTo>
                      <a:cubicBezTo>
                        <a:pt x="11228" y="2917"/>
                        <a:pt x="11175" y="2917"/>
                        <a:pt x="11175" y="2971"/>
                      </a:cubicBezTo>
                      <a:cubicBezTo>
                        <a:pt x="11175" y="3022"/>
                        <a:pt x="11333" y="3022"/>
                        <a:pt x="11384" y="3022"/>
                      </a:cubicBezTo>
                      <a:cubicBezTo>
                        <a:pt x="11384" y="3073"/>
                        <a:pt x="11279" y="3073"/>
                        <a:pt x="11333" y="3073"/>
                      </a:cubicBezTo>
                      <a:cubicBezTo>
                        <a:pt x="11333" y="3126"/>
                        <a:pt x="11539" y="3126"/>
                        <a:pt x="11748" y="3022"/>
                      </a:cubicBezTo>
                      <a:cubicBezTo>
                        <a:pt x="11955" y="2917"/>
                        <a:pt x="12059" y="2813"/>
                        <a:pt x="12113" y="2813"/>
                      </a:cubicBezTo>
                      <a:cubicBezTo>
                        <a:pt x="12214" y="2813"/>
                        <a:pt x="12373" y="2657"/>
                        <a:pt x="12423" y="2604"/>
                      </a:cubicBezTo>
                      <a:cubicBezTo>
                        <a:pt x="12423" y="2604"/>
                        <a:pt x="12474" y="2502"/>
                        <a:pt x="12423" y="2502"/>
                      </a:cubicBezTo>
                      <a:cubicBezTo>
                        <a:pt x="12319" y="2448"/>
                        <a:pt x="12319" y="2448"/>
                        <a:pt x="12319" y="2448"/>
                      </a:cubicBezTo>
                      <a:cubicBezTo>
                        <a:pt x="12319" y="2448"/>
                        <a:pt x="12423" y="2397"/>
                        <a:pt x="12474" y="2397"/>
                      </a:cubicBezTo>
                      <a:cubicBezTo>
                        <a:pt x="12474" y="2344"/>
                        <a:pt x="12683" y="2344"/>
                        <a:pt x="12734" y="2397"/>
                      </a:cubicBezTo>
                      <a:cubicBezTo>
                        <a:pt x="12839" y="2397"/>
                        <a:pt x="12994" y="2397"/>
                        <a:pt x="13048" y="2344"/>
                      </a:cubicBezTo>
                      <a:cubicBezTo>
                        <a:pt x="13099" y="2293"/>
                        <a:pt x="13152" y="2293"/>
                        <a:pt x="13152" y="2239"/>
                      </a:cubicBezTo>
                      <a:cubicBezTo>
                        <a:pt x="13152" y="2135"/>
                        <a:pt x="13203" y="2135"/>
                        <a:pt x="13152" y="2135"/>
                      </a:cubicBezTo>
                      <a:cubicBezTo>
                        <a:pt x="13099" y="2084"/>
                        <a:pt x="13099" y="2033"/>
                        <a:pt x="13152" y="2033"/>
                      </a:cubicBezTo>
                      <a:cubicBezTo>
                        <a:pt x="13203" y="2033"/>
                        <a:pt x="13254" y="1979"/>
                        <a:pt x="13254" y="1928"/>
                      </a:cubicBezTo>
                      <a:cubicBezTo>
                        <a:pt x="13359" y="1824"/>
                        <a:pt x="13514" y="1719"/>
                        <a:pt x="13568" y="1719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1" name="Freeform 11">
                  <a:extLst>
                    <a:ext uri="{FF2B5EF4-FFF2-40B4-BE49-F238E27FC236}">
                      <a16:creationId xmlns:a16="http://schemas.microsoft.com/office/drawing/2014/main" id="{F50B5106-40C4-3C4C-97C4-B402C5C791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7200" y="2101896"/>
                  <a:ext cx="861618" cy="635233"/>
                </a:xfrm>
                <a:custGeom>
                  <a:avLst/>
                  <a:gdLst>
                    <a:gd name="T0" fmla="*/ 7433 w 10397"/>
                    <a:gd name="T1" fmla="*/ 938 h 7659"/>
                    <a:gd name="T2" fmla="*/ 7588 w 10397"/>
                    <a:gd name="T3" fmla="*/ 5209 h 7659"/>
                    <a:gd name="T4" fmla="*/ 7953 w 10397"/>
                    <a:gd name="T5" fmla="*/ 5263 h 7659"/>
                    <a:gd name="T6" fmla="*/ 8213 w 10397"/>
                    <a:gd name="T7" fmla="*/ 5574 h 7659"/>
                    <a:gd name="T8" fmla="*/ 8577 w 10397"/>
                    <a:gd name="T9" fmla="*/ 5732 h 7659"/>
                    <a:gd name="T10" fmla="*/ 8732 w 10397"/>
                    <a:gd name="T11" fmla="*/ 5523 h 7659"/>
                    <a:gd name="T12" fmla="*/ 9046 w 10397"/>
                    <a:gd name="T13" fmla="*/ 5627 h 7659"/>
                    <a:gd name="T14" fmla="*/ 9408 w 10397"/>
                    <a:gd name="T15" fmla="*/ 5992 h 7659"/>
                    <a:gd name="T16" fmla="*/ 9826 w 10397"/>
                    <a:gd name="T17" fmla="*/ 6616 h 7659"/>
                    <a:gd name="T18" fmla="*/ 9928 w 10397"/>
                    <a:gd name="T19" fmla="*/ 6825 h 7659"/>
                    <a:gd name="T20" fmla="*/ 10346 w 10397"/>
                    <a:gd name="T21" fmla="*/ 7034 h 7659"/>
                    <a:gd name="T22" fmla="*/ 10346 w 10397"/>
                    <a:gd name="T23" fmla="*/ 7294 h 7659"/>
                    <a:gd name="T24" fmla="*/ 10086 w 10397"/>
                    <a:gd name="T25" fmla="*/ 7452 h 7659"/>
                    <a:gd name="T26" fmla="*/ 9877 w 10397"/>
                    <a:gd name="T27" fmla="*/ 7189 h 7659"/>
                    <a:gd name="T28" fmla="*/ 9928 w 10397"/>
                    <a:gd name="T29" fmla="*/ 7034 h 7659"/>
                    <a:gd name="T30" fmla="*/ 9512 w 10397"/>
                    <a:gd name="T31" fmla="*/ 6616 h 7659"/>
                    <a:gd name="T32" fmla="*/ 9306 w 10397"/>
                    <a:gd name="T33" fmla="*/ 6147 h 7659"/>
                    <a:gd name="T34" fmla="*/ 8992 w 10397"/>
                    <a:gd name="T35" fmla="*/ 6045 h 7659"/>
                    <a:gd name="T36" fmla="*/ 8682 w 10397"/>
                    <a:gd name="T37" fmla="*/ 5992 h 7659"/>
                    <a:gd name="T38" fmla="*/ 8108 w 10397"/>
                    <a:gd name="T39" fmla="*/ 5783 h 7659"/>
                    <a:gd name="T40" fmla="*/ 7642 w 10397"/>
                    <a:gd name="T41" fmla="*/ 5472 h 7659"/>
                    <a:gd name="T42" fmla="*/ 6393 w 10397"/>
                    <a:gd name="T43" fmla="*/ 5209 h 7659"/>
                    <a:gd name="T44" fmla="*/ 5873 w 10397"/>
                    <a:gd name="T45" fmla="*/ 4949 h 7659"/>
                    <a:gd name="T46" fmla="*/ 5458 w 10397"/>
                    <a:gd name="T47" fmla="*/ 5209 h 7659"/>
                    <a:gd name="T48" fmla="*/ 4885 w 10397"/>
                    <a:gd name="T49" fmla="*/ 5574 h 7659"/>
                    <a:gd name="T50" fmla="*/ 4523 w 10397"/>
                    <a:gd name="T51" fmla="*/ 5314 h 7659"/>
                    <a:gd name="T52" fmla="*/ 5198 w 10397"/>
                    <a:gd name="T53" fmla="*/ 4949 h 7659"/>
                    <a:gd name="T54" fmla="*/ 3899 w 10397"/>
                    <a:gd name="T55" fmla="*/ 5627 h 7659"/>
                    <a:gd name="T56" fmla="*/ 3899 w 10397"/>
                    <a:gd name="T57" fmla="*/ 6045 h 7659"/>
                    <a:gd name="T58" fmla="*/ 2964 w 10397"/>
                    <a:gd name="T59" fmla="*/ 6774 h 7659"/>
                    <a:gd name="T60" fmla="*/ 2339 w 10397"/>
                    <a:gd name="T61" fmla="*/ 7243 h 7659"/>
                    <a:gd name="T62" fmla="*/ 2026 w 10397"/>
                    <a:gd name="T63" fmla="*/ 7348 h 7659"/>
                    <a:gd name="T64" fmla="*/ 1506 w 10397"/>
                    <a:gd name="T65" fmla="*/ 7503 h 7659"/>
                    <a:gd name="T66" fmla="*/ 1819 w 10397"/>
                    <a:gd name="T67" fmla="*/ 7085 h 7659"/>
                    <a:gd name="T68" fmla="*/ 2599 w 10397"/>
                    <a:gd name="T69" fmla="*/ 6616 h 7659"/>
                    <a:gd name="T70" fmla="*/ 2964 w 10397"/>
                    <a:gd name="T71" fmla="*/ 5941 h 7659"/>
                    <a:gd name="T72" fmla="*/ 2444 w 10397"/>
                    <a:gd name="T73" fmla="*/ 5992 h 7659"/>
                    <a:gd name="T74" fmla="*/ 1715 w 10397"/>
                    <a:gd name="T75" fmla="*/ 5887 h 7659"/>
                    <a:gd name="T76" fmla="*/ 1404 w 10397"/>
                    <a:gd name="T77" fmla="*/ 5418 h 7659"/>
                    <a:gd name="T78" fmla="*/ 831 w 10397"/>
                    <a:gd name="T79" fmla="*/ 4845 h 7659"/>
                    <a:gd name="T80" fmla="*/ 831 w 10397"/>
                    <a:gd name="T81" fmla="*/ 4271 h 7659"/>
                    <a:gd name="T82" fmla="*/ 1766 w 10397"/>
                    <a:gd name="T83" fmla="*/ 3802 h 7659"/>
                    <a:gd name="T84" fmla="*/ 2026 w 10397"/>
                    <a:gd name="T85" fmla="*/ 3229 h 7659"/>
                    <a:gd name="T86" fmla="*/ 726 w 10397"/>
                    <a:gd name="T87" fmla="*/ 3387 h 7659"/>
                    <a:gd name="T88" fmla="*/ 364 w 10397"/>
                    <a:gd name="T89" fmla="*/ 2969 h 7659"/>
                    <a:gd name="T90" fmla="*/ 1040 w 10397"/>
                    <a:gd name="T91" fmla="*/ 2396 h 7659"/>
                    <a:gd name="T92" fmla="*/ 1766 w 10397"/>
                    <a:gd name="T93" fmla="*/ 2605 h 7659"/>
                    <a:gd name="T94" fmla="*/ 1715 w 10397"/>
                    <a:gd name="T95" fmla="*/ 2396 h 7659"/>
                    <a:gd name="T96" fmla="*/ 1246 w 10397"/>
                    <a:gd name="T97" fmla="*/ 2031 h 7659"/>
                    <a:gd name="T98" fmla="*/ 726 w 10397"/>
                    <a:gd name="T99" fmla="*/ 1302 h 7659"/>
                    <a:gd name="T100" fmla="*/ 2184 w 10397"/>
                    <a:gd name="T101" fmla="*/ 469 h 7659"/>
                    <a:gd name="T102" fmla="*/ 3430 w 10397"/>
                    <a:gd name="T103" fmla="*/ 209 h 7659"/>
                    <a:gd name="T104" fmla="*/ 4159 w 10397"/>
                    <a:gd name="T105" fmla="*/ 311 h 7659"/>
                    <a:gd name="T106" fmla="*/ 5303 w 10397"/>
                    <a:gd name="T107" fmla="*/ 520 h 7659"/>
                    <a:gd name="T108" fmla="*/ 6809 w 10397"/>
                    <a:gd name="T109" fmla="*/ 729 h 76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397" h="7659">
                      <a:moveTo>
                        <a:pt x="7433" y="938"/>
                      </a:moveTo>
                      <a:lnTo>
                        <a:pt x="7433" y="938"/>
                      </a:lnTo>
                      <a:cubicBezTo>
                        <a:pt x="7433" y="5209"/>
                        <a:pt x="7433" y="5209"/>
                        <a:pt x="7433" y="5209"/>
                      </a:cubicBezTo>
                      <a:cubicBezTo>
                        <a:pt x="7642" y="5314"/>
                        <a:pt x="7537" y="5158"/>
                        <a:pt x="7588" y="5209"/>
                      </a:cubicBezTo>
                      <a:cubicBezTo>
                        <a:pt x="7693" y="5263"/>
                        <a:pt x="7693" y="5263"/>
                        <a:pt x="7746" y="5263"/>
                      </a:cubicBezTo>
                      <a:cubicBezTo>
                        <a:pt x="7797" y="5209"/>
                        <a:pt x="7953" y="5158"/>
                        <a:pt x="7953" y="5263"/>
                      </a:cubicBezTo>
                      <a:cubicBezTo>
                        <a:pt x="7902" y="5314"/>
                        <a:pt x="7848" y="5314"/>
                        <a:pt x="7953" y="5367"/>
                      </a:cubicBezTo>
                      <a:cubicBezTo>
                        <a:pt x="8108" y="5418"/>
                        <a:pt x="7953" y="5472"/>
                        <a:pt x="8213" y="5574"/>
                      </a:cubicBezTo>
                      <a:cubicBezTo>
                        <a:pt x="8422" y="5732"/>
                        <a:pt x="8317" y="5783"/>
                        <a:pt x="8368" y="5783"/>
                      </a:cubicBezTo>
                      <a:cubicBezTo>
                        <a:pt x="8422" y="5836"/>
                        <a:pt x="8422" y="5732"/>
                        <a:pt x="8577" y="5732"/>
                      </a:cubicBezTo>
                      <a:cubicBezTo>
                        <a:pt x="8732" y="5678"/>
                        <a:pt x="8577" y="5627"/>
                        <a:pt x="8682" y="5574"/>
                      </a:cubicBezTo>
                      <a:cubicBezTo>
                        <a:pt x="8786" y="5574"/>
                        <a:pt x="8628" y="5523"/>
                        <a:pt x="8732" y="5523"/>
                      </a:cubicBezTo>
                      <a:cubicBezTo>
                        <a:pt x="8941" y="5418"/>
                        <a:pt x="8941" y="5418"/>
                        <a:pt x="8992" y="5523"/>
                      </a:cubicBezTo>
                      <a:cubicBezTo>
                        <a:pt x="9097" y="5627"/>
                        <a:pt x="8992" y="5574"/>
                        <a:pt x="9046" y="5627"/>
                      </a:cubicBezTo>
                      <a:cubicBezTo>
                        <a:pt x="9097" y="5732"/>
                        <a:pt x="9148" y="5678"/>
                        <a:pt x="9201" y="5783"/>
                      </a:cubicBezTo>
                      <a:cubicBezTo>
                        <a:pt x="9252" y="5941"/>
                        <a:pt x="9357" y="5836"/>
                        <a:pt x="9408" y="5992"/>
                      </a:cubicBezTo>
                      <a:cubicBezTo>
                        <a:pt x="9512" y="6096"/>
                        <a:pt x="9721" y="6461"/>
                        <a:pt x="9772" y="6514"/>
                      </a:cubicBezTo>
                      <a:cubicBezTo>
                        <a:pt x="9826" y="6616"/>
                        <a:pt x="9721" y="6616"/>
                        <a:pt x="9826" y="6616"/>
                      </a:cubicBezTo>
                      <a:cubicBezTo>
                        <a:pt x="9877" y="6616"/>
                        <a:pt x="9772" y="6721"/>
                        <a:pt x="9877" y="6721"/>
                      </a:cubicBezTo>
                      <a:cubicBezTo>
                        <a:pt x="9928" y="6721"/>
                        <a:pt x="9826" y="6825"/>
                        <a:pt x="9928" y="6825"/>
                      </a:cubicBezTo>
                      <a:cubicBezTo>
                        <a:pt x="10032" y="6774"/>
                        <a:pt x="9981" y="6879"/>
                        <a:pt x="10188" y="6930"/>
                      </a:cubicBezTo>
                      <a:cubicBezTo>
                        <a:pt x="10346" y="6983"/>
                        <a:pt x="10241" y="7034"/>
                        <a:pt x="10346" y="7034"/>
                      </a:cubicBezTo>
                      <a:cubicBezTo>
                        <a:pt x="10396" y="7034"/>
                        <a:pt x="10396" y="7085"/>
                        <a:pt x="10396" y="7085"/>
                      </a:cubicBezTo>
                      <a:cubicBezTo>
                        <a:pt x="10346" y="7139"/>
                        <a:pt x="10292" y="7139"/>
                        <a:pt x="10346" y="7294"/>
                      </a:cubicBezTo>
                      <a:cubicBezTo>
                        <a:pt x="10396" y="7452"/>
                        <a:pt x="10292" y="7452"/>
                        <a:pt x="10241" y="7554"/>
                      </a:cubicBezTo>
                      <a:cubicBezTo>
                        <a:pt x="10137" y="7658"/>
                        <a:pt x="10137" y="7554"/>
                        <a:pt x="10086" y="7452"/>
                      </a:cubicBezTo>
                      <a:cubicBezTo>
                        <a:pt x="10086" y="7398"/>
                        <a:pt x="10188" y="7294"/>
                        <a:pt x="10086" y="7139"/>
                      </a:cubicBezTo>
                      <a:cubicBezTo>
                        <a:pt x="10032" y="6983"/>
                        <a:pt x="9928" y="7085"/>
                        <a:pt x="9877" y="7189"/>
                      </a:cubicBezTo>
                      <a:cubicBezTo>
                        <a:pt x="9826" y="7348"/>
                        <a:pt x="9721" y="7243"/>
                        <a:pt x="9772" y="7189"/>
                      </a:cubicBezTo>
                      <a:cubicBezTo>
                        <a:pt x="9877" y="7085"/>
                        <a:pt x="9826" y="7034"/>
                        <a:pt x="9928" y="7034"/>
                      </a:cubicBezTo>
                      <a:cubicBezTo>
                        <a:pt x="10032" y="6983"/>
                        <a:pt x="9928" y="7034"/>
                        <a:pt x="9721" y="6825"/>
                      </a:cubicBezTo>
                      <a:cubicBezTo>
                        <a:pt x="9566" y="6670"/>
                        <a:pt x="9668" y="6670"/>
                        <a:pt x="9512" y="6616"/>
                      </a:cubicBezTo>
                      <a:cubicBezTo>
                        <a:pt x="9357" y="6565"/>
                        <a:pt x="9512" y="6461"/>
                        <a:pt x="9461" y="6410"/>
                      </a:cubicBezTo>
                      <a:cubicBezTo>
                        <a:pt x="9357" y="6356"/>
                        <a:pt x="9408" y="6356"/>
                        <a:pt x="9306" y="6147"/>
                      </a:cubicBezTo>
                      <a:cubicBezTo>
                        <a:pt x="9252" y="5992"/>
                        <a:pt x="9148" y="6147"/>
                        <a:pt x="9046" y="5992"/>
                      </a:cubicBezTo>
                      <a:cubicBezTo>
                        <a:pt x="8941" y="5783"/>
                        <a:pt x="8992" y="5887"/>
                        <a:pt x="8992" y="6045"/>
                      </a:cubicBezTo>
                      <a:cubicBezTo>
                        <a:pt x="9046" y="6201"/>
                        <a:pt x="8837" y="6045"/>
                        <a:pt x="8732" y="5887"/>
                      </a:cubicBezTo>
                      <a:cubicBezTo>
                        <a:pt x="8577" y="5783"/>
                        <a:pt x="8577" y="5887"/>
                        <a:pt x="8682" y="5992"/>
                      </a:cubicBezTo>
                      <a:cubicBezTo>
                        <a:pt x="8786" y="6096"/>
                        <a:pt x="8628" y="6147"/>
                        <a:pt x="8473" y="6045"/>
                      </a:cubicBezTo>
                      <a:cubicBezTo>
                        <a:pt x="8266" y="5941"/>
                        <a:pt x="8266" y="5836"/>
                        <a:pt x="8108" y="5783"/>
                      </a:cubicBezTo>
                      <a:cubicBezTo>
                        <a:pt x="7953" y="5678"/>
                        <a:pt x="7642" y="5574"/>
                        <a:pt x="7746" y="5523"/>
                      </a:cubicBezTo>
                      <a:cubicBezTo>
                        <a:pt x="7848" y="5472"/>
                        <a:pt x="7848" y="5367"/>
                        <a:pt x="7642" y="5472"/>
                      </a:cubicBezTo>
                      <a:cubicBezTo>
                        <a:pt x="7487" y="5574"/>
                        <a:pt x="7173" y="5314"/>
                        <a:pt x="6967" y="5314"/>
                      </a:cubicBezTo>
                      <a:cubicBezTo>
                        <a:pt x="6809" y="5314"/>
                        <a:pt x="6549" y="5418"/>
                        <a:pt x="6393" y="5209"/>
                      </a:cubicBezTo>
                      <a:cubicBezTo>
                        <a:pt x="6289" y="5054"/>
                        <a:pt x="6342" y="5263"/>
                        <a:pt x="6187" y="5158"/>
                      </a:cubicBezTo>
                      <a:cubicBezTo>
                        <a:pt x="6029" y="5054"/>
                        <a:pt x="5873" y="5105"/>
                        <a:pt x="5873" y="4949"/>
                      </a:cubicBezTo>
                      <a:cubicBezTo>
                        <a:pt x="5873" y="4845"/>
                        <a:pt x="5769" y="4949"/>
                        <a:pt x="5563" y="5003"/>
                      </a:cubicBezTo>
                      <a:cubicBezTo>
                        <a:pt x="5354" y="5003"/>
                        <a:pt x="5614" y="5158"/>
                        <a:pt x="5458" y="5209"/>
                      </a:cubicBezTo>
                      <a:cubicBezTo>
                        <a:pt x="5303" y="5263"/>
                        <a:pt x="5509" y="5367"/>
                        <a:pt x="5303" y="5367"/>
                      </a:cubicBezTo>
                      <a:cubicBezTo>
                        <a:pt x="5145" y="5367"/>
                        <a:pt x="5094" y="5418"/>
                        <a:pt x="4885" y="5574"/>
                      </a:cubicBezTo>
                      <a:cubicBezTo>
                        <a:pt x="4678" y="5783"/>
                        <a:pt x="4263" y="5732"/>
                        <a:pt x="4523" y="5574"/>
                      </a:cubicBezTo>
                      <a:cubicBezTo>
                        <a:pt x="4678" y="5523"/>
                        <a:pt x="4314" y="5523"/>
                        <a:pt x="4523" y="5314"/>
                      </a:cubicBezTo>
                      <a:cubicBezTo>
                        <a:pt x="4729" y="5158"/>
                        <a:pt x="4523" y="5105"/>
                        <a:pt x="4729" y="4949"/>
                      </a:cubicBezTo>
                      <a:cubicBezTo>
                        <a:pt x="4989" y="4794"/>
                        <a:pt x="5458" y="5209"/>
                        <a:pt x="5198" y="4949"/>
                      </a:cubicBezTo>
                      <a:cubicBezTo>
                        <a:pt x="4938" y="4689"/>
                        <a:pt x="4574" y="4845"/>
                        <a:pt x="4418" y="5054"/>
                      </a:cubicBezTo>
                      <a:cubicBezTo>
                        <a:pt x="4314" y="5314"/>
                        <a:pt x="4263" y="5367"/>
                        <a:pt x="3899" y="5627"/>
                      </a:cubicBezTo>
                      <a:cubicBezTo>
                        <a:pt x="3585" y="5887"/>
                        <a:pt x="4105" y="5678"/>
                        <a:pt x="4105" y="5836"/>
                      </a:cubicBezTo>
                      <a:cubicBezTo>
                        <a:pt x="4054" y="5941"/>
                        <a:pt x="3950" y="5887"/>
                        <a:pt x="3899" y="6045"/>
                      </a:cubicBezTo>
                      <a:cubicBezTo>
                        <a:pt x="3845" y="6201"/>
                        <a:pt x="3585" y="6305"/>
                        <a:pt x="3430" y="6410"/>
                      </a:cubicBezTo>
                      <a:cubicBezTo>
                        <a:pt x="3223" y="6514"/>
                        <a:pt x="3274" y="6616"/>
                        <a:pt x="2964" y="6774"/>
                      </a:cubicBezTo>
                      <a:cubicBezTo>
                        <a:pt x="2599" y="6983"/>
                        <a:pt x="2859" y="7034"/>
                        <a:pt x="2704" y="7034"/>
                      </a:cubicBezTo>
                      <a:cubicBezTo>
                        <a:pt x="2546" y="7034"/>
                        <a:pt x="2339" y="7348"/>
                        <a:pt x="2339" y="7243"/>
                      </a:cubicBezTo>
                      <a:cubicBezTo>
                        <a:pt x="2339" y="7139"/>
                        <a:pt x="2130" y="7189"/>
                        <a:pt x="2184" y="7294"/>
                      </a:cubicBezTo>
                      <a:cubicBezTo>
                        <a:pt x="2184" y="7398"/>
                        <a:pt x="2079" y="7503"/>
                        <a:pt x="2026" y="7348"/>
                      </a:cubicBezTo>
                      <a:cubicBezTo>
                        <a:pt x="2026" y="7243"/>
                        <a:pt x="1924" y="7398"/>
                        <a:pt x="1870" y="7294"/>
                      </a:cubicBezTo>
                      <a:cubicBezTo>
                        <a:pt x="1819" y="7189"/>
                        <a:pt x="1766" y="7398"/>
                        <a:pt x="1506" y="7503"/>
                      </a:cubicBezTo>
                      <a:cubicBezTo>
                        <a:pt x="1299" y="7608"/>
                        <a:pt x="1350" y="7452"/>
                        <a:pt x="1506" y="7348"/>
                      </a:cubicBezTo>
                      <a:cubicBezTo>
                        <a:pt x="1715" y="7294"/>
                        <a:pt x="1559" y="7189"/>
                        <a:pt x="1819" y="7085"/>
                      </a:cubicBezTo>
                      <a:cubicBezTo>
                        <a:pt x="2079" y="7034"/>
                        <a:pt x="2026" y="7243"/>
                        <a:pt x="2184" y="6983"/>
                      </a:cubicBezTo>
                      <a:cubicBezTo>
                        <a:pt x="2286" y="6774"/>
                        <a:pt x="2495" y="6825"/>
                        <a:pt x="2599" y="6616"/>
                      </a:cubicBezTo>
                      <a:cubicBezTo>
                        <a:pt x="2704" y="6410"/>
                        <a:pt x="2859" y="6514"/>
                        <a:pt x="2859" y="6356"/>
                      </a:cubicBezTo>
                      <a:cubicBezTo>
                        <a:pt x="2859" y="6201"/>
                        <a:pt x="2859" y="6096"/>
                        <a:pt x="2964" y="5941"/>
                      </a:cubicBezTo>
                      <a:cubicBezTo>
                        <a:pt x="3119" y="5783"/>
                        <a:pt x="2805" y="6045"/>
                        <a:pt x="2704" y="5941"/>
                      </a:cubicBezTo>
                      <a:cubicBezTo>
                        <a:pt x="2599" y="5887"/>
                        <a:pt x="2599" y="6147"/>
                        <a:pt x="2444" y="5992"/>
                      </a:cubicBezTo>
                      <a:cubicBezTo>
                        <a:pt x="2339" y="5887"/>
                        <a:pt x="2130" y="5732"/>
                        <a:pt x="2026" y="5836"/>
                      </a:cubicBezTo>
                      <a:cubicBezTo>
                        <a:pt x="1924" y="5992"/>
                        <a:pt x="1664" y="6045"/>
                        <a:pt x="1715" y="5887"/>
                      </a:cubicBezTo>
                      <a:cubicBezTo>
                        <a:pt x="1819" y="5678"/>
                        <a:pt x="1610" y="5836"/>
                        <a:pt x="1715" y="5627"/>
                      </a:cubicBezTo>
                      <a:cubicBezTo>
                        <a:pt x="1766" y="5418"/>
                        <a:pt x="1664" y="5314"/>
                        <a:pt x="1404" y="5418"/>
                      </a:cubicBezTo>
                      <a:cubicBezTo>
                        <a:pt x="1144" y="5523"/>
                        <a:pt x="986" y="5263"/>
                        <a:pt x="884" y="5158"/>
                      </a:cubicBezTo>
                      <a:cubicBezTo>
                        <a:pt x="780" y="5105"/>
                        <a:pt x="1040" y="5003"/>
                        <a:pt x="831" y="4845"/>
                      </a:cubicBezTo>
                      <a:cubicBezTo>
                        <a:pt x="624" y="4689"/>
                        <a:pt x="520" y="4636"/>
                        <a:pt x="624" y="4585"/>
                      </a:cubicBezTo>
                      <a:cubicBezTo>
                        <a:pt x="780" y="4480"/>
                        <a:pt x="726" y="4325"/>
                        <a:pt x="831" y="4271"/>
                      </a:cubicBezTo>
                      <a:cubicBezTo>
                        <a:pt x="986" y="4221"/>
                        <a:pt x="1040" y="3802"/>
                        <a:pt x="1299" y="3961"/>
                      </a:cubicBezTo>
                      <a:cubicBezTo>
                        <a:pt x="1559" y="4116"/>
                        <a:pt x="1506" y="3752"/>
                        <a:pt x="1766" y="3802"/>
                      </a:cubicBezTo>
                      <a:cubicBezTo>
                        <a:pt x="1975" y="3856"/>
                        <a:pt x="2235" y="3596"/>
                        <a:pt x="1924" y="3438"/>
                      </a:cubicBezTo>
                      <a:cubicBezTo>
                        <a:pt x="1664" y="3283"/>
                        <a:pt x="2184" y="3387"/>
                        <a:pt x="2026" y="3229"/>
                      </a:cubicBezTo>
                      <a:cubicBezTo>
                        <a:pt x="1870" y="3023"/>
                        <a:pt x="1610" y="3492"/>
                        <a:pt x="1350" y="3334"/>
                      </a:cubicBezTo>
                      <a:cubicBezTo>
                        <a:pt x="1144" y="3229"/>
                        <a:pt x="1040" y="3387"/>
                        <a:pt x="726" y="3387"/>
                      </a:cubicBezTo>
                      <a:cubicBezTo>
                        <a:pt x="415" y="3334"/>
                        <a:pt x="624" y="3229"/>
                        <a:pt x="466" y="3127"/>
                      </a:cubicBezTo>
                      <a:cubicBezTo>
                        <a:pt x="311" y="3074"/>
                        <a:pt x="675" y="2969"/>
                        <a:pt x="364" y="2969"/>
                      </a:cubicBezTo>
                      <a:cubicBezTo>
                        <a:pt x="104" y="2969"/>
                        <a:pt x="0" y="2814"/>
                        <a:pt x="155" y="2760"/>
                      </a:cubicBezTo>
                      <a:cubicBezTo>
                        <a:pt x="311" y="2760"/>
                        <a:pt x="571" y="2554"/>
                        <a:pt x="1040" y="2396"/>
                      </a:cubicBezTo>
                      <a:cubicBezTo>
                        <a:pt x="1506" y="2240"/>
                        <a:pt x="1040" y="2658"/>
                        <a:pt x="1404" y="2605"/>
                      </a:cubicBezTo>
                      <a:cubicBezTo>
                        <a:pt x="1766" y="2554"/>
                        <a:pt x="1766" y="2658"/>
                        <a:pt x="1766" y="2605"/>
                      </a:cubicBezTo>
                      <a:cubicBezTo>
                        <a:pt x="1924" y="2500"/>
                        <a:pt x="1924" y="2658"/>
                        <a:pt x="1924" y="2554"/>
                      </a:cubicBezTo>
                      <a:cubicBezTo>
                        <a:pt x="1975" y="2396"/>
                        <a:pt x="1766" y="2554"/>
                        <a:pt x="1715" y="2396"/>
                      </a:cubicBezTo>
                      <a:cubicBezTo>
                        <a:pt x="1715" y="2240"/>
                        <a:pt x="1559" y="2396"/>
                        <a:pt x="1559" y="2240"/>
                      </a:cubicBezTo>
                      <a:cubicBezTo>
                        <a:pt x="1610" y="2031"/>
                        <a:pt x="1404" y="2291"/>
                        <a:pt x="1246" y="2031"/>
                      </a:cubicBezTo>
                      <a:cubicBezTo>
                        <a:pt x="1091" y="1718"/>
                        <a:pt x="260" y="1562"/>
                        <a:pt x="466" y="1511"/>
                      </a:cubicBezTo>
                      <a:cubicBezTo>
                        <a:pt x="726" y="1458"/>
                        <a:pt x="466" y="1302"/>
                        <a:pt x="726" y="1302"/>
                      </a:cubicBezTo>
                      <a:cubicBezTo>
                        <a:pt x="1246" y="1302"/>
                        <a:pt x="1350" y="1198"/>
                        <a:pt x="1506" y="780"/>
                      </a:cubicBezTo>
                      <a:cubicBezTo>
                        <a:pt x="1715" y="365"/>
                        <a:pt x="1766" y="780"/>
                        <a:pt x="2184" y="469"/>
                      </a:cubicBezTo>
                      <a:cubicBezTo>
                        <a:pt x="2599" y="156"/>
                        <a:pt x="2754" y="469"/>
                        <a:pt x="3014" y="209"/>
                      </a:cubicBezTo>
                      <a:cubicBezTo>
                        <a:pt x="3274" y="0"/>
                        <a:pt x="3325" y="156"/>
                        <a:pt x="3430" y="209"/>
                      </a:cubicBezTo>
                      <a:cubicBezTo>
                        <a:pt x="3585" y="311"/>
                        <a:pt x="3585" y="156"/>
                        <a:pt x="3743" y="260"/>
                      </a:cubicBezTo>
                      <a:cubicBezTo>
                        <a:pt x="3845" y="365"/>
                        <a:pt x="3743" y="311"/>
                        <a:pt x="4159" y="311"/>
                      </a:cubicBezTo>
                      <a:cubicBezTo>
                        <a:pt x="4574" y="311"/>
                        <a:pt x="4209" y="415"/>
                        <a:pt x="4574" y="520"/>
                      </a:cubicBezTo>
                      <a:cubicBezTo>
                        <a:pt x="4938" y="624"/>
                        <a:pt x="4938" y="415"/>
                        <a:pt x="5303" y="520"/>
                      </a:cubicBezTo>
                      <a:cubicBezTo>
                        <a:pt x="5667" y="678"/>
                        <a:pt x="6029" y="624"/>
                        <a:pt x="6238" y="729"/>
                      </a:cubicBezTo>
                      <a:cubicBezTo>
                        <a:pt x="6447" y="834"/>
                        <a:pt x="6498" y="678"/>
                        <a:pt x="6809" y="729"/>
                      </a:cubicBezTo>
                      <a:cubicBezTo>
                        <a:pt x="7122" y="729"/>
                        <a:pt x="7122" y="938"/>
                        <a:pt x="7433" y="938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2" name="Freeform 12">
                  <a:extLst>
                    <a:ext uri="{FF2B5EF4-FFF2-40B4-BE49-F238E27FC236}">
                      <a16:creationId xmlns:a16="http://schemas.microsoft.com/office/drawing/2014/main" id="{48F38236-BF71-A949-9483-A4715890F3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1353" y="2715186"/>
                  <a:ext cx="17173" cy="21577"/>
                </a:xfrm>
                <a:custGeom>
                  <a:avLst/>
                  <a:gdLst>
                    <a:gd name="T0" fmla="*/ 51 w 208"/>
                    <a:gd name="T1" fmla="*/ 105 h 261"/>
                    <a:gd name="T2" fmla="*/ 51 w 208"/>
                    <a:gd name="T3" fmla="*/ 105 h 261"/>
                    <a:gd name="T4" fmla="*/ 51 w 208"/>
                    <a:gd name="T5" fmla="*/ 0 h 261"/>
                    <a:gd name="T6" fmla="*/ 105 w 208"/>
                    <a:gd name="T7" fmla="*/ 54 h 261"/>
                    <a:gd name="T8" fmla="*/ 105 w 208"/>
                    <a:gd name="T9" fmla="*/ 105 h 261"/>
                    <a:gd name="T10" fmla="*/ 156 w 208"/>
                    <a:gd name="T11" fmla="*/ 210 h 261"/>
                    <a:gd name="T12" fmla="*/ 105 w 208"/>
                    <a:gd name="T13" fmla="*/ 210 h 261"/>
                    <a:gd name="T14" fmla="*/ 51 w 208"/>
                    <a:gd name="T15" fmla="*/ 105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8" h="261">
                      <a:moveTo>
                        <a:pt x="51" y="105"/>
                      </a:moveTo>
                      <a:lnTo>
                        <a:pt x="51" y="105"/>
                      </a:lnTo>
                      <a:cubicBezTo>
                        <a:pt x="51" y="54"/>
                        <a:pt x="0" y="54"/>
                        <a:pt x="51" y="0"/>
                      </a:cubicBezTo>
                      <a:cubicBezTo>
                        <a:pt x="51" y="0"/>
                        <a:pt x="51" y="0"/>
                        <a:pt x="105" y="54"/>
                      </a:cubicBezTo>
                      <a:cubicBezTo>
                        <a:pt x="105" y="54"/>
                        <a:pt x="51" y="54"/>
                        <a:pt x="105" y="105"/>
                      </a:cubicBezTo>
                      <a:cubicBezTo>
                        <a:pt x="156" y="156"/>
                        <a:pt x="156" y="156"/>
                        <a:pt x="156" y="210"/>
                      </a:cubicBezTo>
                      <a:cubicBezTo>
                        <a:pt x="207" y="260"/>
                        <a:pt x="156" y="260"/>
                        <a:pt x="105" y="210"/>
                      </a:cubicBezTo>
                      <a:cubicBezTo>
                        <a:pt x="51" y="105"/>
                        <a:pt x="51" y="105"/>
                        <a:pt x="51" y="105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3" name="Freeform 13">
                  <a:extLst>
                    <a:ext uri="{FF2B5EF4-FFF2-40B4-BE49-F238E27FC236}">
                      <a16:creationId xmlns:a16="http://schemas.microsoft.com/office/drawing/2014/main" id="{BA67B732-5639-3743-835C-B633BD4DCE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583" y="2672398"/>
                  <a:ext cx="43117" cy="64729"/>
                </a:xfrm>
                <a:custGeom>
                  <a:avLst/>
                  <a:gdLst>
                    <a:gd name="T0" fmla="*/ 51 w 521"/>
                    <a:gd name="T1" fmla="*/ 104 h 780"/>
                    <a:gd name="T2" fmla="*/ 51 w 521"/>
                    <a:gd name="T3" fmla="*/ 104 h 780"/>
                    <a:gd name="T4" fmla="*/ 51 w 521"/>
                    <a:gd name="T5" fmla="*/ 51 h 780"/>
                    <a:gd name="T6" fmla="*/ 104 w 521"/>
                    <a:gd name="T7" fmla="*/ 51 h 780"/>
                    <a:gd name="T8" fmla="*/ 155 w 521"/>
                    <a:gd name="T9" fmla="*/ 51 h 780"/>
                    <a:gd name="T10" fmla="*/ 155 w 521"/>
                    <a:gd name="T11" fmla="*/ 155 h 780"/>
                    <a:gd name="T12" fmla="*/ 311 w 521"/>
                    <a:gd name="T13" fmla="*/ 206 h 780"/>
                    <a:gd name="T14" fmla="*/ 364 w 521"/>
                    <a:gd name="T15" fmla="*/ 364 h 780"/>
                    <a:gd name="T16" fmla="*/ 364 w 521"/>
                    <a:gd name="T17" fmla="*/ 415 h 780"/>
                    <a:gd name="T18" fmla="*/ 311 w 521"/>
                    <a:gd name="T19" fmla="*/ 415 h 780"/>
                    <a:gd name="T20" fmla="*/ 364 w 521"/>
                    <a:gd name="T21" fmla="*/ 415 h 780"/>
                    <a:gd name="T22" fmla="*/ 415 w 521"/>
                    <a:gd name="T23" fmla="*/ 469 h 780"/>
                    <a:gd name="T24" fmla="*/ 469 w 521"/>
                    <a:gd name="T25" fmla="*/ 519 h 780"/>
                    <a:gd name="T26" fmla="*/ 469 w 521"/>
                    <a:gd name="T27" fmla="*/ 624 h 780"/>
                    <a:gd name="T28" fmla="*/ 469 w 521"/>
                    <a:gd name="T29" fmla="*/ 729 h 780"/>
                    <a:gd name="T30" fmla="*/ 364 w 521"/>
                    <a:gd name="T31" fmla="*/ 675 h 780"/>
                    <a:gd name="T32" fmla="*/ 311 w 521"/>
                    <a:gd name="T33" fmla="*/ 624 h 780"/>
                    <a:gd name="T34" fmla="*/ 311 w 521"/>
                    <a:gd name="T35" fmla="*/ 573 h 780"/>
                    <a:gd name="T36" fmla="*/ 209 w 521"/>
                    <a:gd name="T37" fmla="*/ 519 h 780"/>
                    <a:gd name="T38" fmla="*/ 209 w 521"/>
                    <a:gd name="T39" fmla="*/ 519 h 780"/>
                    <a:gd name="T40" fmla="*/ 104 w 521"/>
                    <a:gd name="T41" fmla="*/ 469 h 780"/>
                    <a:gd name="T42" fmla="*/ 209 w 521"/>
                    <a:gd name="T43" fmla="*/ 415 h 780"/>
                    <a:gd name="T44" fmla="*/ 155 w 521"/>
                    <a:gd name="T45" fmla="*/ 364 h 780"/>
                    <a:gd name="T46" fmla="*/ 104 w 521"/>
                    <a:gd name="T47" fmla="*/ 310 h 780"/>
                    <a:gd name="T48" fmla="*/ 155 w 521"/>
                    <a:gd name="T49" fmla="*/ 260 h 780"/>
                    <a:gd name="T50" fmla="*/ 155 w 521"/>
                    <a:gd name="T51" fmla="*/ 206 h 780"/>
                    <a:gd name="T52" fmla="*/ 51 w 521"/>
                    <a:gd name="T53" fmla="*/ 104 h 7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21" h="780">
                      <a:moveTo>
                        <a:pt x="51" y="104"/>
                      </a:moveTo>
                      <a:lnTo>
                        <a:pt x="51" y="104"/>
                      </a:lnTo>
                      <a:cubicBezTo>
                        <a:pt x="0" y="104"/>
                        <a:pt x="0" y="104"/>
                        <a:pt x="51" y="51"/>
                      </a:cubicBezTo>
                      <a:cubicBezTo>
                        <a:pt x="51" y="51"/>
                        <a:pt x="0" y="51"/>
                        <a:pt x="104" y="51"/>
                      </a:cubicBezTo>
                      <a:cubicBezTo>
                        <a:pt x="155" y="51"/>
                        <a:pt x="155" y="0"/>
                        <a:pt x="155" y="51"/>
                      </a:cubicBezTo>
                      <a:cubicBezTo>
                        <a:pt x="209" y="104"/>
                        <a:pt x="155" y="155"/>
                        <a:pt x="155" y="155"/>
                      </a:cubicBezTo>
                      <a:cubicBezTo>
                        <a:pt x="209" y="206"/>
                        <a:pt x="260" y="155"/>
                        <a:pt x="311" y="206"/>
                      </a:cubicBezTo>
                      <a:cubicBezTo>
                        <a:pt x="311" y="260"/>
                        <a:pt x="311" y="310"/>
                        <a:pt x="364" y="364"/>
                      </a:cubicBezTo>
                      <a:cubicBezTo>
                        <a:pt x="415" y="415"/>
                        <a:pt x="469" y="469"/>
                        <a:pt x="364" y="415"/>
                      </a:cubicBezTo>
                      <a:cubicBezTo>
                        <a:pt x="311" y="364"/>
                        <a:pt x="260" y="415"/>
                        <a:pt x="311" y="415"/>
                      </a:cubicBezTo>
                      <a:cubicBezTo>
                        <a:pt x="311" y="469"/>
                        <a:pt x="364" y="415"/>
                        <a:pt x="364" y="415"/>
                      </a:cubicBezTo>
                      <a:cubicBezTo>
                        <a:pt x="415" y="469"/>
                        <a:pt x="415" y="415"/>
                        <a:pt x="415" y="469"/>
                      </a:cubicBezTo>
                      <a:cubicBezTo>
                        <a:pt x="469" y="519"/>
                        <a:pt x="520" y="469"/>
                        <a:pt x="469" y="519"/>
                      </a:cubicBezTo>
                      <a:cubicBezTo>
                        <a:pt x="469" y="624"/>
                        <a:pt x="469" y="573"/>
                        <a:pt x="469" y="624"/>
                      </a:cubicBezTo>
                      <a:cubicBezTo>
                        <a:pt x="469" y="675"/>
                        <a:pt x="520" y="675"/>
                        <a:pt x="469" y="729"/>
                      </a:cubicBezTo>
                      <a:cubicBezTo>
                        <a:pt x="469" y="779"/>
                        <a:pt x="364" y="729"/>
                        <a:pt x="364" y="675"/>
                      </a:cubicBezTo>
                      <a:cubicBezTo>
                        <a:pt x="364" y="573"/>
                        <a:pt x="364" y="675"/>
                        <a:pt x="311" y="624"/>
                      </a:cubicBezTo>
                      <a:cubicBezTo>
                        <a:pt x="311" y="624"/>
                        <a:pt x="364" y="624"/>
                        <a:pt x="311" y="573"/>
                      </a:cubicBezTo>
                      <a:cubicBezTo>
                        <a:pt x="260" y="519"/>
                        <a:pt x="260" y="519"/>
                        <a:pt x="209" y="519"/>
                      </a:cubicBezTo>
                      <a:cubicBezTo>
                        <a:pt x="209" y="519"/>
                        <a:pt x="209" y="469"/>
                        <a:pt x="209" y="519"/>
                      </a:cubicBezTo>
                      <a:cubicBezTo>
                        <a:pt x="155" y="519"/>
                        <a:pt x="155" y="519"/>
                        <a:pt x="104" y="469"/>
                      </a:cubicBezTo>
                      <a:cubicBezTo>
                        <a:pt x="104" y="469"/>
                        <a:pt x="209" y="469"/>
                        <a:pt x="209" y="415"/>
                      </a:cubicBezTo>
                      <a:cubicBezTo>
                        <a:pt x="155" y="364"/>
                        <a:pt x="209" y="364"/>
                        <a:pt x="155" y="364"/>
                      </a:cubicBezTo>
                      <a:cubicBezTo>
                        <a:pt x="104" y="364"/>
                        <a:pt x="104" y="364"/>
                        <a:pt x="104" y="310"/>
                      </a:cubicBezTo>
                      <a:cubicBezTo>
                        <a:pt x="104" y="260"/>
                        <a:pt x="155" y="310"/>
                        <a:pt x="155" y="260"/>
                      </a:cubicBezTo>
                      <a:cubicBezTo>
                        <a:pt x="155" y="206"/>
                        <a:pt x="104" y="260"/>
                        <a:pt x="155" y="206"/>
                      </a:cubicBezTo>
                      <a:cubicBezTo>
                        <a:pt x="155" y="104"/>
                        <a:pt x="104" y="104"/>
                        <a:pt x="51" y="104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4" name="Freeform 14">
                  <a:extLst>
                    <a:ext uri="{FF2B5EF4-FFF2-40B4-BE49-F238E27FC236}">
                      <a16:creationId xmlns:a16="http://schemas.microsoft.com/office/drawing/2014/main" id="{54D17EB4-96A0-EC4A-A58D-4AC600C6D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8564" y="2680810"/>
                  <a:ext cx="17174" cy="13165"/>
                </a:xfrm>
                <a:custGeom>
                  <a:avLst/>
                  <a:gdLst>
                    <a:gd name="T0" fmla="*/ 102 w 207"/>
                    <a:gd name="T1" fmla="*/ 102 h 157"/>
                    <a:gd name="T2" fmla="*/ 102 w 207"/>
                    <a:gd name="T3" fmla="*/ 102 h 157"/>
                    <a:gd name="T4" fmla="*/ 51 w 207"/>
                    <a:gd name="T5" fmla="*/ 102 h 157"/>
                    <a:gd name="T6" fmla="*/ 102 w 207"/>
                    <a:gd name="T7" fmla="*/ 51 h 157"/>
                    <a:gd name="T8" fmla="*/ 155 w 207"/>
                    <a:gd name="T9" fmla="*/ 51 h 157"/>
                    <a:gd name="T10" fmla="*/ 155 w 207"/>
                    <a:gd name="T11" fmla="*/ 102 h 157"/>
                    <a:gd name="T12" fmla="*/ 102 w 207"/>
                    <a:gd name="T13" fmla="*/ 102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7" h="157">
                      <a:moveTo>
                        <a:pt x="102" y="102"/>
                      </a:moveTo>
                      <a:lnTo>
                        <a:pt x="102" y="102"/>
                      </a:lnTo>
                      <a:cubicBezTo>
                        <a:pt x="0" y="156"/>
                        <a:pt x="51" y="102"/>
                        <a:pt x="51" y="102"/>
                      </a:cubicBezTo>
                      <a:cubicBezTo>
                        <a:pt x="51" y="51"/>
                        <a:pt x="102" y="51"/>
                        <a:pt x="102" y="51"/>
                      </a:cubicBezTo>
                      <a:cubicBezTo>
                        <a:pt x="51" y="51"/>
                        <a:pt x="102" y="0"/>
                        <a:pt x="155" y="51"/>
                      </a:cubicBezTo>
                      <a:cubicBezTo>
                        <a:pt x="206" y="51"/>
                        <a:pt x="206" y="102"/>
                        <a:pt x="155" y="102"/>
                      </a:cubicBezTo>
                      <a:cubicBezTo>
                        <a:pt x="102" y="102"/>
                        <a:pt x="102" y="102"/>
                        <a:pt x="102" y="102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5" name="Freeform 15">
                  <a:extLst>
                    <a:ext uri="{FF2B5EF4-FFF2-40B4-BE49-F238E27FC236}">
                      <a16:creationId xmlns:a16="http://schemas.microsoft.com/office/drawing/2014/main" id="{24D568FC-8354-AF43-82B3-FAFAB30F1C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4470" y="2723962"/>
                  <a:ext cx="4385" cy="4388"/>
                </a:xfrm>
                <a:custGeom>
                  <a:avLst/>
                  <a:gdLst>
                    <a:gd name="T0" fmla="*/ 0 w 52"/>
                    <a:gd name="T1" fmla="*/ 51 h 52"/>
                    <a:gd name="T2" fmla="*/ 0 w 52"/>
                    <a:gd name="T3" fmla="*/ 51 h 52"/>
                    <a:gd name="T4" fmla="*/ 0 w 52"/>
                    <a:gd name="T5" fmla="*/ 0 h 52"/>
                    <a:gd name="T6" fmla="*/ 51 w 52"/>
                    <a:gd name="T7" fmla="*/ 0 h 52"/>
                    <a:gd name="T8" fmla="*/ 0 w 52"/>
                    <a:gd name="T9" fmla="*/ 51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52">
                      <a:moveTo>
                        <a:pt x="0" y="51"/>
                      </a:moveTo>
                      <a:lnTo>
                        <a:pt x="0" y="51"/>
                      </a:ln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51"/>
                        <a:pt x="51" y="51"/>
                        <a:pt x="0" y="51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6" name="Freeform 16">
                  <a:extLst>
                    <a:ext uri="{FF2B5EF4-FFF2-40B4-BE49-F238E27FC236}">
                      <a16:creationId xmlns:a16="http://schemas.microsoft.com/office/drawing/2014/main" id="{431EA31B-F91B-094A-81A9-086677DF81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644" y="2723962"/>
                  <a:ext cx="13155" cy="8777"/>
                </a:xfrm>
                <a:custGeom>
                  <a:avLst/>
                  <a:gdLst>
                    <a:gd name="T0" fmla="*/ 53 w 159"/>
                    <a:gd name="T1" fmla="*/ 105 h 106"/>
                    <a:gd name="T2" fmla="*/ 53 w 159"/>
                    <a:gd name="T3" fmla="*/ 105 h 106"/>
                    <a:gd name="T4" fmla="*/ 104 w 159"/>
                    <a:gd name="T5" fmla="*/ 51 h 106"/>
                    <a:gd name="T6" fmla="*/ 158 w 159"/>
                    <a:gd name="T7" fmla="*/ 0 h 106"/>
                    <a:gd name="T8" fmla="*/ 53 w 159"/>
                    <a:gd name="T9" fmla="*/ 105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9" h="106">
                      <a:moveTo>
                        <a:pt x="53" y="105"/>
                      </a:moveTo>
                      <a:lnTo>
                        <a:pt x="53" y="105"/>
                      </a:lnTo>
                      <a:cubicBezTo>
                        <a:pt x="0" y="105"/>
                        <a:pt x="53" y="51"/>
                        <a:pt x="104" y="51"/>
                      </a:cubicBezTo>
                      <a:cubicBezTo>
                        <a:pt x="104" y="0"/>
                        <a:pt x="158" y="0"/>
                        <a:pt x="158" y="0"/>
                      </a:cubicBezTo>
                      <a:cubicBezTo>
                        <a:pt x="104" y="51"/>
                        <a:pt x="104" y="51"/>
                        <a:pt x="53" y="105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7" name="Freeform 17">
                  <a:extLst>
                    <a:ext uri="{FF2B5EF4-FFF2-40B4-BE49-F238E27FC236}">
                      <a16:creationId xmlns:a16="http://schemas.microsoft.com/office/drawing/2014/main" id="{6BEDE7DF-8E1E-F94D-9871-21FE4AB819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05409" y="2654845"/>
                  <a:ext cx="17539" cy="39130"/>
                </a:xfrm>
                <a:custGeom>
                  <a:avLst/>
                  <a:gdLst>
                    <a:gd name="T0" fmla="*/ 53 w 210"/>
                    <a:gd name="T1" fmla="*/ 364 h 470"/>
                    <a:gd name="T2" fmla="*/ 53 w 210"/>
                    <a:gd name="T3" fmla="*/ 364 h 470"/>
                    <a:gd name="T4" fmla="*/ 104 w 210"/>
                    <a:gd name="T5" fmla="*/ 260 h 470"/>
                    <a:gd name="T6" fmla="*/ 53 w 210"/>
                    <a:gd name="T7" fmla="*/ 155 h 470"/>
                    <a:gd name="T8" fmla="*/ 53 w 210"/>
                    <a:gd name="T9" fmla="*/ 0 h 470"/>
                    <a:gd name="T10" fmla="*/ 158 w 210"/>
                    <a:gd name="T11" fmla="*/ 51 h 470"/>
                    <a:gd name="T12" fmla="*/ 209 w 210"/>
                    <a:gd name="T13" fmla="*/ 155 h 470"/>
                    <a:gd name="T14" fmla="*/ 158 w 210"/>
                    <a:gd name="T15" fmla="*/ 313 h 470"/>
                    <a:gd name="T16" fmla="*/ 104 w 210"/>
                    <a:gd name="T17" fmla="*/ 313 h 470"/>
                    <a:gd name="T18" fmla="*/ 53 w 210"/>
                    <a:gd name="T19" fmla="*/ 364 h 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0" h="470">
                      <a:moveTo>
                        <a:pt x="53" y="364"/>
                      </a:moveTo>
                      <a:lnTo>
                        <a:pt x="53" y="364"/>
                      </a:lnTo>
                      <a:cubicBezTo>
                        <a:pt x="53" y="260"/>
                        <a:pt x="53" y="209"/>
                        <a:pt x="104" y="260"/>
                      </a:cubicBezTo>
                      <a:cubicBezTo>
                        <a:pt x="158" y="260"/>
                        <a:pt x="104" y="209"/>
                        <a:pt x="53" y="155"/>
                      </a:cubicBezTo>
                      <a:cubicBezTo>
                        <a:pt x="0" y="51"/>
                        <a:pt x="0" y="51"/>
                        <a:pt x="53" y="0"/>
                      </a:cubicBezTo>
                      <a:cubicBezTo>
                        <a:pt x="104" y="0"/>
                        <a:pt x="104" y="0"/>
                        <a:pt x="158" y="51"/>
                      </a:cubicBezTo>
                      <a:cubicBezTo>
                        <a:pt x="158" y="104"/>
                        <a:pt x="209" y="51"/>
                        <a:pt x="209" y="155"/>
                      </a:cubicBezTo>
                      <a:cubicBezTo>
                        <a:pt x="158" y="260"/>
                        <a:pt x="209" y="260"/>
                        <a:pt x="158" y="313"/>
                      </a:cubicBezTo>
                      <a:cubicBezTo>
                        <a:pt x="158" y="364"/>
                        <a:pt x="158" y="415"/>
                        <a:pt x="104" y="313"/>
                      </a:cubicBezTo>
                      <a:cubicBezTo>
                        <a:pt x="104" y="260"/>
                        <a:pt x="104" y="469"/>
                        <a:pt x="53" y="364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8" name="Freeform 18">
                  <a:extLst>
                    <a:ext uri="{FF2B5EF4-FFF2-40B4-BE49-F238E27FC236}">
                      <a16:creationId xmlns:a16="http://schemas.microsoft.com/office/drawing/2014/main" id="{4FF96E18-151B-0344-BE71-A5C7A40C2E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8564" y="2650456"/>
                  <a:ext cx="21559" cy="25965"/>
                </a:xfrm>
                <a:custGeom>
                  <a:avLst/>
                  <a:gdLst>
                    <a:gd name="T0" fmla="*/ 206 w 261"/>
                    <a:gd name="T1" fmla="*/ 263 h 315"/>
                    <a:gd name="T2" fmla="*/ 206 w 261"/>
                    <a:gd name="T3" fmla="*/ 263 h 315"/>
                    <a:gd name="T4" fmla="*/ 102 w 261"/>
                    <a:gd name="T5" fmla="*/ 158 h 315"/>
                    <a:gd name="T6" fmla="*/ 0 w 261"/>
                    <a:gd name="T7" fmla="*/ 54 h 315"/>
                    <a:gd name="T8" fmla="*/ 102 w 261"/>
                    <a:gd name="T9" fmla="*/ 0 h 315"/>
                    <a:gd name="T10" fmla="*/ 260 w 261"/>
                    <a:gd name="T11" fmla="*/ 54 h 315"/>
                    <a:gd name="T12" fmla="*/ 206 w 261"/>
                    <a:gd name="T13" fmla="*/ 209 h 315"/>
                    <a:gd name="T14" fmla="*/ 206 w 261"/>
                    <a:gd name="T15" fmla="*/ 263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61" h="315">
                      <a:moveTo>
                        <a:pt x="206" y="263"/>
                      </a:moveTo>
                      <a:lnTo>
                        <a:pt x="206" y="263"/>
                      </a:lnTo>
                      <a:cubicBezTo>
                        <a:pt x="102" y="263"/>
                        <a:pt x="51" y="314"/>
                        <a:pt x="102" y="158"/>
                      </a:cubicBezTo>
                      <a:cubicBezTo>
                        <a:pt x="102" y="54"/>
                        <a:pt x="0" y="158"/>
                        <a:pt x="0" y="54"/>
                      </a:cubicBezTo>
                      <a:cubicBezTo>
                        <a:pt x="0" y="0"/>
                        <a:pt x="51" y="0"/>
                        <a:pt x="102" y="0"/>
                      </a:cubicBezTo>
                      <a:cubicBezTo>
                        <a:pt x="206" y="54"/>
                        <a:pt x="206" y="0"/>
                        <a:pt x="260" y="54"/>
                      </a:cubicBezTo>
                      <a:cubicBezTo>
                        <a:pt x="260" y="105"/>
                        <a:pt x="260" y="158"/>
                        <a:pt x="206" y="209"/>
                      </a:cubicBezTo>
                      <a:cubicBezTo>
                        <a:pt x="206" y="209"/>
                        <a:pt x="260" y="314"/>
                        <a:pt x="206" y="263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9" name="Freeform 19">
                  <a:extLst>
                    <a:ext uri="{FF2B5EF4-FFF2-40B4-BE49-F238E27FC236}">
                      <a16:creationId xmlns:a16="http://schemas.microsoft.com/office/drawing/2014/main" id="{C80906A4-5E53-8344-B84B-F581DFA50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7906" y="2607303"/>
                  <a:ext cx="43117" cy="30353"/>
                </a:xfrm>
                <a:custGeom>
                  <a:avLst/>
                  <a:gdLst>
                    <a:gd name="T0" fmla="*/ 155 w 521"/>
                    <a:gd name="T1" fmla="*/ 365 h 366"/>
                    <a:gd name="T2" fmla="*/ 155 w 521"/>
                    <a:gd name="T3" fmla="*/ 365 h 366"/>
                    <a:gd name="T4" fmla="*/ 105 w 521"/>
                    <a:gd name="T5" fmla="*/ 209 h 366"/>
                    <a:gd name="T6" fmla="*/ 51 w 521"/>
                    <a:gd name="T7" fmla="*/ 105 h 366"/>
                    <a:gd name="T8" fmla="*/ 105 w 521"/>
                    <a:gd name="T9" fmla="*/ 51 h 366"/>
                    <a:gd name="T10" fmla="*/ 260 w 521"/>
                    <a:gd name="T11" fmla="*/ 0 h 366"/>
                    <a:gd name="T12" fmla="*/ 469 w 521"/>
                    <a:gd name="T13" fmla="*/ 156 h 366"/>
                    <a:gd name="T14" fmla="*/ 469 w 521"/>
                    <a:gd name="T15" fmla="*/ 260 h 366"/>
                    <a:gd name="T16" fmla="*/ 364 w 521"/>
                    <a:gd name="T17" fmla="*/ 314 h 366"/>
                    <a:gd name="T18" fmla="*/ 260 w 521"/>
                    <a:gd name="T19" fmla="*/ 260 h 366"/>
                    <a:gd name="T20" fmla="*/ 155 w 521"/>
                    <a:gd name="T21" fmla="*/ 365 h 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21" h="366">
                      <a:moveTo>
                        <a:pt x="155" y="365"/>
                      </a:moveTo>
                      <a:lnTo>
                        <a:pt x="155" y="365"/>
                      </a:lnTo>
                      <a:cubicBezTo>
                        <a:pt x="51" y="260"/>
                        <a:pt x="155" y="260"/>
                        <a:pt x="105" y="209"/>
                      </a:cubicBezTo>
                      <a:cubicBezTo>
                        <a:pt x="0" y="156"/>
                        <a:pt x="0" y="156"/>
                        <a:pt x="51" y="105"/>
                      </a:cubicBezTo>
                      <a:cubicBezTo>
                        <a:pt x="51" y="51"/>
                        <a:pt x="51" y="0"/>
                        <a:pt x="105" y="51"/>
                      </a:cubicBezTo>
                      <a:cubicBezTo>
                        <a:pt x="155" y="51"/>
                        <a:pt x="209" y="0"/>
                        <a:pt x="260" y="0"/>
                      </a:cubicBezTo>
                      <a:cubicBezTo>
                        <a:pt x="311" y="51"/>
                        <a:pt x="469" y="105"/>
                        <a:pt x="469" y="156"/>
                      </a:cubicBezTo>
                      <a:cubicBezTo>
                        <a:pt x="415" y="209"/>
                        <a:pt x="469" y="209"/>
                        <a:pt x="469" y="260"/>
                      </a:cubicBezTo>
                      <a:cubicBezTo>
                        <a:pt x="520" y="365"/>
                        <a:pt x="469" y="365"/>
                        <a:pt x="364" y="314"/>
                      </a:cubicBezTo>
                      <a:cubicBezTo>
                        <a:pt x="260" y="209"/>
                        <a:pt x="209" y="209"/>
                        <a:pt x="260" y="260"/>
                      </a:cubicBezTo>
                      <a:cubicBezTo>
                        <a:pt x="311" y="314"/>
                        <a:pt x="209" y="365"/>
                        <a:pt x="155" y="365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0" name="Freeform 20">
                  <a:extLst>
                    <a:ext uri="{FF2B5EF4-FFF2-40B4-BE49-F238E27FC236}">
                      <a16:creationId xmlns:a16="http://schemas.microsoft.com/office/drawing/2014/main" id="{90909AFF-6002-D545-BD9D-F070B63069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75446" y="2637656"/>
                  <a:ext cx="4385" cy="17553"/>
                </a:xfrm>
                <a:custGeom>
                  <a:avLst/>
                  <a:gdLst>
                    <a:gd name="T0" fmla="*/ 0 w 52"/>
                    <a:gd name="T1" fmla="*/ 53 h 210"/>
                    <a:gd name="T2" fmla="*/ 0 w 52"/>
                    <a:gd name="T3" fmla="*/ 53 h 210"/>
                    <a:gd name="T4" fmla="*/ 51 w 52"/>
                    <a:gd name="T5" fmla="*/ 209 h 210"/>
                    <a:gd name="T6" fmla="*/ 0 w 52"/>
                    <a:gd name="T7" fmla="*/ 155 h 210"/>
                    <a:gd name="T8" fmla="*/ 0 w 52"/>
                    <a:gd name="T9" fmla="*/ 53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210">
                      <a:moveTo>
                        <a:pt x="0" y="53"/>
                      </a:moveTo>
                      <a:lnTo>
                        <a:pt x="0" y="53"/>
                      </a:lnTo>
                      <a:cubicBezTo>
                        <a:pt x="0" y="0"/>
                        <a:pt x="51" y="155"/>
                        <a:pt x="51" y="209"/>
                      </a:cubicBezTo>
                      <a:cubicBezTo>
                        <a:pt x="0" y="209"/>
                        <a:pt x="0" y="155"/>
                        <a:pt x="0" y="155"/>
                      </a:cubicBezTo>
                      <a:cubicBezTo>
                        <a:pt x="0" y="104"/>
                        <a:pt x="0" y="53"/>
                        <a:pt x="0" y="53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1" name="Freeform 21">
                  <a:extLst>
                    <a:ext uri="{FF2B5EF4-FFF2-40B4-BE49-F238E27FC236}">
                      <a16:creationId xmlns:a16="http://schemas.microsoft.com/office/drawing/2014/main" id="{82681C68-8E9D-C64A-8961-DC59F077FF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79466" y="2628879"/>
                  <a:ext cx="25943" cy="60707"/>
                </a:xfrm>
                <a:custGeom>
                  <a:avLst/>
                  <a:gdLst>
                    <a:gd name="T0" fmla="*/ 155 w 312"/>
                    <a:gd name="T1" fmla="*/ 523 h 730"/>
                    <a:gd name="T2" fmla="*/ 155 w 312"/>
                    <a:gd name="T3" fmla="*/ 523 h 730"/>
                    <a:gd name="T4" fmla="*/ 155 w 312"/>
                    <a:gd name="T5" fmla="*/ 418 h 730"/>
                    <a:gd name="T6" fmla="*/ 51 w 312"/>
                    <a:gd name="T7" fmla="*/ 314 h 730"/>
                    <a:gd name="T8" fmla="*/ 0 w 312"/>
                    <a:gd name="T9" fmla="*/ 209 h 730"/>
                    <a:gd name="T10" fmla="*/ 104 w 312"/>
                    <a:gd name="T11" fmla="*/ 105 h 730"/>
                    <a:gd name="T12" fmla="*/ 260 w 312"/>
                    <a:gd name="T13" fmla="*/ 365 h 730"/>
                    <a:gd name="T14" fmla="*/ 260 w 312"/>
                    <a:gd name="T15" fmla="*/ 523 h 730"/>
                    <a:gd name="T16" fmla="*/ 209 w 312"/>
                    <a:gd name="T17" fmla="*/ 574 h 730"/>
                    <a:gd name="T18" fmla="*/ 155 w 312"/>
                    <a:gd name="T19" fmla="*/ 523 h 7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2" h="730">
                      <a:moveTo>
                        <a:pt x="155" y="523"/>
                      </a:moveTo>
                      <a:lnTo>
                        <a:pt x="155" y="523"/>
                      </a:lnTo>
                      <a:cubicBezTo>
                        <a:pt x="155" y="418"/>
                        <a:pt x="104" y="523"/>
                        <a:pt x="155" y="418"/>
                      </a:cubicBezTo>
                      <a:cubicBezTo>
                        <a:pt x="155" y="365"/>
                        <a:pt x="51" y="418"/>
                        <a:pt x="51" y="314"/>
                      </a:cubicBezTo>
                      <a:cubicBezTo>
                        <a:pt x="104" y="260"/>
                        <a:pt x="51" y="209"/>
                        <a:pt x="0" y="209"/>
                      </a:cubicBezTo>
                      <a:cubicBezTo>
                        <a:pt x="0" y="158"/>
                        <a:pt x="0" y="0"/>
                        <a:pt x="104" y="105"/>
                      </a:cubicBezTo>
                      <a:cubicBezTo>
                        <a:pt x="209" y="158"/>
                        <a:pt x="209" y="209"/>
                        <a:pt x="260" y="365"/>
                      </a:cubicBezTo>
                      <a:cubicBezTo>
                        <a:pt x="311" y="523"/>
                        <a:pt x="260" y="469"/>
                        <a:pt x="260" y="523"/>
                      </a:cubicBezTo>
                      <a:cubicBezTo>
                        <a:pt x="260" y="627"/>
                        <a:pt x="311" y="729"/>
                        <a:pt x="209" y="574"/>
                      </a:cubicBezTo>
                      <a:cubicBezTo>
                        <a:pt x="209" y="574"/>
                        <a:pt x="155" y="574"/>
                        <a:pt x="155" y="523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2" name="Freeform 22">
                  <a:extLst>
                    <a:ext uri="{FF2B5EF4-FFF2-40B4-BE49-F238E27FC236}">
                      <a16:creationId xmlns:a16="http://schemas.microsoft.com/office/drawing/2014/main" id="{C42A3A5A-6B2A-BC49-8432-8C24AF13B0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92620" y="2602914"/>
                  <a:ext cx="30328" cy="51930"/>
                </a:xfrm>
                <a:custGeom>
                  <a:avLst/>
                  <a:gdLst>
                    <a:gd name="T0" fmla="*/ 105 w 366"/>
                    <a:gd name="T1" fmla="*/ 571 h 626"/>
                    <a:gd name="T2" fmla="*/ 105 w 366"/>
                    <a:gd name="T3" fmla="*/ 571 h 626"/>
                    <a:gd name="T4" fmla="*/ 156 w 366"/>
                    <a:gd name="T5" fmla="*/ 416 h 626"/>
                    <a:gd name="T6" fmla="*/ 54 w 366"/>
                    <a:gd name="T7" fmla="*/ 156 h 626"/>
                    <a:gd name="T8" fmla="*/ 105 w 366"/>
                    <a:gd name="T9" fmla="*/ 51 h 626"/>
                    <a:gd name="T10" fmla="*/ 260 w 366"/>
                    <a:gd name="T11" fmla="*/ 156 h 626"/>
                    <a:gd name="T12" fmla="*/ 314 w 366"/>
                    <a:gd name="T13" fmla="*/ 365 h 626"/>
                    <a:gd name="T14" fmla="*/ 314 w 366"/>
                    <a:gd name="T15" fmla="*/ 469 h 626"/>
                    <a:gd name="T16" fmla="*/ 209 w 366"/>
                    <a:gd name="T17" fmla="*/ 571 h 626"/>
                    <a:gd name="T18" fmla="*/ 105 w 366"/>
                    <a:gd name="T19" fmla="*/ 571 h 6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6" h="626">
                      <a:moveTo>
                        <a:pt x="105" y="571"/>
                      </a:moveTo>
                      <a:lnTo>
                        <a:pt x="105" y="571"/>
                      </a:lnTo>
                      <a:cubicBezTo>
                        <a:pt x="105" y="416"/>
                        <a:pt x="209" y="520"/>
                        <a:pt x="156" y="416"/>
                      </a:cubicBezTo>
                      <a:cubicBezTo>
                        <a:pt x="105" y="311"/>
                        <a:pt x="105" y="260"/>
                        <a:pt x="54" y="156"/>
                      </a:cubicBezTo>
                      <a:cubicBezTo>
                        <a:pt x="54" y="51"/>
                        <a:pt x="0" y="0"/>
                        <a:pt x="105" y="51"/>
                      </a:cubicBezTo>
                      <a:cubicBezTo>
                        <a:pt x="156" y="156"/>
                        <a:pt x="209" y="51"/>
                        <a:pt x="260" y="156"/>
                      </a:cubicBezTo>
                      <a:cubicBezTo>
                        <a:pt x="314" y="207"/>
                        <a:pt x="365" y="365"/>
                        <a:pt x="314" y="365"/>
                      </a:cubicBezTo>
                      <a:cubicBezTo>
                        <a:pt x="260" y="365"/>
                        <a:pt x="365" y="469"/>
                        <a:pt x="314" y="469"/>
                      </a:cubicBezTo>
                      <a:cubicBezTo>
                        <a:pt x="209" y="469"/>
                        <a:pt x="314" y="520"/>
                        <a:pt x="209" y="571"/>
                      </a:cubicBezTo>
                      <a:cubicBezTo>
                        <a:pt x="156" y="571"/>
                        <a:pt x="105" y="625"/>
                        <a:pt x="105" y="571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3" name="Freeform 23">
                  <a:extLst>
                    <a:ext uri="{FF2B5EF4-FFF2-40B4-BE49-F238E27FC236}">
                      <a16:creationId xmlns:a16="http://schemas.microsoft.com/office/drawing/2014/main" id="{5320886A-FB24-9241-B4D3-4D2569F0CE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29896" y="2529407"/>
                  <a:ext cx="13155" cy="13165"/>
                </a:xfrm>
                <a:custGeom>
                  <a:avLst/>
                  <a:gdLst>
                    <a:gd name="T0" fmla="*/ 0 w 157"/>
                    <a:gd name="T1" fmla="*/ 105 h 157"/>
                    <a:gd name="T2" fmla="*/ 0 w 157"/>
                    <a:gd name="T3" fmla="*/ 105 h 157"/>
                    <a:gd name="T4" fmla="*/ 105 w 157"/>
                    <a:gd name="T5" fmla="*/ 0 h 157"/>
                    <a:gd name="T6" fmla="*/ 105 w 157"/>
                    <a:gd name="T7" fmla="*/ 51 h 157"/>
                    <a:gd name="T8" fmla="*/ 0 w 157"/>
                    <a:gd name="T9" fmla="*/ 105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7" h="157">
                      <a:moveTo>
                        <a:pt x="0" y="105"/>
                      </a:moveTo>
                      <a:lnTo>
                        <a:pt x="0" y="105"/>
                      </a:lnTo>
                      <a:cubicBezTo>
                        <a:pt x="0" y="51"/>
                        <a:pt x="0" y="0"/>
                        <a:pt x="105" y="0"/>
                      </a:cubicBezTo>
                      <a:cubicBezTo>
                        <a:pt x="156" y="51"/>
                        <a:pt x="156" y="51"/>
                        <a:pt x="105" y="51"/>
                      </a:cubicBezTo>
                      <a:cubicBezTo>
                        <a:pt x="51" y="105"/>
                        <a:pt x="0" y="156"/>
                        <a:pt x="0" y="105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4" name="Freeform 24">
                  <a:extLst>
                    <a:ext uri="{FF2B5EF4-FFF2-40B4-BE49-F238E27FC236}">
                      <a16:creationId xmlns:a16="http://schemas.microsoft.com/office/drawing/2014/main" id="{5E0185EC-D62D-2241-B75F-B97726BCB0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9568" y="2533795"/>
                  <a:ext cx="25943" cy="21943"/>
                </a:xfrm>
                <a:custGeom>
                  <a:avLst/>
                  <a:gdLst>
                    <a:gd name="T0" fmla="*/ 51 w 312"/>
                    <a:gd name="T1" fmla="*/ 263 h 264"/>
                    <a:gd name="T2" fmla="*/ 51 w 312"/>
                    <a:gd name="T3" fmla="*/ 263 h 264"/>
                    <a:gd name="T4" fmla="*/ 209 w 312"/>
                    <a:gd name="T5" fmla="*/ 54 h 264"/>
                    <a:gd name="T6" fmla="*/ 260 w 312"/>
                    <a:gd name="T7" fmla="*/ 105 h 264"/>
                    <a:gd name="T8" fmla="*/ 156 w 312"/>
                    <a:gd name="T9" fmla="*/ 263 h 264"/>
                    <a:gd name="T10" fmla="*/ 51 w 312"/>
                    <a:gd name="T11" fmla="*/ 263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12" h="264">
                      <a:moveTo>
                        <a:pt x="51" y="263"/>
                      </a:moveTo>
                      <a:lnTo>
                        <a:pt x="51" y="263"/>
                      </a:lnTo>
                      <a:cubicBezTo>
                        <a:pt x="105" y="158"/>
                        <a:pt x="209" y="105"/>
                        <a:pt x="209" y="54"/>
                      </a:cubicBezTo>
                      <a:cubicBezTo>
                        <a:pt x="260" y="0"/>
                        <a:pt x="311" y="0"/>
                        <a:pt x="260" y="105"/>
                      </a:cubicBezTo>
                      <a:cubicBezTo>
                        <a:pt x="156" y="209"/>
                        <a:pt x="209" y="209"/>
                        <a:pt x="156" y="263"/>
                      </a:cubicBezTo>
                      <a:cubicBezTo>
                        <a:pt x="105" y="263"/>
                        <a:pt x="0" y="263"/>
                        <a:pt x="51" y="263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5" name="Freeform 25">
                  <a:extLst>
                    <a:ext uri="{FF2B5EF4-FFF2-40B4-BE49-F238E27FC236}">
                      <a16:creationId xmlns:a16="http://schemas.microsoft.com/office/drawing/2014/main" id="{8BD34E7E-D478-8F44-B149-12D44E3148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3370" y="2598526"/>
                  <a:ext cx="30328" cy="21577"/>
                </a:xfrm>
                <a:custGeom>
                  <a:avLst/>
                  <a:gdLst>
                    <a:gd name="T0" fmla="*/ 51 w 365"/>
                    <a:gd name="T1" fmla="*/ 209 h 261"/>
                    <a:gd name="T2" fmla="*/ 51 w 365"/>
                    <a:gd name="T3" fmla="*/ 209 h 261"/>
                    <a:gd name="T4" fmla="*/ 51 w 365"/>
                    <a:gd name="T5" fmla="*/ 104 h 261"/>
                    <a:gd name="T6" fmla="*/ 105 w 365"/>
                    <a:gd name="T7" fmla="*/ 104 h 261"/>
                    <a:gd name="T8" fmla="*/ 209 w 365"/>
                    <a:gd name="T9" fmla="*/ 53 h 261"/>
                    <a:gd name="T10" fmla="*/ 311 w 365"/>
                    <a:gd name="T11" fmla="*/ 53 h 261"/>
                    <a:gd name="T12" fmla="*/ 260 w 365"/>
                    <a:gd name="T13" fmla="*/ 155 h 261"/>
                    <a:gd name="T14" fmla="*/ 155 w 365"/>
                    <a:gd name="T15" fmla="*/ 209 h 261"/>
                    <a:gd name="T16" fmla="*/ 51 w 365"/>
                    <a:gd name="T17" fmla="*/ 209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65" h="261">
                      <a:moveTo>
                        <a:pt x="51" y="209"/>
                      </a:moveTo>
                      <a:lnTo>
                        <a:pt x="51" y="209"/>
                      </a:lnTo>
                      <a:cubicBezTo>
                        <a:pt x="0" y="209"/>
                        <a:pt x="0" y="155"/>
                        <a:pt x="51" y="104"/>
                      </a:cubicBezTo>
                      <a:cubicBezTo>
                        <a:pt x="105" y="104"/>
                        <a:pt x="155" y="155"/>
                        <a:pt x="105" y="104"/>
                      </a:cubicBezTo>
                      <a:cubicBezTo>
                        <a:pt x="105" y="0"/>
                        <a:pt x="209" y="53"/>
                        <a:pt x="209" y="53"/>
                      </a:cubicBezTo>
                      <a:cubicBezTo>
                        <a:pt x="260" y="104"/>
                        <a:pt x="260" y="0"/>
                        <a:pt x="311" y="53"/>
                      </a:cubicBezTo>
                      <a:cubicBezTo>
                        <a:pt x="364" y="155"/>
                        <a:pt x="311" y="155"/>
                        <a:pt x="260" y="155"/>
                      </a:cubicBezTo>
                      <a:cubicBezTo>
                        <a:pt x="209" y="155"/>
                        <a:pt x="209" y="155"/>
                        <a:pt x="155" y="209"/>
                      </a:cubicBezTo>
                      <a:cubicBezTo>
                        <a:pt x="105" y="260"/>
                        <a:pt x="105" y="260"/>
                        <a:pt x="51" y="209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6" name="Freeform 26">
                  <a:extLst>
                    <a:ext uri="{FF2B5EF4-FFF2-40B4-BE49-F238E27FC236}">
                      <a16:creationId xmlns:a16="http://schemas.microsoft.com/office/drawing/2014/main" id="{24D9902D-4B5D-444F-BB08-5A999C3720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4272" y="2616079"/>
                  <a:ext cx="64676" cy="47542"/>
                </a:xfrm>
                <a:custGeom>
                  <a:avLst/>
                  <a:gdLst>
                    <a:gd name="T0" fmla="*/ 209 w 781"/>
                    <a:gd name="T1" fmla="*/ 469 h 574"/>
                    <a:gd name="T2" fmla="*/ 209 w 781"/>
                    <a:gd name="T3" fmla="*/ 469 h 574"/>
                    <a:gd name="T4" fmla="*/ 260 w 781"/>
                    <a:gd name="T5" fmla="*/ 520 h 574"/>
                    <a:gd name="T6" fmla="*/ 314 w 781"/>
                    <a:gd name="T7" fmla="*/ 520 h 574"/>
                    <a:gd name="T8" fmla="*/ 365 w 781"/>
                    <a:gd name="T9" fmla="*/ 469 h 574"/>
                    <a:gd name="T10" fmla="*/ 520 w 781"/>
                    <a:gd name="T11" fmla="*/ 364 h 574"/>
                    <a:gd name="T12" fmla="*/ 678 w 781"/>
                    <a:gd name="T13" fmla="*/ 313 h 574"/>
                    <a:gd name="T14" fmla="*/ 729 w 781"/>
                    <a:gd name="T15" fmla="*/ 155 h 574"/>
                    <a:gd name="T16" fmla="*/ 678 w 781"/>
                    <a:gd name="T17" fmla="*/ 104 h 574"/>
                    <a:gd name="T18" fmla="*/ 574 w 781"/>
                    <a:gd name="T19" fmla="*/ 51 h 574"/>
                    <a:gd name="T20" fmla="*/ 469 w 781"/>
                    <a:gd name="T21" fmla="*/ 51 h 574"/>
                    <a:gd name="T22" fmla="*/ 365 w 781"/>
                    <a:gd name="T23" fmla="*/ 104 h 574"/>
                    <a:gd name="T24" fmla="*/ 314 w 781"/>
                    <a:gd name="T25" fmla="*/ 155 h 574"/>
                    <a:gd name="T26" fmla="*/ 105 w 781"/>
                    <a:gd name="T27" fmla="*/ 209 h 574"/>
                    <a:gd name="T28" fmla="*/ 105 w 781"/>
                    <a:gd name="T29" fmla="*/ 469 h 574"/>
                    <a:gd name="T30" fmla="*/ 209 w 781"/>
                    <a:gd name="T31" fmla="*/ 469 h 5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81" h="574">
                      <a:moveTo>
                        <a:pt x="209" y="469"/>
                      </a:moveTo>
                      <a:lnTo>
                        <a:pt x="209" y="469"/>
                      </a:lnTo>
                      <a:cubicBezTo>
                        <a:pt x="209" y="469"/>
                        <a:pt x="365" y="415"/>
                        <a:pt x="260" y="520"/>
                      </a:cubicBezTo>
                      <a:cubicBezTo>
                        <a:pt x="209" y="573"/>
                        <a:pt x="260" y="573"/>
                        <a:pt x="314" y="520"/>
                      </a:cubicBezTo>
                      <a:cubicBezTo>
                        <a:pt x="365" y="469"/>
                        <a:pt x="365" y="520"/>
                        <a:pt x="365" y="469"/>
                      </a:cubicBezTo>
                      <a:cubicBezTo>
                        <a:pt x="365" y="415"/>
                        <a:pt x="418" y="364"/>
                        <a:pt x="520" y="364"/>
                      </a:cubicBezTo>
                      <a:cubicBezTo>
                        <a:pt x="624" y="364"/>
                        <a:pt x="624" y="364"/>
                        <a:pt x="678" y="313"/>
                      </a:cubicBezTo>
                      <a:cubicBezTo>
                        <a:pt x="729" y="260"/>
                        <a:pt x="780" y="209"/>
                        <a:pt x="729" y="155"/>
                      </a:cubicBezTo>
                      <a:cubicBezTo>
                        <a:pt x="678" y="155"/>
                        <a:pt x="729" y="155"/>
                        <a:pt x="678" y="104"/>
                      </a:cubicBezTo>
                      <a:cubicBezTo>
                        <a:pt x="678" y="51"/>
                        <a:pt x="624" y="104"/>
                        <a:pt x="574" y="51"/>
                      </a:cubicBezTo>
                      <a:cubicBezTo>
                        <a:pt x="520" y="51"/>
                        <a:pt x="469" y="0"/>
                        <a:pt x="469" y="51"/>
                      </a:cubicBezTo>
                      <a:cubicBezTo>
                        <a:pt x="520" y="104"/>
                        <a:pt x="418" y="155"/>
                        <a:pt x="365" y="104"/>
                      </a:cubicBezTo>
                      <a:cubicBezTo>
                        <a:pt x="314" y="51"/>
                        <a:pt x="314" y="104"/>
                        <a:pt x="314" y="155"/>
                      </a:cubicBezTo>
                      <a:cubicBezTo>
                        <a:pt x="314" y="260"/>
                        <a:pt x="260" y="155"/>
                        <a:pt x="105" y="209"/>
                      </a:cubicBezTo>
                      <a:cubicBezTo>
                        <a:pt x="0" y="313"/>
                        <a:pt x="105" y="364"/>
                        <a:pt x="105" y="469"/>
                      </a:cubicBezTo>
                      <a:cubicBezTo>
                        <a:pt x="158" y="520"/>
                        <a:pt x="209" y="520"/>
                        <a:pt x="209" y="469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7" name="Freeform 27">
                  <a:extLst>
                    <a:ext uri="{FF2B5EF4-FFF2-40B4-BE49-F238E27FC236}">
                      <a16:creationId xmlns:a16="http://schemas.microsoft.com/office/drawing/2014/main" id="{37B69B4F-373B-674D-8A2D-B7D62FB633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662512" y="3173416"/>
                  <a:ext cx="51887" cy="21943"/>
                </a:xfrm>
                <a:custGeom>
                  <a:avLst/>
                  <a:gdLst>
                    <a:gd name="T0" fmla="*/ 51 w 625"/>
                    <a:gd name="T1" fmla="*/ 209 h 264"/>
                    <a:gd name="T2" fmla="*/ 51 w 625"/>
                    <a:gd name="T3" fmla="*/ 209 h 264"/>
                    <a:gd name="T4" fmla="*/ 51 w 625"/>
                    <a:gd name="T5" fmla="*/ 158 h 264"/>
                    <a:gd name="T6" fmla="*/ 155 w 625"/>
                    <a:gd name="T7" fmla="*/ 105 h 264"/>
                    <a:gd name="T8" fmla="*/ 260 w 625"/>
                    <a:gd name="T9" fmla="*/ 105 h 264"/>
                    <a:gd name="T10" fmla="*/ 415 w 625"/>
                    <a:gd name="T11" fmla="*/ 54 h 264"/>
                    <a:gd name="T12" fmla="*/ 469 w 625"/>
                    <a:gd name="T13" fmla="*/ 54 h 264"/>
                    <a:gd name="T14" fmla="*/ 469 w 625"/>
                    <a:gd name="T15" fmla="*/ 105 h 264"/>
                    <a:gd name="T16" fmla="*/ 571 w 625"/>
                    <a:gd name="T17" fmla="*/ 54 h 264"/>
                    <a:gd name="T18" fmla="*/ 571 w 625"/>
                    <a:gd name="T19" fmla="*/ 54 h 264"/>
                    <a:gd name="T20" fmla="*/ 365 w 625"/>
                    <a:gd name="T21" fmla="*/ 158 h 264"/>
                    <a:gd name="T22" fmla="*/ 260 w 625"/>
                    <a:gd name="T23" fmla="*/ 209 h 264"/>
                    <a:gd name="T24" fmla="*/ 155 w 625"/>
                    <a:gd name="T25" fmla="*/ 209 h 264"/>
                    <a:gd name="T26" fmla="*/ 51 w 625"/>
                    <a:gd name="T27" fmla="*/ 263 h 264"/>
                    <a:gd name="T28" fmla="*/ 51 w 625"/>
                    <a:gd name="T29" fmla="*/ 209 h 2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25" h="264">
                      <a:moveTo>
                        <a:pt x="51" y="209"/>
                      </a:moveTo>
                      <a:lnTo>
                        <a:pt x="51" y="209"/>
                      </a:lnTo>
                      <a:cubicBezTo>
                        <a:pt x="0" y="209"/>
                        <a:pt x="0" y="209"/>
                        <a:pt x="51" y="158"/>
                      </a:cubicBezTo>
                      <a:cubicBezTo>
                        <a:pt x="155" y="105"/>
                        <a:pt x="105" y="105"/>
                        <a:pt x="155" y="105"/>
                      </a:cubicBezTo>
                      <a:cubicBezTo>
                        <a:pt x="209" y="105"/>
                        <a:pt x="209" y="105"/>
                        <a:pt x="260" y="105"/>
                      </a:cubicBezTo>
                      <a:cubicBezTo>
                        <a:pt x="311" y="54"/>
                        <a:pt x="365" y="105"/>
                        <a:pt x="415" y="54"/>
                      </a:cubicBezTo>
                      <a:cubicBezTo>
                        <a:pt x="520" y="0"/>
                        <a:pt x="571" y="0"/>
                        <a:pt x="469" y="54"/>
                      </a:cubicBezTo>
                      <a:cubicBezTo>
                        <a:pt x="415" y="105"/>
                        <a:pt x="415" y="105"/>
                        <a:pt x="469" y="105"/>
                      </a:cubicBezTo>
                      <a:cubicBezTo>
                        <a:pt x="520" y="54"/>
                        <a:pt x="520" y="105"/>
                        <a:pt x="571" y="54"/>
                      </a:cubicBezTo>
                      <a:cubicBezTo>
                        <a:pt x="624" y="54"/>
                        <a:pt x="624" y="54"/>
                        <a:pt x="571" y="54"/>
                      </a:cubicBezTo>
                      <a:cubicBezTo>
                        <a:pt x="520" y="105"/>
                        <a:pt x="415" y="158"/>
                        <a:pt x="365" y="158"/>
                      </a:cubicBezTo>
                      <a:cubicBezTo>
                        <a:pt x="311" y="158"/>
                        <a:pt x="311" y="209"/>
                        <a:pt x="260" y="209"/>
                      </a:cubicBezTo>
                      <a:cubicBezTo>
                        <a:pt x="209" y="209"/>
                        <a:pt x="155" y="209"/>
                        <a:pt x="155" y="209"/>
                      </a:cubicBezTo>
                      <a:cubicBezTo>
                        <a:pt x="155" y="263"/>
                        <a:pt x="51" y="263"/>
                        <a:pt x="51" y="263"/>
                      </a:cubicBezTo>
                      <a:cubicBezTo>
                        <a:pt x="105" y="209"/>
                        <a:pt x="105" y="209"/>
                        <a:pt x="51" y="209"/>
                      </a:cubicBezTo>
                    </a:path>
                  </a:pathLst>
                </a:custGeom>
                <a:grpFill/>
                <a:ln w="3175" cmpd="sng">
                  <a:noFill/>
                  <a:prstDash val="solid"/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endParaRPr lang="en-US" sz="675" dirty="0">
                    <a:latin typeface="Calibri" panose="020F0502020204030204" pitchFamily="34" charset="0"/>
                  </a:endParaRPr>
                </a:p>
              </p:txBody>
            </p:sp>
          </p:grpSp>
        </p:grpSp>
        <p:sp>
          <p:nvSpPr>
            <p:cNvPr id="46" name="Freeform 20118">
              <a:extLst>
                <a:ext uri="{FF2B5EF4-FFF2-40B4-BE49-F238E27FC236}">
                  <a16:creationId xmlns:a16="http://schemas.microsoft.com/office/drawing/2014/main" id="{8C7C0394-F84C-294E-A29F-97E690469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083" y="3428546"/>
              <a:ext cx="685191" cy="517538"/>
            </a:xfrm>
            <a:custGeom>
              <a:avLst/>
              <a:gdLst/>
              <a:ahLst/>
              <a:cxnLst>
                <a:cxn ang="0">
                  <a:pos x="136" y="99"/>
                </a:cxn>
                <a:cxn ang="0">
                  <a:pos x="134" y="103"/>
                </a:cxn>
                <a:cxn ang="0">
                  <a:pos x="138" y="107"/>
                </a:cxn>
                <a:cxn ang="0">
                  <a:pos x="132" y="110"/>
                </a:cxn>
                <a:cxn ang="0">
                  <a:pos x="131" y="116"/>
                </a:cxn>
                <a:cxn ang="0">
                  <a:pos x="130" y="120"/>
                </a:cxn>
                <a:cxn ang="0">
                  <a:pos x="105" y="112"/>
                </a:cxn>
                <a:cxn ang="0">
                  <a:pos x="70" y="94"/>
                </a:cxn>
                <a:cxn ang="0">
                  <a:pos x="61" y="75"/>
                </a:cxn>
                <a:cxn ang="0">
                  <a:pos x="42" y="49"/>
                </a:cxn>
                <a:cxn ang="0">
                  <a:pos x="32" y="33"/>
                </a:cxn>
                <a:cxn ang="0">
                  <a:pos x="18" y="9"/>
                </a:cxn>
                <a:cxn ang="0">
                  <a:pos x="15" y="20"/>
                </a:cxn>
                <a:cxn ang="0">
                  <a:pos x="29" y="41"/>
                </a:cxn>
                <a:cxn ang="0">
                  <a:pos x="34" y="57"/>
                </a:cxn>
                <a:cxn ang="0">
                  <a:pos x="39" y="65"/>
                </a:cxn>
                <a:cxn ang="0">
                  <a:pos x="24" y="44"/>
                </a:cxn>
                <a:cxn ang="0">
                  <a:pos x="15" y="31"/>
                </a:cxn>
                <a:cxn ang="0">
                  <a:pos x="0" y="2"/>
                </a:cxn>
                <a:cxn ang="0">
                  <a:pos x="12" y="2"/>
                </a:cxn>
                <a:cxn ang="0">
                  <a:pos x="47" y="10"/>
                </a:cxn>
                <a:cxn ang="0">
                  <a:pos x="55" y="7"/>
                </a:cxn>
                <a:cxn ang="0">
                  <a:pos x="70" y="25"/>
                </a:cxn>
                <a:cxn ang="0">
                  <a:pos x="90" y="33"/>
                </a:cxn>
                <a:cxn ang="0">
                  <a:pos x="103" y="46"/>
                </a:cxn>
                <a:cxn ang="0">
                  <a:pos x="101" y="57"/>
                </a:cxn>
                <a:cxn ang="0">
                  <a:pos x="101" y="69"/>
                </a:cxn>
                <a:cxn ang="0">
                  <a:pos x="105" y="82"/>
                </a:cxn>
                <a:cxn ang="0">
                  <a:pos x="119" y="97"/>
                </a:cxn>
                <a:cxn ang="0">
                  <a:pos x="129" y="93"/>
                </a:cxn>
                <a:cxn ang="0">
                  <a:pos x="134" y="94"/>
                </a:cxn>
                <a:cxn ang="0">
                  <a:pos x="138" y="88"/>
                </a:cxn>
                <a:cxn ang="0">
                  <a:pos x="139" y="79"/>
                </a:cxn>
                <a:cxn ang="0">
                  <a:pos x="150" y="75"/>
                </a:cxn>
                <a:cxn ang="0">
                  <a:pos x="155" y="75"/>
                </a:cxn>
                <a:cxn ang="0">
                  <a:pos x="158" y="76"/>
                </a:cxn>
                <a:cxn ang="0">
                  <a:pos x="154" y="86"/>
                </a:cxn>
                <a:cxn ang="0">
                  <a:pos x="154" y="89"/>
                </a:cxn>
                <a:cxn ang="0">
                  <a:pos x="152" y="96"/>
                </a:cxn>
                <a:cxn ang="0">
                  <a:pos x="151" y="93"/>
                </a:cxn>
                <a:cxn ang="0">
                  <a:pos x="147" y="98"/>
                </a:cxn>
              </a:cxnLst>
              <a:rect l="0" t="0" r="r" b="b"/>
              <a:pathLst>
                <a:path w="159" h="120">
                  <a:moveTo>
                    <a:pt x="146" y="99"/>
                  </a:moveTo>
                  <a:cubicBezTo>
                    <a:pt x="136" y="99"/>
                    <a:pt x="136" y="99"/>
                    <a:pt x="136" y="99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4" y="103"/>
                    <a:pt x="134" y="103"/>
                    <a:pt x="134" y="103"/>
                  </a:cubicBezTo>
                  <a:cubicBezTo>
                    <a:pt x="134" y="103"/>
                    <a:pt x="135" y="103"/>
                    <a:pt x="135" y="104"/>
                  </a:cubicBezTo>
                  <a:cubicBezTo>
                    <a:pt x="136" y="105"/>
                    <a:pt x="137" y="105"/>
                    <a:pt x="138" y="107"/>
                  </a:cubicBezTo>
                  <a:cubicBezTo>
                    <a:pt x="138" y="109"/>
                    <a:pt x="140" y="106"/>
                    <a:pt x="139" y="110"/>
                  </a:cubicBezTo>
                  <a:cubicBezTo>
                    <a:pt x="132" y="110"/>
                    <a:pt x="132" y="110"/>
                    <a:pt x="132" y="110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6"/>
                    <a:pt x="130" y="117"/>
                    <a:pt x="130" y="118"/>
                  </a:cubicBezTo>
                  <a:cubicBezTo>
                    <a:pt x="130" y="119"/>
                    <a:pt x="130" y="120"/>
                    <a:pt x="130" y="120"/>
                  </a:cubicBezTo>
                  <a:cubicBezTo>
                    <a:pt x="125" y="116"/>
                    <a:pt x="125" y="111"/>
                    <a:pt x="118" y="110"/>
                  </a:cubicBezTo>
                  <a:cubicBezTo>
                    <a:pt x="112" y="108"/>
                    <a:pt x="112" y="115"/>
                    <a:pt x="105" y="112"/>
                  </a:cubicBezTo>
                  <a:cubicBezTo>
                    <a:pt x="98" y="110"/>
                    <a:pt x="85" y="104"/>
                    <a:pt x="81" y="100"/>
                  </a:cubicBezTo>
                  <a:cubicBezTo>
                    <a:pt x="77" y="96"/>
                    <a:pt x="75" y="99"/>
                    <a:pt x="70" y="94"/>
                  </a:cubicBezTo>
                  <a:cubicBezTo>
                    <a:pt x="66" y="90"/>
                    <a:pt x="63" y="90"/>
                    <a:pt x="61" y="86"/>
                  </a:cubicBezTo>
                  <a:cubicBezTo>
                    <a:pt x="58" y="81"/>
                    <a:pt x="64" y="79"/>
                    <a:pt x="61" y="75"/>
                  </a:cubicBezTo>
                  <a:cubicBezTo>
                    <a:pt x="59" y="70"/>
                    <a:pt x="62" y="69"/>
                    <a:pt x="52" y="59"/>
                  </a:cubicBezTo>
                  <a:cubicBezTo>
                    <a:pt x="44" y="52"/>
                    <a:pt x="48" y="52"/>
                    <a:pt x="42" y="49"/>
                  </a:cubicBezTo>
                  <a:cubicBezTo>
                    <a:pt x="37" y="46"/>
                    <a:pt x="45" y="43"/>
                    <a:pt x="39" y="40"/>
                  </a:cubicBezTo>
                  <a:cubicBezTo>
                    <a:pt x="33" y="38"/>
                    <a:pt x="36" y="35"/>
                    <a:pt x="32" y="33"/>
                  </a:cubicBezTo>
                  <a:cubicBezTo>
                    <a:pt x="28" y="30"/>
                    <a:pt x="24" y="23"/>
                    <a:pt x="22" y="16"/>
                  </a:cubicBezTo>
                  <a:cubicBezTo>
                    <a:pt x="20" y="10"/>
                    <a:pt x="20" y="10"/>
                    <a:pt x="18" y="9"/>
                  </a:cubicBezTo>
                  <a:cubicBezTo>
                    <a:pt x="15" y="8"/>
                    <a:pt x="17" y="9"/>
                    <a:pt x="13" y="7"/>
                  </a:cubicBezTo>
                  <a:cubicBezTo>
                    <a:pt x="10" y="5"/>
                    <a:pt x="13" y="16"/>
                    <a:pt x="15" y="20"/>
                  </a:cubicBezTo>
                  <a:cubicBezTo>
                    <a:pt x="17" y="24"/>
                    <a:pt x="21" y="26"/>
                    <a:pt x="22" y="31"/>
                  </a:cubicBezTo>
                  <a:cubicBezTo>
                    <a:pt x="24" y="36"/>
                    <a:pt x="27" y="37"/>
                    <a:pt x="29" y="41"/>
                  </a:cubicBezTo>
                  <a:cubicBezTo>
                    <a:pt x="31" y="46"/>
                    <a:pt x="30" y="45"/>
                    <a:pt x="32" y="50"/>
                  </a:cubicBezTo>
                  <a:cubicBezTo>
                    <a:pt x="35" y="55"/>
                    <a:pt x="33" y="55"/>
                    <a:pt x="34" y="57"/>
                  </a:cubicBezTo>
                  <a:cubicBezTo>
                    <a:pt x="36" y="59"/>
                    <a:pt x="36" y="55"/>
                    <a:pt x="38" y="59"/>
                  </a:cubicBezTo>
                  <a:cubicBezTo>
                    <a:pt x="40" y="63"/>
                    <a:pt x="42" y="63"/>
                    <a:pt x="39" y="65"/>
                  </a:cubicBezTo>
                  <a:cubicBezTo>
                    <a:pt x="36" y="67"/>
                    <a:pt x="38" y="63"/>
                    <a:pt x="30" y="57"/>
                  </a:cubicBezTo>
                  <a:cubicBezTo>
                    <a:pt x="21" y="52"/>
                    <a:pt x="29" y="47"/>
                    <a:pt x="24" y="44"/>
                  </a:cubicBezTo>
                  <a:cubicBezTo>
                    <a:pt x="20" y="40"/>
                    <a:pt x="16" y="39"/>
                    <a:pt x="12" y="35"/>
                  </a:cubicBezTo>
                  <a:cubicBezTo>
                    <a:pt x="9" y="31"/>
                    <a:pt x="15" y="36"/>
                    <a:pt x="15" y="31"/>
                  </a:cubicBezTo>
                  <a:cubicBezTo>
                    <a:pt x="16" y="26"/>
                    <a:pt x="10" y="24"/>
                    <a:pt x="8" y="20"/>
                  </a:cubicBezTo>
                  <a:cubicBezTo>
                    <a:pt x="5" y="17"/>
                    <a:pt x="6" y="13"/>
                    <a:pt x="0" y="2"/>
                  </a:cubicBezTo>
                  <a:cubicBezTo>
                    <a:pt x="3" y="1"/>
                    <a:pt x="10" y="1"/>
                    <a:pt x="12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5" y="3"/>
                    <a:pt x="30" y="9"/>
                    <a:pt x="32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61" y="13"/>
                    <a:pt x="63" y="15"/>
                  </a:cubicBezTo>
                  <a:cubicBezTo>
                    <a:pt x="66" y="17"/>
                    <a:pt x="65" y="22"/>
                    <a:pt x="70" y="25"/>
                  </a:cubicBezTo>
                  <a:cubicBezTo>
                    <a:pt x="76" y="27"/>
                    <a:pt x="72" y="18"/>
                    <a:pt x="79" y="19"/>
                  </a:cubicBezTo>
                  <a:cubicBezTo>
                    <a:pt x="85" y="20"/>
                    <a:pt x="86" y="28"/>
                    <a:pt x="90" y="33"/>
                  </a:cubicBezTo>
                  <a:cubicBezTo>
                    <a:pt x="94" y="38"/>
                    <a:pt x="91" y="44"/>
                    <a:pt x="100" y="45"/>
                  </a:cubicBezTo>
                  <a:cubicBezTo>
                    <a:pt x="101" y="45"/>
                    <a:pt x="103" y="47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4" y="50"/>
                    <a:pt x="102" y="50"/>
                    <a:pt x="101" y="57"/>
                  </a:cubicBezTo>
                  <a:cubicBezTo>
                    <a:pt x="100" y="65"/>
                    <a:pt x="101" y="65"/>
                    <a:pt x="101" y="67"/>
                  </a:cubicBezTo>
                  <a:cubicBezTo>
                    <a:pt x="100" y="68"/>
                    <a:pt x="100" y="67"/>
                    <a:pt x="101" y="69"/>
                  </a:cubicBezTo>
                  <a:cubicBezTo>
                    <a:pt x="101" y="72"/>
                    <a:pt x="101" y="75"/>
                    <a:pt x="102" y="75"/>
                  </a:cubicBezTo>
                  <a:cubicBezTo>
                    <a:pt x="103" y="75"/>
                    <a:pt x="102" y="79"/>
                    <a:pt x="105" y="82"/>
                  </a:cubicBezTo>
                  <a:cubicBezTo>
                    <a:pt x="110" y="87"/>
                    <a:pt x="108" y="92"/>
                    <a:pt x="113" y="93"/>
                  </a:cubicBezTo>
                  <a:cubicBezTo>
                    <a:pt x="118" y="94"/>
                    <a:pt x="117" y="97"/>
                    <a:pt x="119" y="97"/>
                  </a:cubicBezTo>
                  <a:cubicBezTo>
                    <a:pt x="121" y="96"/>
                    <a:pt x="121" y="95"/>
                    <a:pt x="124" y="95"/>
                  </a:cubicBezTo>
                  <a:cubicBezTo>
                    <a:pt x="129" y="94"/>
                    <a:pt x="126" y="94"/>
                    <a:pt x="129" y="93"/>
                  </a:cubicBezTo>
                  <a:cubicBezTo>
                    <a:pt x="131" y="93"/>
                    <a:pt x="132" y="93"/>
                    <a:pt x="132" y="94"/>
                  </a:cubicBezTo>
                  <a:cubicBezTo>
                    <a:pt x="132" y="96"/>
                    <a:pt x="134" y="95"/>
                    <a:pt x="134" y="94"/>
                  </a:cubicBezTo>
                  <a:cubicBezTo>
                    <a:pt x="135" y="92"/>
                    <a:pt x="133" y="93"/>
                    <a:pt x="134" y="92"/>
                  </a:cubicBezTo>
                  <a:cubicBezTo>
                    <a:pt x="135" y="91"/>
                    <a:pt x="137" y="91"/>
                    <a:pt x="138" y="88"/>
                  </a:cubicBezTo>
                  <a:cubicBezTo>
                    <a:pt x="138" y="84"/>
                    <a:pt x="139" y="87"/>
                    <a:pt x="139" y="83"/>
                  </a:cubicBezTo>
                  <a:cubicBezTo>
                    <a:pt x="138" y="80"/>
                    <a:pt x="139" y="81"/>
                    <a:pt x="139" y="79"/>
                  </a:cubicBezTo>
                  <a:cubicBezTo>
                    <a:pt x="139" y="77"/>
                    <a:pt x="143" y="76"/>
                    <a:pt x="146" y="76"/>
                  </a:cubicBezTo>
                  <a:cubicBezTo>
                    <a:pt x="149" y="76"/>
                    <a:pt x="147" y="75"/>
                    <a:pt x="150" y="75"/>
                  </a:cubicBezTo>
                  <a:cubicBezTo>
                    <a:pt x="153" y="74"/>
                    <a:pt x="155" y="76"/>
                    <a:pt x="156" y="75"/>
                  </a:cubicBezTo>
                  <a:cubicBezTo>
                    <a:pt x="157" y="75"/>
                    <a:pt x="156" y="75"/>
                    <a:pt x="155" y="75"/>
                  </a:cubicBezTo>
                  <a:cubicBezTo>
                    <a:pt x="155" y="75"/>
                    <a:pt x="156" y="74"/>
                    <a:pt x="157" y="75"/>
                  </a:cubicBezTo>
                  <a:cubicBezTo>
                    <a:pt x="158" y="76"/>
                    <a:pt x="158" y="75"/>
                    <a:pt x="158" y="76"/>
                  </a:cubicBezTo>
                  <a:cubicBezTo>
                    <a:pt x="158" y="78"/>
                    <a:pt x="159" y="77"/>
                    <a:pt x="157" y="80"/>
                  </a:cubicBezTo>
                  <a:cubicBezTo>
                    <a:pt x="154" y="84"/>
                    <a:pt x="155" y="86"/>
                    <a:pt x="154" y="86"/>
                  </a:cubicBezTo>
                  <a:cubicBezTo>
                    <a:pt x="152" y="87"/>
                    <a:pt x="153" y="88"/>
                    <a:pt x="154" y="88"/>
                  </a:cubicBezTo>
                  <a:cubicBezTo>
                    <a:pt x="155" y="87"/>
                    <a:pt x="155" y="88"/>
                    <a:pt x="154" y="89"/>
                  </a:cubicBezTo>
                  <a:cubicBezTo>
                    <a:pt x="152" y="90"/>
                    <a:pt x="155" y="89"/>
                    <a:pt x="154" y="90"/>
                  </a:cubicBezTo>
                  <a:cubicBezTo>
                    <a:pt x="154" y="91"/>
                    <a:pt x="153" y="98"/>
                    <a:pt x="152" y="96"/>
                  </a:cubicBezTo>
                  <a:cubicBezTo>
                    <a:pt x="152" y="95"/>
                    <a:pt x="151" y="95"/>
                    <a:pt x="151" y="94"/>
                  </a:cubicBezTo>
                  <a:cubicBezTo>
                    <a:pt x="152" y="92"/>
                    <a:pt x="152" y="92"/>
                    <a:pt x="151" y="93"/>
                  </a:cubicBezTo>
                  <a:cubicBezTo>
                    <a:pt x="151" y="94"/>
                    <a:pt x="150" y="94"/>
                    <a:pt x="150" y="95"/>
                  </a:cubicBezTo>
                  <a:cubicBezTo>
                    <a:pt x="148" y="94"/>
                    <a:pt x="148" y="98"/>
                    <a:pt x="147" y="98"/>
                  </a:cubicBezTo>
                  <a:cubicBezTo>
                    <a:pt x="147" y="99"/>
                    <a:pt x="146" y="97"/>
                    <a:pt x="146" y="99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47" name="Freeform 20298">
              <a:extLst>
                <a:ext uri="{FF2B5EF4-FFF2-40B4-BE49-F238E27FC236}">
                  <a16:creationId xmlns:a16="http://schemas.microsoft.com/office/drawing/2014/main" id="{C40A5902-2018-C144-BDAE-44FE68F7CA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3141" y="1580712"/>
              <a:ext cx="1986328" cy="1570840"/>
            </a:xfrm>
            <a:custGeom>
              <a:avLst/>
              <a:gdLst/>
              <a:ahLst/>
              <a:cxnLst>
                <a:cxn ang="0">
                  <a:pos x="76" y="308"/>
                </a:cxn>
                <a:cxn ang="0">
                  <a:pos x="46" y="279"/>
                </a:cxn>
                <a:cxn ang="0">
                  <a:pos x="46" y="282"/>
                </a:cxn>
                <a:cxn ang="0">
                  <a:pos x="43" y="280"/>
                </a:cxn>
                <a:cxn ang="0">
                  <a:pos x="56" y="274"/>
                </a:cxn>
                <a:cxn ang="0">
                  <a:pos x="61" y="278"/>
                </a:cxn>
                <a:cxn ang="0">
                  <a:pos x="116" y="109"/>
                </a:cxn>
                <a:cxn ang="0">
                  <a:pos x="79" y="115"/>
                </a:cxn>
                <a:cxn ang="0">
                  <a:pos x="201" y="137"/>
                </a:cxn>
                <a:cxn ang="0">
                  <a:pos x="173" y="120"/>
                </a:cxn>
                <a:cxn ang="0">
                  <a:pos x="119" y="114"/>
                </a:cxn>
                <a:cxn ang="0">
                  <a:pos x="141" y="142"/>
                </a:cxn>
                <a:cxn ang="0">
                  <a:pos x="186" y="108"/>
                </a:cxn>
                <a:cxn ang="0">
                  <a:pos x="329" y="181"/>
                </a:cxn>
                <a:cxn ang="0">
                  <a:pos x="398" y="195"/>
                </a:cxn>
                <a:cxn ang="0">
                  <a:pos x="402" y="160"/>
                </a:cxn>
                <a:cxn ang="0">
                  <a:pos x="335" y="110"/>
                </a:cxn>
                <a:cxn ang="0">
                  <a:pos x="265" y="118"/>
                </a:cxn>
                <a:cxn ang="0">
                  <a:pos x="304" y="191"/>
                </a:cxn>
                <a:cxn ang="0">
                  <a:pos x="328" y="108"/>
                </a:cxn>
                <a:cxn ang="0">
                  <a:pos x="317" y="90"/>
                </a:cxn>
                <a:cxn ang="0">
                  <a:pos x="231" y="70"/>
                </a:cxn>
                <a:cxn ang="0">
                  <a:pos x="243" y="116"/>
                </a:cxn>
                <a:cxn ang="0">
                  <a:pos x="207" y="103"/>
                </a:cxn>
                <a:cxn ang="0">
                  <a:pos x="188" y="47"/>
                </a:cxn>
                <a:cxn ang="0">
                  <a:pos x="327" y="62"/>
                </a:cxn>
                <a:cxn ang="0">
                  <a:pos x="395" y="3"/>
                </a:cxn>
                <a:cxn ang="0">
                  <a:pos x="266" y="14"/>
                </a:cxn>
                <a:cxn ang="0">
                  <a:pos x="283" y="34"/>
                </a:cxn>
                <a:cxn ang="0">
                  <a:pos x="274" y="73"/>
                </a:cxn>
                <a:cxn ang="0">
                  <a:pos x="283" y="46"/>
                </a:cxn>
                <a:cxn ang="0">
                  <a:pos x="222" y="49"/>
                </a:cxn>
                <a:cxn ang="0">
                  <a:pos x="160" y="72"/>
                </a:cxn>
                <a:cxn ang="0">
                  <a:pos x="141" y="92"/>
                </a:cxn>
                <a:cxn ang="0">
                  <a:pos x="103" y="77"/>
                </a:cxn>
                <a:cxn ang="0">
                  <a:pos x="163" y="56"/>
                </a:cxn>
                <a:cxn ang="0">
                  <a:pos x="199" y="81"/>
                </a:cxn>
                <a:cxn ang="0">
                  <a:pos x="420" y="336"/>
                </a:cxn>
                <a:cxn ang="0">
                  <a:pos x="451" y="322"/>
                </a:cxn>
                <a:cxn ang="0">
                  <a:pos x="445" y="293"/>
                </a:cxn>
                <a:cxn ang="0">
                  <a:pos x="263" y="318"/>
                </a:cxn>
                <a:cxn ang="0">
                  <a:pos x="294" y="327"/>
                </a:cxn>
                <a:cxn ang="0">
                  <a:pos x="310" y="340"/>
                </a:cxn>
                <a:cxn ang="0">
                  <a:pos x="323" y="356"/>
                </a:cxn>
                <a:cxn ang="0">
                  <a:pos x="368" y="335"/>
                </a:cxn>
                <a:cxn ang="0">
                  <a:pos x="395" y="341"/>
                </a:cxn>
                <a:cxn ang="0">
                  <a:pos x="426" y="298"/>
                </a:cxn>
                <a:cxn ang="0">
                  <a:pos x="400" y="225"/>
                </a:cxn>
                <a:cxn ang="0">
                  <a:pos x="329" y="229"/>
                </a:cxn>
                <a:cxn ang="0">
                  <a:pos x="249" y="236"/>
                </a:cxn>
                <a:cxn ang="0">
                  <a:pos x="303" y="166"/>
                </a:cxn>
                <a:cxn ang="0">
                  <a:pos x="268" y="143"/>
                </a:cxn>
                <a:cxn ang="0">
                  <a:pos x="237" y="154"/>
                </a:cxn>
                <a:cxn ang="0">
                  <a:pos x="134" y="153"/>
                </a:cxn>
                <a:cxn ang="0">
                  <a:pos x="34" y="146"/>
                </a:cxn>
                <a:cxn ang="0">
                  <a:pos x="31" y="229"/>
                </a:cxn>
                <a:cxn ang="0">
                  <a:pos x="63" y="278"/>
                </a:cxn>
                <a:cxn ang="0">
                  <a:pos x="78" y="300"/>
                </a:cxn>
                <a:cxn ang="0">
                  <a:pos x="318" y="204"/>
                </a:cxn>
                <a:cxn ang="0">
                  <a:pos x="120" y="77"/>
                </a:cxn>
                <a:cxn ang="0">
                  <a:pos x="190" y="76"/>
                </a:cxn>
                <a:cxn ang="0">
                  <a:pos x="309" y="281"/>
                </a:cxn>
                <a:cxn ang="0">
                  <a:pos x="324" y="256"/>
                </a:cxn>
              </a:cxnLst>
              <a:rect l="0" t="0" r="r" b="b"/>
              <a:pathLst>
                <a:path w="461" h="364">
                  <a:moveTo>
                    <a:pt x="65" y="298"/>
                  </a:moveTo>
                  <a:cubicBezTo>
                    <a:pt x="67" y="297"/>
                    <a:pt x="70" y="298"/>
                    <a:pt x="71" y="299"/>
                  </a:cubicBezTo>
                  <a:cubicBezTo>
                    <a:pt x="72" y="300"/>
                    <a:pt x="80" y="301"/>
                    <a:pt x="81" y="302"/>
                  </a:cubicBezTo>
                  <a:cubicBezTo>
                    <a:pt x="82" y="305"/>
                    <a:pt x="84" y="306"/>
                    <a:pt x="84" y="306"/>
                  </a:cubicBezTo>
                  <a:cubicBezTo>
                    <a:pt x="83" y="307"/>
                    <a:pt x="85" y="309"/>
                    <a:pt x="87" y="309"/>
                  </a:cubicBezTo>
                  <a:cubicBezTo>
                    <a:pt x="89" y="310"/>
                    <a:pt x="89" y="312"/>
                    <a:pt x="90" y="312"/>
                  </a:cubicBezTo>
                  <a:cubicBezTo>
                    <a:pt x="91" y="313"/>
                    <a:pt x="90" y="314"/>
                    <a:pt x="91" y="314"/>
                  </a:cubicBezTo>
                  <a:cubicBezTo>
                    <a:pt x="92" y="315"/>
                    <a:pt x="92" y="317"/>
                    <a:pt x="91" y="316"/>
                  </a:cubicBezTo>
                  <a:cubicBezTo>
                    <a:pt x="91" y="316"/>
                    <a:pt x="91" y="317"/>
                    <a:pt x="89" y="317"/>
                  </a:cubicBezTo>
                  <a:cubicBezTo>
                    <a:pt x="87" y="316"/>
                    <a:pt x="87" y="315"/>
                    <a:pt x="85" y="315"/>
                  </a:cubicBezTo>
                  <a:cubicBezTo>
                    <a:pt x="83" y="315"/>
                    <a:pt x="82" y="313"/>
                    <a:pt x="82" y="312"/>
                  </a:cubicBezTo>
                  <a:cubicBezTo>
                    <a:pt x="83" y="312"/>
                    <a:pt x="82" y="312"/>
                    <a:pt x="81" y="312"/>
                  </a:cubicBezTo>
                  <a:cubicBezTo>
                    <a:pt x="80" y="312"/>
                    <a:pt x="78" y="311"/>
                    <a:pt x="79" y="310"/>
                  </a:cubicBezTo>
                  <a:cubicBezTo>
                    <a:pt x="79" y="309"/>
                    <a:pt x="78" y="310"/>
                    <a:pt x="78" y="309"/>
                  </a:cubicBezTo>
                  <a:cubicBezTo>
                    <a:pt x="77" y="308"/>
                    <a:pt x="77" y="308"/>
                    <a:pt x="76" y="308"/>
                  </a:cubicBezTo>
                  <a:cubicBezTo>
                    <a:pt x="74" y="309"/>
                    <a:pt x="74" y="307"/>
                    <a:pt x="75" y="307"/>
                  </a:cubicBezTo>
                  <a:cubicBezTo>
                    <a:pt x="77" y="306"/>
                    <a:pt x="75" y="307"/>
                    <a:pt x="74" y="305"/>
                  </a:cubicBezTo>
                  <a:cubicBezTo>
                    <a:pt x="74" y="303"/>
                    <a:pt x="72" y="306"/>
                    <a:pt x="72" y="305"/>
                  </a:cubicBezTo>
                  <a:cubicBezTo>
                    <a:pt x="71" y="304"/>
                    <a:pt x="72" y="303"/>
                    <a:pt x="72" y="303"/>
                  </a:cubicBezTo>
                  <a:cubicBezTo>
                    <a:pt x="71" y="302"/>
                    <a:pt x="70" y="305"/>
                    <a:pt x="70" y="303"/>
                  </a:cubicBezTo>
                  <a:cubicBezTo>
                    <a:pt x="70" y="302"/>
                    <a:pt x="68" y="304"/>
                    <a:pt x="68" y="303"/>
                  </a:cubicBezTo>
                  <a:cubicBezTo>
                    <a:pt x="67" y="303"/>
                    <a:pt x="69" y="302"/>
                    <a:pt x="68" y="302"/>
                  </a:cubicBezTo>
                  <a:cubicBezTo>
                    <a:pt x="67" y="301"/>
                    <a:pt x="68" y="300"/>
                    <a:pt x="70" y="300"/>
                  </a:cubicBezTo>
                  <a:cubicBezTo>
                    <a:pt x="71" y="300"/>
                    <a:pt x="69" y="299"/>
                    <a:pt x="68" y="300"/>
                  </a:cubicBezTo>
                  <a:cubicBezTo>
                    <a:pt x="66" y="300"/>
                    <a:pt x="64" y="298"/>
                    <a:pt x="65" y="298"/>
                  </a:cubicBezTo>
                  <a:close/>
                  <a:moveTo>
                    <a:pt x="42" y="277"/>
                  </a:moveTo>
                  <a:cubicBezTo>
                    <a:pt x="43" y="277"/>
                    <a:pt x="44" y="278"/>
                    <a:pt x="43" y="278"/>
                  </a:cubicBezTo>
                  <a:cubicBezTo>
                    <a:pt x="42" y="277"/>
                    <a:pt x="42" y="278"/>
                    <a:pt x="43" y="278"/>
                  </a:cubicBezTo>
                  <a:cubicBezTo>
                    <a:pt x="44" y="279"/>
                    <a:pt x="42" y="279"/>
                    <a:pt x="44" y="279"/>
                  </a:cubicBezTo>
                  <a:cubicBezTo>
                    <a:pt x="46" y="279"/>
                    <a:pt x="44" y="279"/>
                    <a:pt x="46" y="279"/>
                  </a:cubicBezTo>
                  <a:cubicBezTo>
                    <a:pt x="47" y="278"/>
                    <a:pt x="46" y="275"/>
                    <a:pt x="47" y="274"/>
                  </a:cubicBezTo>
                  <a:cubicBezTo>
                    <a:pt x="48" y="273"/>
                    <a:pt x="48" y="271"/>
                    <a:pt x="47" y="272"/>
                  </a:cubicBezTo>
                  <a:cubicBezTo>
                    <a:pt x="46" y="273"/>
                    <a:pt x="45" y="272"/>
                    <a:pt x="45" y="273"/>
                  </a:cubicBezTo>
                  <a:cubicBezTo>
                    <a:pt x="46" y="274"/>
                    <a:pt x="46" y="275"/>
                    <a:pt x="44" y="275"/>
                  </a:cubicBezTo>
                  <a:cubicBezTo>
                    <a:pt x="43" y="276"/>
                    <a:pt x="42" y="275"/>
                    <a:pt x="43" y="275"/>
                  </a:cubicBezTo>
                  <a:cubicBezTo>
                    <a:pt x="45" y="274"/>
                    <a:pt x="46" y="274"/>
                    <a:pt x="45" y="272"/>
                  </a:cubicBezTo>
                  <a:cubicBezTo>
                    <a:pt x="44" y="271"/>
                    <a:pt x="44" y="272"/>
                    <a:pt x="43" y="272"/>
                  </a:cubicBezTo>
                  <a:cubicBezTo>
                    <a:pt x="42" y="271"/>
                    <a:pt x="42" y="272"/>
                    <a:pt x="42" y="271"/>
                  </a:cubicBezTo>
                  <a:cubicBezTo>
                    <a:pt x="41" y="271"/>
                    <a:pt x="40" y="271"/>
                    <a:pt x="40" y="272"/>
                  </a:cubicBezTo>
                  <a:cubicBezTo>
                    <a:pt x="41" y="273"/>
                    <a:pt x="40" y="273"/>
                    <a:pt x="41" y="275"/>
                  </a:cubicBezTo>
                  <a:cubicBezTo>
                    <a:pt x="42" y="276"/>
                    <a:pt x="40" y="275"/>
                    <a:pt x="41" y="277"/>
                  </a:cubicBezTo>
                  <a:cubicBezTo>
                    <a:pt x="42" y="277"/>
                    <a:pt x="41" y="277"/>
                    <a:pt x="42" y="277"/>
                  </a:cubicBezTo>
                  <a:close/>
                  <a:moveTo>
                    <a:pt x="45" y="280"/>
                  </a:moveTo>
                  <a:cubicBezTo>
                    <a:pt x="45" y="280"/>
                    <a:pt x="46" y="281"/>
                    <a:pt x="45" y="281"/>
                  </a:cubicBezTo>
                  <a:cubicBezTo>
                    <a:pt x="44" y="281"/>
                    <a:pt x="45" y="282"/>
                    <a:pt x="46" y="282"/>
                  </a:cubicBezTo>
                  <a:cubicBezTo>
                    <a:pt x="47" y="282"/>
                    <a:pt x="46" y="283"/>
                    <a:pt x="46" y="283"/>
                  </a:cubicBezTo>
                  <a:cubicBezTo>
                    <a:pt x="46" y="283"/>
                    <a:pt x="46" y="284"/>
                    <a:pt x="48" y="285"/>
                  </a:cubicBezTo>
                  <a:cubicBezTo>
                    <a:pt x="49" y="286"/>
                    <a:pt x="48" y="286"/>
                    <a:pt x="49" y="286"/>
                  </a:cubicBezTo>
                  <a:cubicBezTo>
                    <a:pt x="49" y="287"/>
                    <a:pt x="49" y="287"/>
                    <a:pt x="50" y="287"/>
                  </a:cubicBezTo>
                  <a:cubicBezTo>
                    <a:pt x="51" y="288"/>
                    <a:pt x="51" y="287"/>
                    <a:pt x="51" y="286"/>
                  </a:cubicBezTo>
                  <a:cubicBezTo>
                    <a:pt x="50" y="286"/>
                    <a:pt x="50" y="286"/>
                    <a:pt x="50" y="286"/>
                  </a:cubicBezTo>
                  <a:cubicBezTo>
                    <a:pt x="50" y="285"/>
                    <a:pt x="50" y="285"/>
                    <a:pt x="50" y="285"/>
                  </a:cubicBezTo>
                  <a:cubicBezTo>
                    <a:pt x="49" y="286"/>
                    <a:pt x="49" y="285"/>
                    <a:pt x="49" y="285"/>
                  </a:cubicBezTo>
                  <a:cubicBezTo>
                    <a:pt x="48" y="285"/>
                    <a:pt x="47" y="283"/>
                    <a:pt x="47" y="283"/>
                  </a:cubicBezTo>
                  <a:cubicBezTo>
                    <a:pt x="48" y="282"/>
                    <a:pt x="47" y="283"/>
                    <a:pt x="47" y="282"/>
                  </a:cubicBezTo>
                  <a:cubicBezTo>
                    <a:pt x="46" y="281"/>
                    <a:pt x="48" y="282"/>
                    <a:pt x="48" y="281"/>
                  </a:cubicBezTo>
                  <a:cubicBezTo>
                    <a:pt x="48" y="281"/>
                    <a:pt x="48" y="281"/>
                    <a:pt x="48" y="280"/>
                  </a:cubicBezTo>
                  <a:cubicBezTo>
                    <a:pt x="48" y="280"/>
                    <a:pt x="47" y="280"/>
                    <a:pt x="47" y="279"/>
                  </a:cubicBezTo>
                  <a:cubicBezTo>
                    <a:pt x="47" y="279"/>
                    <a:pt x="47" y="278"/>
                    <a:pt x="46" y="279"/>
                  </a:cubicBezTo>
                  <a:cubicBezTo>
                    <a:pt x="45" y="280"/>
                    <a:pt x="43" y="280"/>
                    <a:pt x="43" y="280"/>
                  </a:cubicBezTo>
                  <a:cubicBezTo>
                    <a:pt x="44" y="281"/>
                    <a:pt x="44" y="280"/>
                    <a:pt x="45" y="280"/>
                  </a:cubicBezTo>
                  <a:close/>
                  <a:moveTo>
                    <a:pt x="53" y="268"/>
                  </a:moveTo>
                  <a:cubicBezTo>
                    <a:pt x="52" y="267"/>
                    <a:pt x="51" y="268"/>
                    <a:pt x="51" y="269"/>
                  </a:cubicBezTo>
                  <a:cubicBezTo>
                    <a:pt x="52" y="270"/>
                    <a:pt x="53" y="268"/>
                    <a:pt x="53" y="268"/>
                  </a:cubicBezTo>
                  <a:close/>
                  <a:moveTo>
                    <a:pt x="74" y="307"/>
                  </a:moveTo>
                  <a:cubicBezTo>
                    <a:pt x="75" y="306"/>
                    <a:pt x="74" y="305"/>
                    <a:pt x="73" y="305"/>
                  </a:cubicBezTo>
                  <a:cubicBezTo>
                    <a:pt x="72" y="306"/>
                    <a:pt x="74" y="307"/>
                    <a:pt x="74" y="307"/>
                  </a:cubicBezTo>
                  <a:close/>
                  <a:moveTo>
                    <a:pt x="56" y="279"/>
                  </a:moveTo>
                  <a:cubicBezTo>
                    <a:pt x="57" y="280"/>
                    <a:pt x="58" y="279"/>
                    <a:pt x="57" y="278"/>
                  </a:cubicBezTo>
                  <a:cubicBezTo>
                    <a:pt x="57" y="277"/>
                    <a:pt x="56" y="277"/>
                    <a:pt x="55" y="276"/>
                  </a:cubicBezTo>
                  <a:cubicBezTo>
                    <a:pt x="53" y="275"/>
                    <a:pt x="54" y="276"/>
                    <a:pt x="54" y="277"/>
                  </a:cubicBezTo>
                  <a:cubicBezTo>
                    <a:pt x="55" y="278"/>
                    <a:pt x="56" y="278"/>
                    <a:pt x="56" y="279"/>
                  </a:cubicBezTo>
                  <a:close/>
                  <a:moveTo>
                    <a:pt x="59" y="279"/>
                  </a:moveTo>
                  <a:cubicBezTo>
                    <a:pt x="59" y="278"/>
                    <a:pt x="59" y="278"/>
                    <a:pt x="59" y="277"/>
                  </a:cubicBezTo>
                  <a:cubicBezTo>
                    <a:pt x="58" y="276"/>
                    <a:pt x="57" y="275"/>
                    <a:pt x="56" y="274"/>
                  </a:cubicBezTo>
                  <a:cubicBezTo>
                    <a:pt x="55" y="273"/>
                    <a:pt x="55" y="274"/>
                    <a:pt x="55" y="275"/>
                  </a:cubicBezTo>
                  <a:cubicBezTo>
                    <a:pt x="56" y="275"/>
                    <a:pt x="56" y="276"/>
                    <a:pt x="57" y="276"/>
                  </a:cubicBezTo>
                  <a:cubicBezTo>
                    <a:pt x="57" y="276"/>
                    <a:pt x="57" y="277"/>
                    <a:pt x="58" y="279"/>
                  </a:cubicBezTo>
                  <a:cubicBezTo>
                    <a:pt x="58" y="279"/>
                    <a:pt x="59" y="279"/>
                    <a:pt x="59" y="279"/>
                  </a:cubicBezTo>
                  <a:close/>
                  <a:moveTo>
                    <a:pt x="54" y="273"/>
                  </a:moveTo>
                  <a:cubicBezTo>
                    <a:pt x="54" y="274"/>
                    <a:pt x="54" y="274"/>
                    <a:pt x="55" y="274"/>
                  </a:cubicBezTo>
                  <a:cubicBezTo>
                    <a:pt x="56" y="273"/>
                    <a:pt x="55" y="272"/>
                    <a:pt x="54" y="272"/>
                  </a:cubicBezTo>
                  <a:cubicBezTo>
                    <a:pt x="53" y="272"/>
                    <a:pt x="53" y="273"/>
                    <a:pt x="53" y="274"/>
                  </a:cubicBezTo>
                  <a:cubicBezTo>
                    <a:pt x="53" y="275"/>
                    <a:pt x="53" y="273"/>
                    <a:pt x="54" y="273"/>
                  </a:cubicBezTo>
                  <a:close/>
                  <a:moveTo>
                    <a:pt x="62" y="281"/>
                  </a:moveTo>
                  <a:cubicBezTo>
                    <a:pt x="63" y="281"/>
                    <a:pt x="61" y="282"/>
                    <a:pt x="61" y="282"/>
                  </a:cubicBezTo>
                  <a:cubicBezTo>
                    <a:pt x="61" y="283"/>
                    <a:pt x="62" y="284"/>
                    <a:pt x="63" y="283"/>
                  </a:cubicBezTo>
                  <a:cubicBezTo>
                    <a:pt x="63" y="281"/>
                    <a:pt x="63" y="284"/>
                    <a:pt x="63" y="284"/>
                  </a:cubicBezTo>
                  <a:cubicBezTo>
                    <a:pt x="64" y="284"/>
                    <a:pt x="64" y="283"/>
                    <a:pt x="64" y="281"/>
                  </a:cubicBezTo>
                  <a:cubicBezTo>
                    <a:pt x="64" y="280"/>
                    <a:pt x="62" y="278"/>
                    <a:pt x="61" y="278"/>
                  </a:cubicBezTo>
                  <a:cubicBezTo>
                    <a:pt x="61" y="278"/>
                    <a:pt x="62" y="280"/>
                    <a:pt x="61" y="280"/>
                  </a:cubicBezTo>
                  <a:cubicBezTo>
                    <a:pt x="61" y="280"/>
                    <a:pt x="60" y="282"/>
                    <a:pt x="61" y="281"/>
                  </a:cubicBezTo>
                  <a:cubicBezTo>
                    <a:pt x="62" y="281"/>
                    <a:pt x="62" y="280"/>
                    <a:pt x="62" y="281"/>
                  </a:cubicBezTo>
                  <a:close/>
                  <a:moveTo>
                    <a:pt x="62" y="283"/>
                  </a:moveTo>
                  <a:cubicBezTo>
                    <a:pt x="61" y="283"/>
                    <a:pt x="60" y="282"/>
                    <a:pt x="60" y="283"/>
                  </a:cubicBezTo>
                  <a:cubicBezTo>
                    <a:pt x="60" y="283"/>
                    <a:pt x="61" y="284"/>
                    <a:pt x="62" y="285"/>
                  </a:cubicBezTo>
                  <a:cubicBezTo>
                    <a:pt x="62" y="286"/>
                    <a:pt x="62" y="284"/>
                    <a:pt x="62" y="283"/>
                  </a:cubicBezTo>
                  <a:close/>
                  <a:moveTo>
                    <a:pt x="63" y="285"/>
                  </a:moveTo>
                  <a:cubicBezTo>
                    <a:pt x="63" y="285"/>
                    <a:pt x="63" y="286"/>
                    <a:pt x="64" y="286"/>
                  </a:cubicBezTo>
                  <a:cubicBezTo>
                    <a:pt x="64" y="286"/>
                    <a:pt x="64" y="285"/>
                    <a:pt x="63" y="285"/>
                  </a:cubicBezTo>
                  <a:close/>
                  <a:moveTo>
                    <a:pt x="93" y="125"/>
                  </a:moveTo>
                  <a:cubicBezTo>
                    <a:pt x="94" y="126"/>
                    <a:pt x="97" y="124"/>
                    <a:pt x="99" y="122"/>
                  </a:cubicBezTo>
                  <a:cubicBezTo>
                    <a:pt x="102" y="121"/>
                    <a:pt x="101" y="123"/>
                    <a:pt x="105" y="122"/>
                  </a:cubicBezTo>
                  <a:cubicBezTo>
                    <a:pt x="109" y="120"/>
                    <a:pt x="105" y="115"/>
                    <a:pt x="110" y="114"/>
                  </a:cubicBezTo>
                  <a:cubicBezTo>
                    <a:pt x="114" y="114"/>
                    <a:pt x="111" y="111"/>
                    <a:pt x="116" y="109"/>
                  </a:cubicBezTo>
                  <a:cubicBezTo>
                    <a:pt x="122" y="107"/>
                    <a:pt x="125" y="104"/>
                    <a:pt x="129" y="104"/>
                  </a:cubicBezTo>
                  <a:cubicBezTo>
                    <a:pt x="136" y="102"/>
                    <a:pt x="133" y="100"/>
                    <a:pt x="131" y="100"/>
                  </a:cubicBezTo>
                  <a:cubicBezTo>
                    <a:pt x="128" y="99"/>
                    <a:pt x="126" y="94"/>
                    <a:pt x="119" y="94"/>
                  </a:cubicBezTo>
                  <a:cubicBezTo>
                    <a:pt x="113" y="94"/>
                    <a:pt x="116" y="96"/>
                    <a:pt x="114" y="97"/>
                  </a:cubicBezTo>
                  <a:cubicBezTo>
                    <a:pt x="113" y="97"/>
                    <a:pt x="114" y="96"/>
                    <a:pt x="113" y="95"/>
                  </a:cubicBezTo>
                  <a:cubicBezTo>
                    <a:pt x="112" y="94"/>
                    <a:pt x="112" y="95"/>
                    <a:pt x="109" y="94"/>
                  </a:cubicBezTo>
                  <a:cubicBezTo>
                    <a:pt x="103" y="93"/>
                    <a:pt x="104" y="90"/>
                    <a:pt x="98" y="92"/>
                  </a:cubicBezTo>
                  <a:cubicBezTo>
                    <a:pt x="93" y="93"/>
                    <a:pt x="83" y="93"/>
                    <a:pt x="85" y="94"/>
                  </a:cubicBezTo>
                  <a:cubicBezTo>
                    <a:pt x="86" y="95"/>
                    <a:pt x="85" y="97"/>
                    <a:pt x="88" y="98"/>
                  </a:cubicBezTo>
                  <a:cubicBezTo>
                    <a:pt x="91" y="99"/>
                    <a:pt x="88" y="100"/>
                    <a:pt x="88" y="101"/>
                  </a:cubicBezTo>
                  <a:cubicBezTo>
                    <a:pt x="88" y="103"/>
                    <a:pt x="86" y="101"/>
                    <a:pt x="86" y="103"/>
                  </a:cubicBezTo>
                  <a:cubicBezTo>
                    <a:pt x="86" y="105"/>
                    <a:pt x="83" y="106"/>
                    <a:pt x="84" y="106"/>
                  </a:cubicBezTo>
                  <a:cubicBezTo>
                    <a:pt x="86" y="107"/>
                    <a:pt x="87" y="108"/>
                    <a:pt x="84" y="108"/>
                  </a:cubicBezTo>
                  <a:cubicBezTo>
                    <a:pt x="82" y="108"/>
                    <a:pt x="82" y="108"/>
                    <a:pt x="83" y="110"/>
                  </a:cubicBezTo>
                  <a:cubicBezTo>
                    <a:pt x="83" y="111"/>
                    <a:pt x="79" y="113"/>
                    <a:pt x="79" y="115"/>
                  </a:cubicBezTo>
                  <a:cubicBezTo>
                    <a:pt x="79" y="116"/>
                    <a:pt x="78" y="116"/>
                    <a:pt x="79" y="117"/>
                  </a:cubicBezTo>
                  <a:cubicBezTo>
                    <a:pt x="80" y="117"/>
                    <a:pt x="81" y="117"/>
                    <a:pt x="87" y="119"/>
                  </a:cubicBezTo>
                  <a:cubicBezTo>
                    <a:pt x="91" y="121"/>
                    <a:pt x="91" y="124"/>
                    <a:pt x="93" y="125"/>
                  </a:cubicBezTo>
                  <a:close/>
                  <a:moveTo>
                    <a:pt x="180" y="142"/>
                  </a:moveTo>
                  <a:cubicBezTo>
                    <a:pt x="180" y="145"/>
                    <a:pt x="180" y="142"/>
                    <a:pt x="185" y="144"/>
                  </a:cubicBezTo>
                  <a:cubicBezTo>
                    <a:pt x="190" y="145"/>
                    <a:pt x="184" y="144"/>
                    <a:pt x="187" y="146"/>
                  </a:cubicBezTo>
                  <a:cubicBezTo>
                    <a:pt x="190" y="147"/>
                    <a:pt x="189" y="145"/>
                    <a:pt x="193" y="146"/>
                  </a:cubicBezTo>
                  <a:cubicBezTo>
                    <a:pt x="197" y="147"/>
                    <a:pt x="195" y="146"/>
                    <a:pt x="197" y="146"/>
                  </a:cubicBezTo>
                  <a:cubicBezTo>
                    <a:pt x="199" y="147"/>
                    <a:pt x="200" y="145"/>
                    <a:pt x="202" y="145"/>
                  </a:cubicBezTo>
                  <a:cubicBezTo>
                    <a:pt x="203" y="145"/>
                    <a:pt x="205" y="143"/>
                    <a:pt x="203" y="142"/>
                  </a:cubicBezTo>
                  <a:cubicBezTo>
                    <a:pt x="202" y="141"/>
                    <a:pt x="204" y="141"/>
                    <a:pt x="202" y="140"/>
                  </a:cubicBezTo>
                  <a:cubicBezTo>
                    <a:pt x="200" y="140"/>
                    <a:pt x="196" y="143"/>
                    <a:pt x="197" y="141"/>
                  </a:cubicBezTo>
                  <a:cubicBezTo>
                    <a:pt x="199" y="139"/>
                    <a:pt x="194" y="139"/>
                    <a:pt x="195" y="138"/>
                  </a:cubicBezTo>
                  <a:cubicBezTo>
                    <a:pt x="196" y="138"/>
                    <a:pt x="199" y="140"/>
                    <a:pt x="200" y="139"/>
                  </a:cubicBezTo>
                  <a:cubicBezTo>
                    <a:pt x="202" y="138"/>
                    <a:pt x="198" y="139"/>
                    <a:pt x="201" y="137"/>
                  </a:cubicBezTo>
                  <a:cubicBezTo>
                    <a:pt x="203" y="136"/>
                    <a:pt x="203" y="139"/>
                    <a:pt x="205" y="138"/>
                  </a:cubicBezTo>
                  <a:cubicBezTo>
                    <a:pt x="206" y="137"/>
                    <a:pt x="205" y="139"/>
                    <a:pt x="207" y="139"/>
                  </a:cubicBezTo>
                  <a:cubicBezTo>
                    <a:pt x="209" y="139"/>
                    <a:pt x="209" y="136"/>
                    <a:pt x="208" y="135"/>
                  </a:cubicBezTo>
                  <a:cubicBezTo>
                    <a:pt x="208" y="133"/>
                    <a:pt x="205" y="135"/>
                    <a:pt x="205" y="133"/>
                  </a:cubicBezTo>
                  <a:cubicBezTo>
                    <a:pt x="205" y="132"/>
                    <a:pt x="204" y="134"/>
                    <a:pt x="199" y="130"/>
                  </a:cubicBezTo>
                  <a:cubicBezTo>
                    <a:pt x="197" y="129"/>
                    <a:pt x="196" y="129"/>
                    <a:pt x="197" y="130"/>
                  </a:cubicBezTo>
                  <a:cubicBezTo>
                    <a:pt x="197" y="131"/>
                    <a:pt x="193" y="130"/>
                    <a:pt x="192" y="128"/>
                  </a:cubicBezTo>
                  <a:cubicBezTo>
                    <a:pt x="191" y="125"/>
                    <a:pt x="188" y="126"/>
                    <a:pt x="190" y="124"/>
                  </a:cubicBezTo>
                  <a:cubicBezTo>
                    <a:pt x="191" y="122"/>
                    <a:pt x="191" y="120"/>
                    <a:pt x="189" y="118"/>
                  </a:cubicBezTo>
                  <a:cubicBezTo>
                    <a:pt x="187" y="117"/>
                    <a:pt x="187" y="111"/>
                    <a:pt x="184" y="108"/>
                  </a:cubicBezTo>
                  <a:cubicBezTo>
                    <a:pt x="182" y="105"/>
                    <a:pt x="183" y="107"/>
                    <a:pt x="179" y="104"/>
                  </a:cubicBezTo>
                  <a:cubicBezTo>
                    <a:pt x="175" y="102"/>
                    <a:pt x="178" y="106"/>
                    <a:pt x="173" y="104"/>
                  </a:cubicBezTo>
                  <a:cubicBezTo>
                    <a:pt x="171" y="103"/>
                    <a:pt x="169" y="104"/>
                    <a:pt x="170" y="107"/>
                  </a:cubicBezTo>
                  <a:cubicBezTo>
                    <a:pt x="172" y="110"/>
                    <a:pt x="171" y="114"/>
                    <a:pt x="175" y="117"/>
                  </a:cubicBezTo>
                  <a:cubicBezTo>
                    <a:pt x="177" y="118"/>
                    <a:pt x="174" y="119"/>
                    <a:pt x="173" y="120"/>
                  </a:cubicBezTo>
                  <a:cubicBezTo>
                    <a:pt x="173" y="120"/>
                    <a:pt x="172" y="120"/>
                    <a:pt x="170" y="116"/>
                  </a:cubicBezTo>
                  <a:cubicBezTo>
                    <a:pt x="168" y="113"/>
                    <a:pt x="169" y="110"/>
                    <a:pt x="165" y="109"/>
                  </a:cubicBezTo>
                  <a:cubicBezTo>
                    <a:pt x="161" y="108"/>
                    <a:pt x="165" y="108"/>
                    <a:pt x="162" y="107"/>
                  </a:cubicBezTo>
                  <a:cubicBezTo>
                    <a:pt x="158" y="106"/>
                    <a:pt x="155" y="106"/>
                    <a:pt x="158" y="108"/>
                  </a:cubicBezTo>
                  <a:cubicBezTo>
                    <a:pt x="161" y="109"/>
                    <a:pt x="158" y="110"/>
                    <a:pt x="160" y="110"/>
                  </a:cubicBezTo>
                  <a:cubicBezTo>
                    <a:pt x="162" y="110"/>
                    <a:pt x="164" y="112"/>
                    <a:pt x="159" y="111"/>
                  </a:cubicBezTo>
                  <a:cubicBezTo>
                    <a:pt x="155" y="110"/>
                    <a:pt x="157" y="115"/>
                    <a:pt x="155" y="113"/>
                  </a:cubicBezTo>
                  <a:cubicBezTo>
                    <a:pt x="152" y="111"/>
                    <a:pt x="158" y="110"/>
                    <a:pt x="152" y="108"/>
                  </a:cubicBezTo>
                  <a:cubicBezTo>
                    <a:pt x="146" y="107"/>
                    <a:pt x="145" y="107"/>
                    <a:pt x="143" y="108"/>
                  </a:cubicBezTo>
                  <a:cubicBezTo>
                    <a:pt x="141" y="109"/>
                    <a:pt x="146" y="109"/>
                    <a:pt x="139" y="111"/>
                  </a:cubicBezTo>
                  <a:cubicBezTo>
                    <a:pt x="135" y="112"/>
                    <a:pt x="141" y="109"/>
                    <a:pt x="140" y="108"/>
                  </a:cubicBezTo>
                  <a:cubicBezTo>
                    <a:pt x="140" y="106"/>
                    <a:pt x="142" y="105"/>
                    <a:pt x="139" y="103"/>
                  </a:cubicBezTo>
                  <a:cubicBezTo>
                    <a:pt x="136" y="102"/>
                    <a:pt x="130" y="106"/>
                    <a:pt x="126" y="107"/>
                  </a:cubicBezTo>
                  <a:cubicBezTo>
                    <a:pt x="123" y="107"/>
                    <a:pt x="121" y="109"/>
                    <a:pt x="118" y="111"/>
                  </a:cubicBezTo>
                  <a:cubicBezTo>
                    <a:pt x="114" y="113"/>
                    <a:pt x="119" y="113"/>
                    <a:pt x="119" y="114"/>
                  </a:cubicBezTo>
                  <a:cubicBezTo>
                    <a:pt x="119" y="115"/>
                    <a:pt x="117" y="114"/>
                    <a:pt x="115" y="116"/>
                  </a:cubicBezTo>
                  <a:cubicBezTo>
                    <a:pt x="113" y="119"/>
                    <a:pt x="113" y="121"/>
                    <a:pt x="115" y="120"/>
                  </a:cubicBezTo>
                  <a:cubicBezTo>
                    <a:pt x="117" y="119"/>
                    <a:pt x="117" y="121"/>
                    <a:pt x="118" y="122"/>
                  </a:cubicBezTo>
                  <a:cubicBezTo>
                    <a:pt x="119" y="123"/>
                    <a:pt x="125" y="122"/>
                    <a:pt x="127" y="121"/>
                  </a:cubicBezTo>
                  <a:cubicBezTo>
                    <a:pt x="128" y="121"/>
                    <a:pt x="133" y="122"/>
                    <a:pt x="123" y="124"/>
                  </a:cubicBezTo>
                  <a:cubicBezTo>
                    <a:pt x="117" y="125"/>
                    <a:pt x="116" y="126"/>
                    <a:pt x="119" y="128"/>
                  </a:cubicBezTo>
                  <a:cubicBezTo>
                    <a:pt x="122" y="130"/>
                    <a:pt x="122" y="130"/>
                    <a:pt x="126" y="129"/>
                  </a:cubicBezTo>
                  <a:cubicBezTo>
                    <a:pt x="130" y="129"/>
                    <a:pt x="128" y="130"/>
                    <a:pt x="133" y="130"/>
                  </a:cubicBezTo>
                  <a:cubicBezTo>
                    <a:pt x="138" y="130"/>
                    <a:pt x="139" y="128"/>
                    <a:pt x="143" y="130"/>
                  </a:cubicBezTo>
                  <a:cubicBezTo>
                    <a:pt x="148" y="131"/>
                    <a:pt x="147" y="129"/>
                    <a:pt x="149" y="131"/>
                  </a:cubicBezTo>
                  <a:cubicBezTo>
                    <a:pt x="151" y="132"/>
                    <a:pt x="155" y="133"/>
                    <a:pt x="152" y="133"/>
                  </a:cubicBezTo>
                  <a:cubicBezTo>
                    <a:pt x="148" y="133"/>
                    <a:pt x="151" y="134"/>
                    <a:pt x="145" y="133"/>
                  </a:cubicBezTo>
                  <a:cubicBezTo>
                    <a:pt x="140" y="132"/>
                    <a:pt x="131" y="133"/>
                    <a:pt x="125" y="134"/>
                  </a:cubicBezTo>
                  <a:cubicBezTo>
                    <a:pt x="120" y="135"/>
                    <a:pt x="124" y="138"/>
                    <a:pt x="127" y="140"/>
                  </a:cubicBezTo>
                  <a:cubicBezTo>
                    <a:pt x="129" y="143"/>
                    <a:pt x="139" y="142"/>
                    <a:pt x="141" y="142"/>
                  </a:cubicBezTo>
                  <a:cubicBezTo>
                    <a:pt x="144" y="142"/>
                    <a:pt x="141" y="146"/>
                    <a:pt x="143" y="147"/>
                  </a:cubicBezTo>
                  <a:cubicBezTo>
                    <a:pt x="144" y="149"/>
                    <a:pt x="144" y="150"/>
                    <a:pt x="147" y="149"/>
                  </a:cubicBezTo>
                  <a:cubicBezTo>
                    <a:pt x="152" y="149"/>
                    <a:pt x="154" y="150"/>
                    <a:pt x="155" y="149"/>
                  </a:cubicBezTo>
                  <a:cubicBezTo>
                    <a:pt x="157" y="148"/>
                    <a:pt x="165" y="148"/>
                    <a:pt x="168" y="146"/>
                  </a:cubicBezTo>
                  <a:cubicBezTo>
                    <a:pt x="171" y="144"/>
                    <a:pt x="172" y="146"/>
                    <a:pt x="175" y="144"/>
                  </a:cubicBezTo>
                  <a:cubicBezTo>
                    <a:pt x="178" y="142"/>
                    <a:pt x="175" y="142"/>
                    <a:pt x="178" y="141"/>
                  </a:cubicBezTo>
                  <a:cubicBezTo>
                    <a:pt x="179" y="140"/>
                    <a:pt x="180" y="140"/>
                    <a:pt x="180" y="142"/>
                  </a:cubicBezTo>
                  <a:close/>
                  <a:moveTo>
                    <a:pt x="186" y="108"/>
                  </a:moveTo>
                  <a:cubicBezTo>
                    <a:pt x="186" y="107"/>
                    <a:pt x="187" y="107"/>
                    <a:pt x="188" y="105"/>
                  </a:cubicBezTo>
                  <a:cubicBezTo>
                    <a:pt x="189" y="103"/>
                    <a:pt x="191" y="101"/>
                    <a:pt x="189" y="101"/>
                  </a:cubicBezTo>
                  <a:cubicBezTo>
                    <a:pt x="187" y="100"/>
                    <a:pt x="188" y="99"/>
                    <a:pt x="183" y="99"/>
                  </a:cubicBezTo>
                  <a:cubicBezTo>
                    <a:pt x="177" y="100"/>
                    <a:pt x="175" y="102"/>
                    <a:pt x="178" y="102"/>
                  </a:cubicBezTo>
                  <a:cubicBezTo>
                    <a:pt x="181" y="103"/>
                    <a:pt x="181" y="104"/>
                    <a:pt x="181" y="104"/>
                  </a:cubicBezTo>
                  <a:cubicBezTo>
                    <a:pt x="181" y="105"/>
                    <a:pt x="183" y="106"/>
                    <a:pt x="185" y="108"/>
                  </a:cubicBezTo>
                  <a:cubicBezTo>
                    <a:pt x="186" y="108"/>
                    <a:pt x="186" y="108"/>
                    <a:pt x="186" y="108"/>
                  </a:cubicBezTo>
                  <a:close/>
                  <a:moveTo>
                    <a:pt x="311" y="137"/>
                  </a:moveTo>
                  <a:cubicBezTo>
                    <a:pt x="315" y="140"/>
                    <a:pt x="315" y="139"/>
                    <a:pt x="312" y="136"/>
                  </a:cubicBezTo>
                  <a:cubicBezTo>
                    <a:pt x="309" y="133"/>
                    <a:pt x="317" y="136"/>
                    <a:pt x="322" y="136"/>
                  </a:cubicBezTo>
                  <a:cubicBezTo>
                    <a:pt x="327" y="137"/>
                    <a:pt x="322" y="130"/>
                    <a:pt x="325" y="132"/>
                  </a:cubicBezTo>
                  <a:cubicBezTo>
                    <a:pt x="327" y="135"/>
                    <a:pt x="329" y="131"/>
                    <a:pt x="330" y="135"/>
                  </a:cubicBezTo>
                  <a:cubicBezTo>
                    <a:pt x="330" y="139"/>
                    <a:pt x="331" y="138"/>
                    <a:pt x="337" y="140"/>
                  </a:cubicBezTo>
                  <a:cubicBezTo>
                    <a:pt x="342" y="142"/>
                    <a:pt x="340" y="144"/>
                    <a:pt x="337" y="144"/>
                  </a:cubicBezTo>
                  <a:cubicBezTo>
                    <a:pt x="334" y="144"/>
                    <a:pt x="333" y="148"/>
                    <a:pt x="337" y="147"/>
                  </a:cubicBezTo>
                  <a:cubicBezTo>
                    <a:pt x="342" y="146"/>
                    <a:pt x="348" y="148"/>
                    <a:pt x="349" y="150"/>
                  </a:cubicBezTo>
                  <a:cubicBezTo>
                    <a:pt x="350" y="152"/>
                    <a:pt x="354" y="151"/>
                    <a:pt x="355" y="155"/>
                  </a:cubicBezTo>
                  <a:cubicBezTo>
                    <a:pt x="355" y="159"/>
                    <a:pt x="359" y="161"/>
                    <a:pt x="356" y="162"/>
                  </a:cubicBezTo>
                  <a:cubicBezTo>
                    <a:pt x="354" y="164"/>
                    <a:pt x="353" y="166"/>
                    <a:pt x="348" y="169"/>
                  </a:cubicBezTo>
                  <a:cubicBezTo>
                    <a:pt x="344" y="172"/>
                    <a:pt x="354" y="178"/>
                    <a:pt x="350" y="176"/>
                  </a:cubicBezTo>
                  <a:cubicBezTo>
                    <a:pt x="345" y="175"/>
                    <a:pt x="346" y="180"/>
                    <a:pt x="336" y="178"/>
                  </a:cubicBezTo>
                  <a:cubicBezTo>
                    <a:pt x="326" y="175"/>
                    <a:pt x="334" y="178"/>
                    <a:pt x="329" y="181"/>
                  </a:cubicBezTo>
                  <a:cubicBezTo>
                    <a:pt x="324" y="183"/>
                    <a:pt x="330" y="190"/>
                    <a:pt x="337" y="186"/>
                  </a:cubicBezTo>
                  <a:cubicBezTo>
                    <a:pt x="344" y="183"/>
                    <a:pt x="343" y="189"/>
                    <a:pt x="346" y="186"/>
                  </a:cubicBezTo>
                  <a:cubicBezTo>
                    <a:pt x="349" y="183"/>
                    <a:pt x="348" y="189"/>
                    <a:pt x="349" y="187"/>
                  </a:cubicBezTo>
                  <a:cubicBezTo>
                    <a:pt x="350" y="185"/>
                    <a:pt x="349" y="183"/>
                    <a:pt x="355" y="189"/>
                  </a:cubicBezTo>
                  <a:cubicBezTo>
                    <a:pt x="360" y="196"/>
                    <a:pt x="358" y="190"/>
                    <a:pt x="362" y="193"/>
                  </a:cubicBezTo>
                  <a:cubicBezTo>
                    <a:pt x="365" y="196"/>
                    <a:pt x="355" y="192"/>
                    <a:pt x="361" y="197"/>
                  </a:cubicBezTo>
                  <a:cubicBezTo>
                    <a:pt x="364" y="201"/>
                    <a:pt x="370" y="199"/>
                    <a:pt x="372" y="202"/>
                  </a:cubicBezTo>
                  <a:cubicBezTo>
                    <a:pt x="375" y="205"/>
                    <a:pt x="382" y="206"/>
                    <a:pt x="387" y="208"/>
                  </a:cubicBezTo>
                  <a:cubicBezTo>
                    <a:pt x="392" y="210"/>
                    <a:pt x="391" y="205"/>
                    <a:pt x="387" y="202"/>
                  </a:cubicBezTo>
                  <a:cubicBezTo>
                    <a:pt x="383" y="198"/>
                    <a:pt x="374" y="194"/>
                    <a:pt x="375" y="192"/>
                  </a:cubicBezTo>
                  <a:cubicBezTo>
                    <a:pt x="376" y="190"/>
                    <a:pt x="381" y="197"/>
                    <a:pt x="381" y="194"/>
                  </a:cubicBezTo>
                  <a:cubicBezTo>
                    <a:pt x="382" y="192"/>
                    <a:pt x="385" y="198"/>
                    <a:pt x="390" y="199"/>
                  </a:cubicBezTo>
                  <a:cubicBezTo>
                    <a:pt x="394" y="199"/>
                    <a:pt x="396" y="207"/>
                    <a:pt x="396" y="202"/>
                  </a:cubicBezTo>
                  <a:cubicBezTo>
                    <a:pt x="395" y="197"/>
                    <a:pt x="397" y="203"/>
                    <a:pt x="396" y="197"/>
                  </a:cubicBezTo>
                  <a:cubicBezTo>
                    <a:pt x="396" y="192"/>
                    <a:pt x="397" y="200"/>
                    <a:pt x="398" y="195"/>
                  </a:cubicBezTo>
                  <a:cubicBezTo>
                    <a:pt x="399" y="190"/>
                    <a:pt x="394" y="193"/>
                    <a:pt x="396" y="190"/>
                  </a:cubicBezTo>
                  <a:cubicBezTo>
                    <a:pt x="398" y="188"/>
                    <a:pt x="392" y="190"/>
                    <a:pt x="394" y="187"/>
                  </a:cubicBezTo>
                  <a:cubicBezTo>
                    <a:pt x="396" y="185"/>
                    <a:pt x="395" y="184"/>
                    <a:pt x="389" y="182"/>
                  </a:cubicBezTo>
                  <a:cubicBezTo>
                    <a:pt x="384" y="180"/>
                    <a:pt x="386" y="174"/>
                    <a:pt x="383" y="175"/>
                  </a:cubicBezTo>
                  <a:cubicBezTo>
                    <a:pt x="379" y="176"/>
                    <a:pt x="378" y="173"/>
                    <a:pt x="382" y="173"/>
                  </a:cubicBezTo>
                  <a:cubicBezTo>
                    <a:pt x="386" y="172"/>
                    <a:pt x="379" y="168"/>
                    <a:pt x="382" y="169"/>
                  </a:cubicBezTo>
                  <a:cubicBezTo>
                    <a:pt x="386" y="170"/>
                    <a:pt x="384" y="165"/>
                    <a:pt x="387" y="169"/>
                  </a:cubicBezTo>
                  <a:cubicBezTo>
                    <a:pt x="389" y="172"/>
                    <a:pt x="390" y="169"/>
                    <a:pt x="391" y="172"/>
                  </a:cubicBezTo>
                  <a:cubicBezTo>
                    <a:pt x="391" y="174"/>
                    <a:pt x="393" y="172"/>
                    <a:pt x="393" y="175"/>
                  </a:cubicBezTo>
                  <a:cubicBezTo>
                    <a:pt x="393" y="177"/>
                    <a:pt x="406" y="186"/>
                    <a:pt x="404" y="179"/>
                  </a:cubicBezTo>
                  <a:cubicBezTo>
                    <a:pt x="403" y="172"/>
                    <a:pt x="411" y="177"/>
                    <a:pt x="410" y="174"/>
                  </a:cubicBezTo>
                  <a:cubicBezTo>
                    <a:pt x="408" y="171"/>
                    <a:pt x="412" y="173"/>
                    <a:pt x="410" y="171"/>
                  </a:cubicBezTo>
                  <a:cubicBezTo>
                    <a:pt x="409" y="169"/>
                    <a:pt x="416" y="170"/>
                    <a:pt x="413" y="165"/>
                  </a:cubicBezTo>
                  <a:cubicBezTo>
                    <a:pt x="410" y="159"/>
                    <a:pt x="404" y="167"/>
                    <a:pt x="406" y="162"/>
                  </a:cubicBezTo>
                  <a:cubicBezTo>
                    <a:pt x="407" y="157"/>
                    <a:pt x="400" y="163"/>
                    <a:pt x="402" y="160"/>
                  </a:cubicBezTo>
                  <a:cubicBezTo>
                    <a:pt x="403" y="157"/>
                    <a:pt x="401" y="158"/>
                    <a:pt x="397" y="155"/>
                  </a:cubicBezTo>
                  <a:cubicBezTo>
                    <a:pt x="393" y="152"/>
                    <a:pt x="387" y="155"/>
                    <a:pt x="386" y="151"/>
                  </a:cubicBezTo>
                  <a:cubicBezTo>
                    <a:pt x="386" y="147"/>
                    <a:pt x="375" y="151"/>
                    <a:pt x="380" y="148"/>
                  </a:cubicBezTo>
                  <a:cubicBezTo>
                    <a:pt x="385" y="145"/>
                    <a:pt x="376" y="142"/>
                    <a:pt x="381" y="143"/>
                  </a:cubicBezTo>
                  <a:cubicBezTo>
                    <a:pt x="386" y="144"/>
                    <a:pt x="390" y="141"/>
                    <a:pt x="382" y="140"/>
                  </a:cubicBezTo>
                  <a:cubicBezTo>
                    <a:pt x="373" y="139"/>
                    <a:pt x="381" y="139"/>
                    <a:pt x="384" y="137"/>
                  </a:cubicBezTo>
                  <a:cubicBezTo>
                    <a:pt x="387" y="135"/>
                    <a:pt x="380" y="132"/>
                    <a:pt x="378" y="133"/>
                  </a:cubicBezTo>
                  <a:cubicBezTo>
                    <a:pt x="377" y="134"/>
                    <a:pt x="370" y="134"/>
                    <a:pt x="375" y="132"/>
                  </a:cubicBezTo>
                  <a:cubicBezTo>
                    <a:pt x="380" y="131"/>
                    <a:pt x="380" y="131"/>
                    <a:pt x="374" y="128"/>
                  </a:cubicBezTo>
                  <a:cubicBezTo>
                    <a:pt x="367" y="125"/>
                    <a:pt x="366" y="131"/>
                    <a:pt x="366" y="127"/>
                  </a:cubicBezTo>
                  <a:cubicBezTo>
                    <a:pt x="367" y="122"/>
                    <a:pt x="363" y="126"/>
                    <a:pt x="363" y="124"/>
                  </a:cubicBezTo>
                  <a:cubicBezTo>
                    <a:pt x="363" y="121"/>
                    <a:pt x="358" y="118"/>
                    <a:pt x="355" y="122"/>
                  </a:cubicBezTo>
                  <a:cubicBezTo>
                    <a:pt x="351" y="125"/>
                    <a:pt x="351" y="121"/>
                    <a:pt x="349" y="117"/>
                  </a:cubicBezTo>
                  <a:cubicBezTo>
                    <a:pt x="347" y="113"/>
                    <a:pt x="346" y="118"/>
                    <a:pt x="344" y="114"/>
                  </a:cubicBezTo>
                  <a:cubicBezTo>
                    <a:pt x="341" y="110"/>
                    <a:pt x="337" y="112"/>
                    <a:pt x="335" y="110"/>
                  </a:cubicBezTo>
                  <a:cubicBezTo>
                    <a:pt x="333" y="109"/>
                    <a:pt x="327" y="107"/>
                    <a:pt x="325" y="112"/>
                  </a:cubicBezTo>
                  <a:cubicBezTo>
                    <a:pt x="323" y="117"/>
                    <a:pt x="320" y="109"/>
                    <a:pt x="317" y="112"/>
                  </a:cubicBezTo>
                  <a:cubicBezTo>
                    <a:pt x="314" y="116"/>
                    <a:pt x="311" y="116"/>
                    <a:pt x="313" y="114"/>
                  </a:cubicBezTo>
                  <a:cubicBezTo>
                    <a:pt x="316" y="111"/>
                    <a:pt x="315" y="106"/>
                    <a:pt x="312" y="105"/>
                  </a:cubicBezTo>
                  <a:cubicBezTo>
                    <a:pt x="309" y="104"/>
                    <a:pt x="312" y="100"/>
                    <a:pt x="309" y="100"/>
                  </a:cubicBezTo>
                  <a:cubicBezTo>
                    <a:pt x="305" y="99"/>
                    <a:pt x="291" y="101"/>
                    <a:pt x="290" y="105"/>
                  </a:cubicBezTo>
                  <a:cubicBezTo>
                    <a:pt x="290" y="110"/>
                    <a:pt x="284" y="104"/>
                    <a:pt x="288" y="111"/>
                  </a:cubicBezTo>
                  <a:cubicBezTo>
                    <a:pt x="292" y="118"/>
                    <a:pt x="284" y="113"/>
                    <a:pt x="287" y="117"/>
                  </a:cubicBezTo>
                  <a:cubicBezTo>
                    <a:pt x="291" y="122"/>
                    <a:pt x="293" y="117"/>
                    <a:pt x="293" y="121"/>
                  </a:cubicBezTo>
                  <a:cubicBezTo>
                    <a:pt x="294" y="124"/>
                    <a:pt x="281" y="119"/>
                    <a:pt x="284" y="114"/>
                  </a:cubicBezTo>
                  <a:cubicBezTo>
                    <a:pt x="287" y="109"/>
                    <a:pt x="280" y="112"/>
                    <a:pt x="285" y="106"/>
                  </a:cubicBezTo>
                  <a:cubicBezTo>
                    <a:pt x="290" y="100"/>
                    <a:pt x="292" y="101"/>
                    <a:pt x="292" y="99"/>
                  </a:cubicBezTo>
                  <a:cubicBezTo>
                    <a:pt x="292" y="98"/>
                    <a:pt x="281" y="97"/>
                    <a:pt x="274" y="102"/>
                  </a:cubicBezTo>
                  <a:cubicBezTo>
                    <a:pt x="266" y="106"/>
                    <a:pt x="270" y="107"/>
                    <a:pt x="268" y="109"/>
                  </a:cubicBezTo>
                  <a:cubicBezTo>
                    <a:pt x="265" y="111"/>
                    <a:pt x="266" y="113"/>
                    <a:pt x="265" y="118"/>
                  </a:cubicBezTo>
                  <a:cubicBezTo>
                    <a:pt x="264" y="123"/>
                    <a:pt x="265" y="123"/>
                    <a:pt x="272" y="124"/>
                  </a:cubicBezTo>
                  <a:cubicBezTo>
                    <a:pt x="279" y="124"/>
                    <a:pt x="281" y="127"/>
                    <a:pt x="275" y="126"/>
                  </a:cubicBezTo>
                  <a:cubicBezTo>
                    <a:pt x="269" y="126"/>
                    <a:pt x="266" y="126"/>
                    <a:pt x="272" y="131"/>
                  </a:cubicBezTo>
                  <a:cubicBezTo>
                    <a:pt x="277" y="136"/>
                    <a:pt x="281" y="131"/>
                    <a:pt x="284" y="134"/>
                  </a:cubicBezTo>
                  <a:cubicBezTo>
                    <a:pt x="288" y="137"/>
                    <a:pt x="292" y="135"/>
                    <a:pt x="293" y="135"/>
                  </a:cubicBezTo>
                  <a:cubicBezTo>
                    <a:pt x="299" y="137"/>
                    <a:pt x="298" y="134"/>
                    <a:pt x="304" y="137"/>
                  </a:cubicBezTo>
                  <a:cubicBezTo>
                    <a:pt x="309" y="138"/>
                    <a:pt x="307" y="133"/>
                    <a:pt x="311" y="137"/>
                  </a:cubicBezTo>
                  <a:close/>
                  <a:moveTo>
                    <a:pt x="338" y="161"/>
                  </a:moveTo>
                  <a:cubicBezTo>
                    <a:pt x="346" y="160"/>
                    <a:pt x="342" y="157"/>
                    <a:pt x="343" y="153"/>
                  </a:cubicBezTo>
                  <a:cubicBezTo>
                    <a:pt x="344" y="150"/>
                    <a:pt x="335" y="149"/>
                    <a:pt x="333" y="154"/>
                  </a:cubicBezTo>
                  <a:cubicBezTo>
                    <a:pt x="331" y="158"/>
                    <a:pt x="330" y="161"/>
                    <a:pt x="338" y="161"/>
                  </a:cubicBezTo>
                  <a:close/>
                  <a:moveTo>
                    <a:pt x="288" y="194"/>
                  </a:moveTo>
                  <a:cubicBezTo>
                    <a:pt x="288" y="198"/>
                    <a:pt x="292" y="199"/>
                    <a:pt x="294" y="195"/>
                  </a:cubicBezTo>
                  <a:cubicBezTo>
                    <a:pt x="295" y="192"/>
                    <a:pt x="297" y="195"/>
                    <a:pt x="298" y="191"/>
                  </a:cubicBezTo>
                  <a:cubicBezTo>
                    <a:pt x="299" y="188"/>
                    <a:pt x="304" y="189"/>
                    <a:pt x="304" y="191"/>
                  </a:cubicBezTo>
                  <a:cubicBezTo>
                    <a:pt x="305" y="194"/>
                    <a:pt x="306" y="192"/>
                    <a:pt x="310" y="193"/>
                  </a:cubicBezTo>
                  <a:cubicBezTo>
                    <a:pt x="313" y="195"/>
                    <a:pt x="317" y="193"/>
                    <a:pt x="315" y="190"/>
                  </a:cubicBezTo>
                  <a:cubicBezTo>
                    <a:pt x="312" y="187"/>
                    <a:pt x="313" y="190"/>
                    <a:pt x="310" y="189"/>
                  </a:cubicBezTo>
                  <a:cubicBezTo>
                    <a:pt x="307" y="188"/>
                    <a:pt x="309" y="184"/>
                    <a:pt x="304" y="183"/>
                  </a:cubicBezTo>
                  <a:cubicBezTo>
                    <a:pt x="299" y="181"/>
                    <a:pt x="296" y="175"/>
                    <a:pt x="293" y="178"/>
                  </a:cubicBezTo>
                  <a:cubicBezTo>
                    <a:pt x="291" y="180"/>
                    <a:pt x="290" y="172"/>
                    <a:pt x="287" y="173"/>
                  </a:cubicBezTo>
                  <a:cubicBezTo>
                    <a:pt x="285" y="174"/>
                    <a:pt x="283" y="182"/>
                    <a:pt x="284" y="187"/>
                  </a:cubicBezTo>
                  <a:cubicBezTo>
                    <a:pt x="285" y="191"/>
                    <a:pt x="278" y="190"/>
                    <a:pt x="280" y="193"/>
                  </a:cubicBezTo>
                  <a:cubicBezTo>
                    <a:pt x="281" y="195"/>
                    <a:pt x="289" y="191"/>
                    <a:pt x="288" y="194"/>
                  </a:cubicBezTo>
                  <a:close/>
                  <a:moveTo>
                    <a:pt x="307" y="199"/>
                  </a:moveTo>
                  <a:cubicBezTo>
                    <a:pt x="304" y="197"/>
                    <a:pt x="294" y="202"/>
                    <a:pt x="297" y="205"/>
                  </a:cubicBezTo>
                  <a:cubicBezTo>
                    <a:pt x="300" y="208"/>
                    <a:pt x="310" y="200"/>
                    <a:pt x="307" y="199"/>
                  </a:cubicBezTo>
                  <a:close/>
                  <a:moveTo>
                    <a:pt x="315" y="104"/>
                  </a:moveTo>
                  <a:cubicBezTo>
                    <a:pt x="317" y="105"/>
                    <a:pt x="314" y="107"/>
                    <a:pt x="319" y="109"/>
                  </a:cubicBezTo>
                  <a:cubicBezTo>
                    <a:pt x="323" y="110"/>
                    <a:pt x="323" y="107"/>
                    <a:pt x="328" y="108"/>
                  </a:cubicBezTo>
                  <a:cubicBezTo>
                    <a:pt x="333" y="109"/>
                    <a:pt x="339" y="109"/>
                    <a:pt x="337" y="107"/>
                  </a:cubicBezTo>
                  <a:cubicBezTo>
                    <a:pt x="334" y="104"/>
                    <a:pt x="332" y="100"/>
                    <a:pt x="325" y="100"/>
                  </a:cubicBezTo>
                  <a:cubicBezTo>
                    <a:pt x="318" y="101"/>
                    <a:pt x="313" y="97"/>
                    <a:pt x="313" y="101"/>
                  </a:cubicBezTo>
                  <a:cubicBezTo>
                    <a:pt x="313" y="103"/>
                    <a:pt x="312" y="103"/>
                    <a:pt x="315" y="104"/>
                  </a:cubicBezTo>
                  <a:close/>
                  <a:moveTo>
                    <a:pt x="231" y="70"/>
                  </a:moveTo>
                  <a:cubicBezTo>
                    <a:pt x="234" y="73"/>
                    <a:pt x="236" y="72"/>
                    <a:pt x="237" y="74"/>
                  </a:cubicBezTo>
                  <a:cubicBezTo>
                    <a:pt x="237" y="76"/>
                    <a:pt x="242" y="75"/>
                    <a:pt x="246" y="74"/>
                  </a:cubicBezTo>
                  <a:cubicBezTo>
                    <a:pt x="251" y="73"/>
                    <a:pt x="250" y="76"/>
                    <a:pt x="254" y="78"/>
                  </a:cubicBezTo>
                  <a:cubicBezTo>
                    <a:pt x="257" y="80"/>
                    <a:pt x="250" y="83"/>
                    <a:pt x="253" y="85"/>
                  </a:cubicBezTo>
                  <a:cubicBezTo>
                    <a:pt x="256" y="86"/>
                    <a:pt x="253" y="88"/>
                    <a:pt x="256" y="90"/>
                  </a:cubicBezTo>
                  <a:cubicBezTo>
                    <a:pt x="260" y="92"/>
                    <a:pt x="258" y="89"/>
                    <a:pt x="264" y="91"/>
                  </a:cubicBezTo>
                  <a:cubicBezTo>
                    <a:pt x="270" y="94"/>
                    <a:pt x="273" y="87"/>
                    <a:pt x="273" y="90"/>
                  </a:cubicBezTo>
                  <a:cubicBezTo>
                    <a:pt x="272" y="94"/>
                    <a:pt x="276" y="92"/>
                    <a:pt x="289" y="92"/>
                  </a:cubicBezTo>
                  <a:cubicBezTo>
                    <a:pt x="303" y="93"/>
                    <a:pt x="300" y="87"/>
                    <a:pt x="301" y="90"/>
                  </a:cubicBezTo>
                  <a:cubicBezTo>
                    <a:pt x="302" y="93"/>
                    <a:pt x="317" y="93"/>
                    <a:pt x="317" y="90"/>
                  </a:cubicBezTo>
                  <a:cubicBezTo>
                    <a:pt x="317" y="87"/>
                    <a:pt x="323" y="89"/>
                    <a:pt x="319" y="87"/>
                  </a:cubicBezTo>
                  <a:cubicBezTo>
                    <a:pt x="316" y="85"/>
                    <a:pt x="321" y="85"/>
                    <a:pt x="319" y="82"/>
                  </a:cubicBezTo>
                  <a:cubicBezTo>
                    <a:pt x="317" y="79"/>
                    <a:pt x="313" y="81"/>
                    <a:pt x="312" y="79"/>
                  </a:cubicBezTo>
                  <a:cubicBezTo>
                    <a:pt x="310" y="77"/>
                    <a:pt x="304" y="79"/>
                    <a:pt x="294" y="80"/>
                  </a:cubicBezTo>
                  <a:cubicBezTo>
                    <a:pt x="283" y="81"/>
                    <a:pt x="288" y="84"/>
                    <a:pt x="282" y="82"/>
                  </a:cubicBezTo>
                  <a:cubicBezTo>
                    <a:pt x="277" y="80"/>
                    <a:pt x="277" y="84"/>
                    <a:pt x="273" y="81"/>
                  </a:cubicBezTo>
                  <a:cubicBezTo>
                    <a:pt x="270" y="78"/>
                    <a:pt x="272" y="83"/>
                    <a:pt x="270" y="82"/>
                  </a:cubicBezTo>
                  <a:cubicBezTo>
                    <a:pt x="267" y="81"/>
                    <a:pt x="270" y="80"/>
                    <a:pt x="267" y="78"/>
                  </a:cubicBezTo>
                  <a:cubicBezTo>
                    <a:pt x="265" y="75"/>
                    <a:pt x="263" y="78"/>
                    <a:pt x="263" y="76"/>
                  </a:cubicBezTo>
                  <a:cubicBezTo>
                    <a:pt x="262" y="74"/>
                    <a:pt x="270" y="77"/>
                    <a:pt x="269" y="75"/>
                  </a:cubicBezTo>
                  <a:cubicBezTo>
                    <a:pt x="269" y="73"/>
                    <a:pt x="265" y="74"/>
                    <a:pt x="262" y="72"/>
                  </a:cubicBezTo>
                  <a:cubicBezTo>
                    <a:pt x="258" y="70"/>
                    <a:pt x="257" y="70"/>
                    <a:pt x="252" y="71"/>
                  </a:cubicBezTo>
                  <a:cubicBezTo>
                    <a:pt x="248" y="72"/>
                    <a:pt x="247" y="67"/>
                    <a:pt x="244" y="67"/>
                  </a:cubicBezTo>
                  <a:cubicBezTo>
                    <a:pt x="242" y="68"/>
                    <a:pt x="236" y="66"/>
                    <a:pt x="230" y="66"/>
                  </a:cubicBezTo>
                  <a:cubicBezTo>
                    <a:pt x="228" y="66"/>
                    <a:pt x="228" y="68"/>
                    <a:pt x="231" y="70"/>
                  </a:cubicBezTo>
                  <a:close/>
                  <a:moveTo>
                    <a:pt x="234" y="88"/>
                  </a:moveTo>
                  <a:cubicBezTo>
                    <a:pt x="239" y="89"/>
                    <a:pt x="237" y="91"/>
                    <a:pt x="244" y="91"/>
                  </a:cubicBezTo>
                  <a:cubicBezTo>
                    <a:pt x="250" y="91"/>
                    <a:pt x="248" y="86"/>
                    <a:pt x="245" y="83"/>
                  </a:cubicBezTo>
                  <a:cubicBezTo>
                    <a:pt x="241" y="79"/>
                    <a:pt x="236" y="80"/>
                    <a:pt x="233" y="84"/>
                  </a:cubicBezTo>
                  <a:cubicBezTo>
                    <a:pt x="232" y="86"/>
                    <a:pt x="230" y="88"/>
                    <a:pt x="234" y="88"/>
                  </a:cubicBezTo>
                  <a:close/>
                  <a:moveTo>
                    <a:pt x="245" y="114"/>
                  </a:moveTo>
                  <a:cubicBezTo>
                    <a:pt x="245" y="112"/>
                    <a:pt x="248" y="113"/>
                    <a:pt x="246" y="110"/>
                  </a:cubicBezTo>
                  <a:cubicBezTo>
                    <a:pt x="244" y="106"/>
                    <a:pt x="254" y="112"/>
                    <a:pt x="256" y="107"/>
                  </a:cubicBezTo>
                  <a:cubicBezTo>
                    <a:pt x="259" y="102"/>
                    <a:pt x="267" y="99"/>
                    <a:pt x="261" y="97"/>
                  </a:cubicBezTo>
                  <a:cubicBezTo>
                    <a:pt x="256" y="95"/>
                    <a:pt x="256" y="98"/>
                    <a:pt x="253" y="97"/>
                  </a:cubicBezTo>
                  <a:cubicBezTo>
                    <a:pt x="250" y="95"/>
                    <a:pt x="249" y="94"/>
                    <a:pt x="241" y="96"/>
                  </a:cubicBezTo>
                  <a:cubicBezTo>
                    <a:pt x="234" y="97"/>
                    <a:pt x="239" y="99"/>
                    <a:pt x="237" y="99"/>
                  </a:cubicBezTo>
                  <a:cubicBezTo>
                    <a:pt x="235" y="99"/>
                    <a:pt x="235" y="99"/>
                    <a:pt x="235" y="105"/>
                  </a:cubicBezTo>
                  <a:cubicBezTo>
                    <a:pt x="235" y="110"/>
                    <a:pt x="238" y="110"/>
                    <a:pt x="238" y="113"/>
                  </a:cubicBezTo>
                  <a:cubicBezTo>
                    <a:pt x="237" y="117"/>
                    <a:pt x="240" y="114"/>
                    <a:pt x="243" y="116"/>
                  </a:cubicBezTo>
                  <a:cubicBezTo>
                    <a:pt x="244" y="116"/>
                    <a:pt x="244" y="116"/>
                    <a:pt x="245" y="114"/>
                  </a:cubicBezTo>
                  <a:close/>
                  <a:moveTo>
                    <a:pt x="208" y="104"/>
                  </a:moveTo>
                  <a:cubicBezTo>
                    <a:pt x="212" y="105"/>
                    <a:pt x="212" y="108"/>
                    <a:pt x="209" y="109"/>
                  </a:cubicBezTo>
                  <a:cubicBezTo>
                    <a:pt x="205" y="111"/>
                    <a:pt x="202" y="103"/>
                    <a:pt x="199" y="107"/>
                  </a:cubicBezTo>
                  <a:cubicBezTo>
                    <a:pt x="197" y="109"/>
                    <a:pt x="202" y="113"/>
                    <a:pt x="208" y="115"/>
                  </a:cubicBezTo>
                  <a:cubicBezTo>
                    <a:pt x="215" y="117"/>
                    <a:pt x="216" y="123"/>
                    <a:pt x="220" y="123"/>
                  </a:cubicBezTo>
                  <a:cubicBezTo>
                    <a:pt x="224" y="124"/>
                    <a:pt x="221" y="119"/>
                    <a:pt x="224" y="120"/>
                  </a:cubicBezTo>
                  <a:cubicBezTo>
                    <a:pt x="226" y="121"/>
                    <a:pt x="231" y="119"/>
                    <a:pt x="231" y="115"/>
                  </a:cubicBezTo>
                  <a:cubicBezTo>
                    <a:pt x="231" y="112"/>
                    <a:pt x="233" y="114"/>
                    <a:pt x="232" y="110"/>
                  </a:cubicBezTo>
                  <a:cubicBezTo>
                    <a:pt x="231" y="107"/>
                    <a:pt x="230" y="112"/>
                    <a:pt x="228" y="108"/>
                  </a:cubicBezTo>
                  <a:cubicBezTo>
                    <a:pt x="225" y="105"/>
                    <a:pt x="220" y="105"/>
                    <a:pt x="226" y="104"/>
                  </a:cubicBezTo>
                  <a:cubicBezTo>
                    <a:pt x="231" y="103"/>
                    <a:pt x="224" y="102"/>
                    <a:pt x="228" y="101"/>
                  </a:cubicBezTo>
                  <a:cubicBezTo>
                    <a:pt x="231" y="99"/>
                    <a:pt x="227" y="97"/>
                    <a:pt x="222" y="99"/>
                  </a:cubicBezTo>
                  <a:cubicBezTo>
                    <a:pt x="217" y="101"/>
                    <a:pt x="214" y="96"/>
                    <a:pt x="210" y="98"/>
                  </a:cubicBezTo>
                  <a:cubicBezTo>
                    <a:pt x="206" y="100"/>
                    <a:pt x="202" y="101"/>
                    <a:pt x="207" y="103"/>
                  </a:cubicBezTo>
                  <a:lnTo>
                    <a:pt x="208" y="104"/>
                  </a:lnTo>
                  <a:close/>
                  <a:moveTo>
                    <a:pt x="224" y="148"/>
                  </a:moveTo>
                  <a:cubicBezTo>
                    <a:pt x="228" y="148"/>
                    <a:pt x="230" y="151"/>
                    <a:pt x="233" y="149"/>
                  </a:cubicBezTo>
                  <a:cubicBezTo>
                    <a:pt x="236" y="146"/>
                    <a:pt x="236" y="149"/>
                    <a:pt x="238" y="147"/>
                  </a:cubicBezTo>
                  <a:cubicBezTo>
                    <a:pt x="239" y="144"/>
                    <a:pt x="236" y="147"/>
                    <a:pt x="234" y="144"/>
                  </a:cubicBezTo>
                  <a:cubicBezTo>
                    <a:pt x="232" y="140"/>
                    <a:pt x="232" y="143"/>
                    <a:pt x="228" y="139"/>
                  </a:cubicBezTo>
                  <a:cubicBezTo>
                    <a:pt x="224" y="135"/>
                    <a:pt x="223" y="136"/>
                    <a:pt x="220" y="141"/>
                  </a:cubicBezTo>
                  <a:cubicBezTo>
                    <a:pt x="217" y="145"/>
                    <a:pt x="213" y="142"/>
                    <a:pt x="216" y="145"/>
                  </a:cubicBezTo>
                  <a:cubicBezTo>
                    <a:pt x="217" y="147"/>
                    <a:pt x="220" y="147"/>
                    <a:pt x="224" y="148"/>
                  </a:cubicBezTo>
                  <a:close/>
                  <a:moveTo>
                    <a:pt x="214" y="52"/>
                  </a:moveTo>
                  <a:cubicBezTo>
                    <a:pt x="217" y="51"/>
                    <a:pt x="217" y="48"/>
                    <a:pt x="211" y="48"/>
                  </a:cubicBezTo>
                  <a:cubicBezTo>
                    <a:pt x="205" y="47"/>
                    <a:pt x="210" y="47"/>
                    <a:pt x="205" y="45"/>
                  </a:cubicBezTo>
                  <a:cubicBezTo>
                    <a:pt x="200" y="43"/>
                    <a:pt x="201" y="48"/>
                    <a:pt x="199" y="45"/>
                  </a:cubicBezTo>
                  <a:cubicBezTo>
                    <a:pt x="198" y="42"/>
                    <a:pt x="185" y="39"/>
                    <a:pt x="184" y="44"/>
                  </a:cubicBezTo>
                  <a:cubicBezTo>
                    <a:pt x="183" y="48"/>
                    <a:pt x="188" y="43"/>
                    <a:pt x="188" y="47"/>
                  </a:cubicBezTo>
                  <a:cubicBezTo>
                    <a:pt x="187" y="50"/>
                    <a:pt x="190" y="45"/>
                    <a:pt x="192" y="48"/>
                  </a:cubicBezTo>
                  <a:cubicBezTo>
                    <a:pt x="195" y="52"/>
                    <a:pt x="190" y="50"/>
                    <a:pt x="187" y="51"/>
                  </a:cubicBezTo>
                  <a:cubicBezTo>
                    <a:pt x="186" y="51"/>
                    <a:pt x="187" y="55"/>
                    <a:pt x="194" y="53"/>
                  </a:cubicBezTo>
                  <a:cubicBezTo>
                    <a:pt x="202" y="51"/>
                    <a:pt x="195" y="54"/>
                    <a:pt x="203" y="53"/>
                  </a:cubicBezTo>
                  <a:cubicBezTo>
                    <a:pt x="210" y="52"/>
                    <a:pt x="205" y="60"/>
                    <a:pt x="215" y="58"/>
                  </a:cubicBezTo>
                  <a:cubicBezTo>
                    <a:pt x="223" y="57"/>
                    <a:pt x="212" y="52"/>
                    <a:pt x="214" y="52"/>
                  </a:cubicBezTo>
                  <a:close/>
                  <a:moveTo>
                    <a:pt x="274" y="73"/>
                  </a:moveTo>
                  <a:cubicBezTo>
                    <a:pt x="276" y="75"/>
                    <a:pt x="280" y="73"/>
                    <a:pt x="282" y="72"/>
                  </a:cubicBezTo>
                  <a:cubicBezTo>
                    <a:pt x="284" y="71"/>
                    <a:pt x="285" y="74"/>
                    <a:pt x="291" y="74"/>
                  </a:cubicBezTo>
                  <a:cubicBezTo>
                    <a:pt x="297" y="74"/>
                    <a:pt x="293" y="71"/>
                    <a:pt x="299" y="73"/>
                  </a:cubicBezTo>
                  <a:cubicBezTo>
                    <a:pt x="306" y="75"/>
                    <a:pt x="314" y="69"/>
                    <a:pt x="313" y="73"/>
                  </a:cubicBezTo>
                  <a:cubicBezTo>
                    <a:pt x="311" y="77"/>
                    <a:pt x="318" y="75"/>
                    <a:pt x="322" y="73"/>
                  </a:cubicBezTo>
                  <a:cubicBezTo>
                    <a:pt x="325" y="71"/>
                    <a:pt x="328" y="74"/>
                    <a:pt x="329" y="69"/>
                  </a:cubicBezTo>
                  <a:cubicBezTo>
                    <a:pt x="329" y="65"/>
                    <a:pt x="322" y="69"/>
                    <a:pt x="322" y="66"/>
                  </a:cubicBezTo>
                  <a:cubicBezTo>
                    <a:pt x="322" y="63"/>
                    <a:pt x="324" y="64"/>
                    <a:pt x="327" y="62"/>
                  </a:cubicBezTo>
                  <a:cubicBezTo>
                    <a:pt x="331" y="60"/>
                    <a:pt x="322" y="55"/>
                    <a:pt x="331" y="57"/>
                  </a:cubicBezTo>
                  <a:cubicBezTo>
                    <a:pt x="338" y="58"/>
                    <a:pt x="344" y="54"/>
                    <a:pt x="342" y="52"/>
                  </a:cubicBezTo>
                  <a:cubicBezTo>
                    <a:pt x="340" y="50"/>
                    <a:pt x="349" y="50"/>
                    <a:pt x="341" y="47"/>
                  </a:cubicBezTo>
                  <a:cubicBezTo>
                    <a:pt x="334" y="43"/>
                    <a:pt x="347" y="48"/>
                    <a:pt x="346" y="45"/>
                  </a:cubicBezTo>
                  <a:cubicBezTo>
                    <a:pt x="344" y="42"/>
                    <a:pt x="342" y="43"/>
                    <a:pt x="339" y="43"/>
                  </a:cubicBezTo>
                  <a:cubicBezTo>
                    <a:pt x="335" y="43"/>
                    <a:pt x="329" y="44"/>
                    <a:pt x="331" y="42"/>
                  </a:cubicBezTo>
                  <a:cubicBezTo>
                    <a:pt x="333" y="41"/>
                    <a:pt x="345" y="41"/>
                    <a:pt x="350" y="40"/>
                  </a:cubicBezTo>
                  <a:cubicBezTo>
                    <a:pt x="356" y="40"/>
                    <a:pt x="351" y="36"/>
                    <a:pt x="354" y="38"/>
                  </a:cubicBezTo>
                  <a:cubicBezTo>
                    <a:pt x="357" y="39"/>
                    <a:pt x="362" y="39"/>
                    <a:pt x="365" y="36"/>
                  </a:cubicBezTo>
                  <a:cubicBezTo>
                    <a:pt x="368" y="32"/>
                    <a:pt x="375" y="29"/>
                    <a:pt x="388" y="24"/>
                  </a:cubicBezTo>
                  <a:cubicBezTo>
                    <a:pt x="401" y="19"/>
                    <a:pt x="401" y="18"/>
                    <a:pt x="390" y="19"/>
                  </a:cubicBezTo>
                  <a:cubicBezTo>
                    <a:pt x="380" y="20"/>
                    <a:pt x="388" y="18"/>
                    <a:pt x="394" y="16"/>
                  </a:cubicBezTo>
                  <a:cubicBezTo>
                    <a:pt x="401" y="15"/>
                    <a:pt x="416" y="12"/>
                    <a:pt x="416" y="10"/>
                  </a:cubicBezTo>
                  <a:cubicBezTo>
                    <a:pt x="416" y="7"/>
                    <a:pt x="405" y="9"/>
                    <a:pt x="405" y="6"/>
                  </a:cubicBezTo>
                  <a:cubicBezTo>
                    <a:pt x="406" y="4"/>
                    <a:pt x="397" y="3"/>
                    <a:pt x="395" y="3"/>
                  </a:cubicBezTo>
                  <a:cubicBezTo>
                    <a:pt x="392" y="4"/>
                    <a:pt x="392" y="3"/>
                    <a:pt x="388" y="5"/>
                  </a:cubicBezTo>
                  <a:cubicBezTo>
                    <a:pt x="383" y="7"/>
                    <a:pt x="375" y="6"/>
                    <a:pt x="380" y="5"/>
                  </a:cubicBezTo>
                  <a:cubicBezTo>
                    <a:pt x="384" y="5"/>
                    <a:pt x="390" y="3"/>
                    <a:pt x="383" y="3"/>
                  </a:cubicBezTo>
                  <a:cubicBezTo>
                    <a:pt x="375" y="3"/>
                    <a:pt x="373" y="0"/>
                    <a:pt x="367" y="1"/>
                  </a:cubicBezTo>
                  <a:cubicBezTo>
                    <a:pt x="361" y="2"/>
                    <a:pt x="360" y="0"/>
                    <a:pt x="354" y="2"/>
                  </a:cubicBezTo>
                  <a:cubicBezTo>
                    <a:pt x="349" y="4"/>
                    <a:pt x="343" y="0"/>
                    <a:pt x="330" y="3"/>
                  </a:cubicBezTo>
                  <a:cubicBezTo>
                    <a:pt x="324" y="5"/>
                    <a:pt x="320" y="1"/>
                    <a:pt x="316" y="3"/>
                  </a:cubicBezTo>
                  <a:cubicBezTo>
                    <a:pt x="312" y="5"/>
                    <a:pt x="307" y="2"/>
                    <a:pt x="311" y="5"/>
                  </a:cubicBezTo>
                  <a:cubicBezTo>
                    <a:pt x="315" y="9"/>
                    <a:pt x="306" y="4"/>
                    <a:pt x="305" y="7"/>
                  </a:cubicBezTo>
                  <a:cubicBezTo>
                    <a:pt x="304" y="10"/>
                    <a:pt x="302" y="10"/>
                    <a:pt x="296" y="9"/>
                  </a:cubicBezTo>
                  <a:cubicBezTo>
                    <a:pt x="290" y="9"/>
                    <a:pt x="297" y="8"/>
                    <a:pt x="290" y="7"/>
                  </a:cubicBezTo>
                  <a:cubicBezTo>
                    <a:pt x="283" y="7"/>
                    <a:pt x="293" y="10"/>
                    <a:pt x="285" y="10"/>
                  </a:cubicBezTo>
                  <a:cubicBezTo>
                    <a:pt x="277" y="11"/>
                    <a:pt x="292" y="12"/>
                    <a:pt x="288" y="13"/>
                  </a:cubicBezTo>
                  <a:cubicBezTo>
                    <a:pt x="284" y="14"/>
                    <a:pt x="282" y="11"/>
                    <a:pt x="275" y="12"/>
                  </a:cubicBezTo>
                  <a:cubicBezTo>
                    <a:pt x="268" y="13"/>
                    <a:pt x="271" y="15"/>
                    <a:pt x="266" y="14"/>
                  </a:cubicBezTo>
                  <a:cubicBezTo>
                    <a:pt x="261" y="13"/>
                    <a:pt x="255" y="16"/>
                    <a:pt x="256" y="18"/>
                  </a:cubicBezTo>
                  <a:cubicBezTo>
                    <a:pt x="258" y="21"/>
                    <a:pt x="259" y="18"/>
                    <a:pt x="262" y="20"/>
                  </a:cubicBezTo>
                  <a:cubicBezTo>
                    <a:pt x="264" y="21"/>
                    <a:pt x="268" y="19"/>
                    <a:pt x="266" y="21"/>
                  </a:cubicBezTo>
                  <a:cubicBezTo>
                    <a:pt x="263" y="23"/>
                    <a:pt x="263" y="25"/>
                    <a:pt x="268" y="26"/>
                  </a:cubicBezTo>
                  <a:cubicBezTo>
                    <a:pt x="273" y="27"/>
                    <a:pt x="276" y="30"/>
                    <a:pt x="281" y="27"/>
                  </a:cubicBezTo>
                  <a:cubicBezTo>
                    <a:pt x="286" y="24"/>
                    <a:pt x="292" y="24"/>
                    <a:pt x="288" y="25"/>
                  </a:cubicBezTo>
                  <a:cubicBezTo>
                    <a:pt x="284" y="26"/>
                    <a:pt x="276" y="29"/>
                    <a:pt x="289" y="30"/>
                  </a:cubicBezTo>
                  <a:cubicBezTo>
                    <a:pt x="301" y="31"/>
                    <a:pt x="297" y="26"/>
                    <a:pt x="301" y="28"/>
                  </a:cubicBezTo>
                  <a:cubicBezTo>
                    <a:pt x="304" y="30"/>
                    <a:pt x="315" y="28"/>
                    <a:pt x="323" y="23"/>
                  </a:cubicBezTo>
                  <a:cubicBezTo>
                    <a:pt x="332" y="19"/>
                    <a:pt x="320" y="25"/>
                    <a:pt x="328" y="26"/>
                  </a:cubicBezTo>
                  <a:cubicBezTo>
                    <a:pt x="336" y="26"/>
                    <a:pt x="329" y="27"/>
                    <a:pt x="314" y="30"/>
                  </a:cubicBezTo>
                  <a:cubicBezTo>
                    <a:pt x="300" y="33"/>
                    <a:pt x="300" y="31"/>
                    <a:pt x="306" y="35"/>
                  </a:cubicBezTo>
                  <a:cubicBezTo>
                    <a:pt x="311" y="39"/>
                    <a:pt x="318" y="39"/>
                    <a:pt x="312" y="40"/>
                  </a:cubicBezTo>
                  <a:cubicBezTo>
                    <a:pt x="307" y="41"/>
                    <a:pt x="307" y="37"/>
                    <a:pt x="302" y="34"/>
                  </a:cubicBezTo>
                  <a:cubicBezTo>
                    <a:pt x="297" y="32"/>
                    <a:pt x="283" y="30"/>
                    <a:pt x="283" y="34"/>
                  </a:cubicBezTo>
                  <a:cubicBezTo>
                    <a:pt x="283" y="37"/>
                    <a:pt x="283" y="37"/>
                    <a:pt x="288" y="38"/>
                  </a:cubicBezTo>
                  <a:cubicBezTo>
                    <a:pt x="293" y="40"/>
                    <a:pt x="297" y="44"/>
                    <a:pt x="294" y="44"/>
                  </a:cubicBezTo>
                  <a:cubicBezTo>
                    <a:pt x="292" y="45"/>
                    <a:pt x="292" y="46"/>
                    <a:pt x="297" y="47"/>
                  </a:cubicBezTo>
                  <a:cubicBezTo>
                    <a:pt x="303" y="47"/>
                    <a:pt x="305" y="49"/>
                    <a:pt x="300" y="48"/>
                  </a:cubicBezTo>
                  <a:cubicBezTo>
                    <a:pt x="294" y="47"/>
                    <a:pt x="282" y="48"/>
                    <a:pt x="280" y="50"/>
                  </a:cubicBezTo>
                  <a:cubicBezTo>
                    <a:pt x="277" y="52"/>
                    <a:pt x="276" y="56"/>
                    <a:pt x="281" y="55"/>
                  </a:cubicBezTo>
                  <a:cubicBezTo>
                    <a:pt x="286" y="54"/>
                    <a:pt x="283" y="56"/>
                    <a:pt x="288" y="55"/>
                  </a:cubicBezTo>
                  <a:cubicBezTo>
                    <a:pt x="292" y="54"/>
                    <a:pt x="287" y="56"/>
                    <a:pt x="290" y="60"/>
                  </a:cubicBezTo>
                  <a:cubicBezTo>
                    <a:pt x="293" y="64"/>
                    <a:pt x="300" y="60"/>
                    <a:pt x="303" y="56"/>
                  </a:cubicBezTo>
                  <a:cubicBezTo>
                    <a:pt x="306" y="53"/>
                    <a:pt x="300" y="64"/>
                    <a:pt x="293" y="64"/>
                  </a:cubicBezTo>
                  <a:cubicBezTo>
                    <a:pt x="287" y="63"/>
                    <a:pt x="287" y="57"/>
                    <a:pt x="280" y="57"/>
                  </a:cubicBezTo>
                  <a:cubicBezTo>
                    <a:pt x="274" y="57"/>
                    <a:pt x="273" y="58"/>
                    <a:pt x="275" y="61"/>
                  </a:cubicBezTo>
                  <a:cubicBezTo>
                    <a:pt x="278" y="63"/>
                    <a:pt x="283" y="66"/>
                    <a:pt x="277" y="66"/>
                  </a:cubicBezTo>
                  <a:cubicBezTo>
                    <a:pt x="270" y="66"/>
                    <a:pt x="265" y="69"/>
                    <a:pt x="268" y="72"/>
                  </a:cubicBezTo>
                  <a:cubicBezTo>
                    <a:pt x="270" y="73"/>
                    <a:pt x="271" y="71"/>
                    <a:pt x="274" y="73"/>
                  </a:cubicBezTo>
                  <a:close/>
                  <a:moveTo>
                    <a:pt x="242" y="24"/>
                  </a:moveTo>
                  <a:cubicBezTo>
                    <a:pt x="239" y="24"/>
                    <a:pt x="238" y="24"/>
                    <a:pt x="237" y="27"/>
                  </a:cubicBezTo>
                  <a:cubicBezTo>
                    <a:pt x="236" y="29"/>
                    <a:pt x="234" y="28"/>
                    <a:pt x="232" y="31"/>
                  </a:cubicBezTo>
                  <a:cubicBezTo>
                    <a:pt x="230" y="34"/>
                    <a:pt x="242" y="33"/>
                    <a:pt x="241" y="34"/>
                  </a:cubicBezTo>
                  <a:cubicBezTo>
                    <a:pt x="240" y="37"/>
                    <a:pt x="230" y="32"/>
                    <a:pt x="230" y="35"/>
                  </a:cubicBezTo>
                  <a:cubicBezTo>
                    <a:pt x="229" y="37"/>
                    <a:pt x="232" y="38"/>
                    <a:pt x="237" y="42"/>
                  </a:cubicBezTo>
                  <a:cubicBezTo>
                    <a:pt x="241" y="45"/>
                    <a:pt x="245" y="40"/>
                    <a:pt x="244" y="42"/>
                  </a:cubicBezTo>
                  <a:cubicBezTo>
                    <a:pt x="242" y="45"/>
                    <a:pt x="254" y="40"/>
                    <a:pt x="252" y="42"/>
                  </a:cubicBezTo>
                  <a:cubicBezTo>
                    <a:pt x="251" y="45"/>
                    <a:pt x="241" y="45"/>
                    <a:pt x="244" y="47"/>
                  </a:cubicBezTo>
                  <a:cubicBezTo>
                    <a:pt x="246" y="48"/>
                    <a:pt x="248" y="51"/>
                    <a:pt x="251" y="53"/>
                  </a:cubicBezTo>
                  <a:cubicBezTo>
                    <a:pt x="255" y="54"/>
                    <a:pt x="263" y="57"/>
                    <a:pt x="263" y="54"/>
                  </a:cubicBezTo>
                  <a:cubicBezTo>
                    <a:pt x="263" y="51"/>
                    <a:pt x="268" y="56"/>
                    <a:pt x="267" y="53"/>
                  </a:cubicBezTo>
                  <a:cubicBezTo>
                    <a:pt x="265" y="49"/>
                    <a:pt x="267" y="51"/>
                    <a:pt x="270" y="54"/>
                  </a:cubicBezTo>
                  <a:cubicBezTo>
                    <a:pt x="273" y="57"/>
                    <a:pt x="271" y="50"/>
                    <a:pt x="273" y="51"/>
                  </a:cubicBezTo>
                  <a:cubicBezTo>
                    <a:pt x="276" y="51"/>
                    <a:pt x="279" y="48"/>
                    <a:pt x="283" y="46"/>
                  </a:cubicBezTo>
                  <a:cubicBezTo>
                    <a:pt x="287" y="44"/>
                    <a:pt x="294" y="43"/>
                    <a:pt x="291" y="42"/>
                  </a:cubicBezTo>
                  <a:cubicBezTo>
                    <a:pt x="287" y="40"/>
                    <a:pt x="288" y="38"/>
                    <a:pt x="281" y="39"/>
                  </a:cubicBezTo>
                  <a:cubicBezTo>
                    <a:pt x="275" y="41"/>
                    <a:pt x="285" y="38"/>
                    <a:pt x="280" y="35"/>
                  </a:cubicBezTo>
                  <a:cubicBezTo>
                    <a:pt x="276" y="33"/>
                    <a:pt x="281" y="31"/>
                    <a:pt x="275" y="30"/>
                  </a:cubicBezTo>
                  <a:cubicBezTo>
                    <a:pt x="269" y="30"/>
                    <a:pt x="274" y="35"/>
                    <a:pt x="271" y="33"/>
                  </a:cubicBezTo>
                  <a:cubicBezTo>
                    <a:pt x="267" y="32"/>
                    <a:pt x="272" y="30"/>
                    <a:pt x="266" y="29"/>
                  </a:cubicBezTo>
                  <a:cubicBezTo>
                    <a:pt x="260" y="29"/>
                    <a:pt x="255" y="20"/>
                    <a:pt x="245" y="20"/>
                  </a:cubicBezTo>
                  <a:cubicBezTo>
                    <a:pt x="238" y="21"/>
                    <a:pt x="249" y="24"/>
                    <a:pt x="242" y="24"/>
                  </a:cubicBezTo>
                  <a:close/>
                  <a:moveTo>
                    <a:pt x="226" y="54"/>
                  </a:moveTo>
                  <a:cubicBezTo>
                    <a:pt x="230" y="55"/>
                    <a:pt x="222" y="56"/>
                    <a:pt x="226" y="56"/>
                  </a:cubicBezTo>
                  <a:cubicBezTo>
                    <a:pt x="230" y="57"/>
                    <a:pt x="226" y="60"/>
                    <a:pt x="230" y="58"/>
                  </a:cubicBezTo>
                  <a:cubicBezTo>
                    <a:pt x="234" y="57"/>
                    <a:pt x="240" y="57"/>
                    <a:pt x="239" y="55"/>
                  </a:cubicBezTo>
                  <a:cubicBezTo>
                    <a:pt x="237" y="53"/>
                    <a:pt x="243" y="53"/>
                    <a:pt x="239" y="52"/>
                  </a:cubicBezTo>
                  <a:cubicBezTo>
                    <a:pt x="234" y="50"/>
                    <a:pt x="235" y="52"/>
                    <a:pt x="231" y="49"/>
                  </a:cubicBezTo>
                  <a:cubicBezTo>
                    <a:pt x="227" y="47"/>
                    <a:pt x="220" y="47"/>
                    <a:pt x="222" y="49"/>
                  </a:cubicBezTo>
                  <a:cubicBezTo>
                    <a:pt x="223" y="52"/>
                    <a:pt x="218" y="51"/>
                    <a:pt x="222" y="53"/>
                  </a:cubicBezTo>
                  <a:cubicBezTo>
                    <a:pt x="224" y="53"/>
                    <a:pt x="222" y="53"/>
                    <a:pt x="226" y="54"/>
                  </a:cubicBezTo>
                  <a:close/>
                  <a:moveTo>
                    <a:pt x="216" y="37"/>
                  </a:moveTo>
                  <a:cubicBezTo>
                    <a:pt x="218" y="39"/>
                    <a:pt x="220" y="39"/>
                    <a:pt x="220" y="36"/>
                  </a:cubicBezTo>
                  <a:cubicBezTo>
                    <a:pt x="219" y="33"/>
                    <a:pt x="212" y="32"/>
                    <a:pt x="212" y="35"/>
                  </a:cubicBezTo>
                  <a:cubicBezTo>
                    <a:pt x="213" y="37"/>
                    <a:pt x="214" y="36"/>
                    <a:pt x="216" y="37"/>
                  </a:cubicBezTo>
                  <a:close/>
                  <a:moveTo>
                    <a:pt x="156" y="91"/>
                  </a:moveTo>
                  <a:cubicBezTo>
                    <a:pt x="161" y="89"/>
                    <a:pt x="164" y="86"/>
                    <a:pt x="168" y="87"/>
                  </a:cubicBezTo>
                  <a:cubicBezTo>
                    <a:pt x="172" y="89"/>
                    <a:pt x="170" y="86"/>
                    <a:pt x="174" y="87"/>
                  </a:cubicBezTo>
                  <a:cubicBezTo>
                    <a:pt x="178" y="88"/>
                    <a:pt x="181" y="87"/>
                    <a:pt x="185" y="82"/>
                  </a:cubicBezTo>
                  <a:cubicBezTo>
                    <a:pt x="189" y="77"/>
                    <a:pt x="180" y="76"/>
                    <a:pt x="177" y="77"/>
                  </a:cubicBezTo>
                  <a:cubicBezTo>
                    <a:pt x="175" y="78"/>
                    <a:pt x="172" y="80"/>
                    <a:pt x="173" y="78"/>
                  </a:cubicBezTo>
                  <a:cubicBezTo>
                    <a:pt x="174" y="75"/>
                    <a:pt x="169" y="77"/>
                    <a:pt x="171" y="75"/>
                  </a:cubicBezTo>
                  <a:cubicBezTo>
                    <a:pt x="173" y="73"/>
                    <a:pt x="169" y="75"/>
                    <a:pt x="169" y="70"/>
                  </a:cubicBezTo>
                  <a:cubicBezTo>
                    <a:pt x="169" y="66"/>
                    <a:pt x="165" y="69"/>
                    <a:pt x="160" y="72"/>
                  </a:cubicBezTo>
                  <a:cubicBezTo>
                    <a:pt x="155" y="75"/>
                    <a:pt x="167" y="75"/>
                    <a:pt x="163" y="77"/>
                  </a:cubicBezTo>
                  <a:cubicBezTo>
                    <a:pt x="159" y="80"/>
                    <a:pt x="168" y="79"/>
                    <a:pt x="167" y="81"/>
                  </a:cubicBezTo>
                  <a:cubicBezTo>
                    <a:pt x="166" y="84"/>
                    <a:pt x="163" y="80"/>
                    <a:pt x="158" y="81"/>
                  </a:cubicBezTo>
                  <a:cubicBezTo>
                    <a:pt x="152" y="82"/>
                    <a:pt x="157" y="81"/>
                    <a:pt x="150" y="76"/>
                  </a:cubicBezTo>
                  <a:cubicBezTo>
                    <a:pt x="142" y="71"/>
                    <a:pt x="142" y="78"/>
                    <a:pt x="140" y="74"/>
                  </a:cubicBezTo>
                  <a:cubicBezTo>
                    <a:pt x="138" y="70"/>
                    <a:pt x="135" y="72"/>
                    <a:pt x="129" y="75"/>
                  </a:cubicBezTo>
                  <a:cubicBezTo>
                    <a:pt x="123" y="77"/>
                    <a:pt x="130" y="75"/>
                    <a:pt x="125" y="79"/>
                  </a:cubicBezTo>
                  <a:cubicBezTo>
                    <a:pt x="121" y="82"/>
                    <a:pt x="127" y="80"/>
                    <a:pt x="123" y="82"/>
                  </a:cubicBezTo>
                  <a:cubicBezTo>
                    <a:pt x="119" y="85"/>
                    <a:pt x="123" y="85"/>
                    <a:pt x="128" y="87"/>
                  </a:cubicBezTo>
                  <a:cubicBezTo>
                    <a:pt x="133" y="88"/>
                    <a:pt x="133" y="85"/>
                    <a:pt x="134" y="86"/>
                  </a:cubicBezTo>
                  <a:cubicBezTo>
                    <a:pt x="135" y="88"/>
                    <a:pt x="137" y="89"/>
                    <a:pt x="139" y="86"/>
                  </a:cubicBezTo>
                  <a:cubicBezTo>
                    <a:pt x="141" y="83"/>
                    <a:pt x="142" y="83"/>
                    <a:pt x="141" y="85"/>
                  </a:cubicBezTo>
                  <a:cubicBezTo>
                    <a:pt x="140" y="87"/>
                    <a:pt x="143" y="87"/>
                    <a:pt x="151" y="85"/>
                  </a:cubicBezTo>
                  <a:cubicBezTo>
                    <a:pt x="159" y="84"/>
                    <a:pt x="155" y="87"/>
                    <a:pt x="149" y="87"/>
                  </a:cubicBezTo>
                  <a:cubicBezTo>
                    <a:pt x="143" y="88"/>
                    <a:pt x="134" y="90"/>
                    <a:pt x="141" y="92"/>
                  </a:cubicBezTo>
                  <a:cubicBezTo>
                    <a:pt x="145" y="94"/>
                    <a:pt x="150" y="92"/>
                    <a:pt x="156" y="91"/>
                  </a:cubicBezTo>
                  <a:close/>
                  <a:moveTo>
                    <a:pt x="189" y="62"/>
                  </a:moveTo>
                  <a:cubicBezTo>
                    <a:pt x="186" y="59"/>
                    <a:pt x="181" y="58"/>
                    <a:pt x="182" y="60"/>
                  </a:cubicBezTo>
                  <a:cubicBezTo>
                    <a:pt x="183" y="62"/>
                    <a:pt x="184" y="66"/>
                    <a:pt x="189" y="66"/>
                  </a:cubicBezTo>
                  <a:cubicBezTo>
                    <a:pt x="191" y="65"/>
                    <a:pt x="192" y="65"/>
                    <a:pt x="189" y="62"/>
                  </a:cubicBezTo>
                  <a:close/>
                  <a:moveTo>
                    <a:pt x="126" y="71"/>
                  </a:moveTo>
                  <a:cubicBezTo>
                    <a:pt x="130" y="71"/>
                    <a:pt x="134" y="69"/>
                    <a:pt x="129" y="67"/>
                  </a:cubicBezTo>
                  <a:cubicBezTo>
                    <a:pt x="125" y="64"/>
                    <a:pt x="136" y="64"/>
                    <a:pt x="130" y="62"/>
                  </a:cubicBezTo>
                  <a:cubicBezTo>
                    <a:pt x="126" y="60"/>
                    <a:pt x="125" y="61"/>
                    <a:pt x="124" y="63"/>
                  </a:cubicBezTo>
                  <a:cubicBezTo>
                    <a:pt x="123" y="65"/>
                    <a:pt x="118" y="59"/>
                    <a:pt x="110" y="66"/>
                  </a:cubicBezTo>
                  <a:cubicBezTo>
                    <a:pt x="103" y="71"/>
                    <a:pt x="106" y="68"/>
                    <a:pt x="102" y="71"/>
                  </a:cubicBezTo>
                  <a:cubicBezTo>
                    <a:pt x="98" y="75"/>
                    <a:pt x="98" y="70"/>
                    <a:pt x="95" y="74"/>
                  </a:cubicBezTo>
                  <a:cubicBezTo>
                    <a:pt x="91" y="77"/>
                    <a:pt x="96" y="75"/>
                    <a:pt x="95" y="77"/>
                  </a:cubicBezTo>
                  <a:cubicBezTo>
                    <a:pt x="94" y="78"/>
                    <a:pt x="96" y="78"/>
                    <a:pt x="98" y="77"/>
                  </a:cubicBezTo>
                  <a:cubicBezTo>
                    <a:pt x="100" y="75"/>
                    <a:pt x="100" y="78"/>
                    <a:pt x="103" y="77"/>
                  </a:cubicBezTo>
                  <a:cubicBezTo>
                    <a:pt x="105" y="77"/>
                    <a:pt x="104" y="74"/>
                    <a:pt x="106" y="77"/>
                  </a:cubicBezTo>
                  <a:cubicBezTo>
                    <a:pt x="107" y="80"/>
                    <a:pt x="111" y="80"/>
                    <a:pt x="111" y="76"/>
                  </a:cubicBezTo>
                  <a:cubicBezTo>
                    <a:pt x="111" y="72"/>
                    <a:pt x="112" y="80"/>
                    <a:pt x="116" y="73"/>
                  </a:cubicBezTo>
                  <a:cubicBezTo>
                    <a:pt x="118" y="69"/>
                    <a:pt x="115" y="71"/>
                    <a:pt x="119" y="69"/>
                  </a:cubicBezTo>
                  <a:cubicBezTo>
                    <a:pt x="123" y="67"/>
                    <a:pt x="117" y="73"/>
                    <a:pt x="122" y="74"/>
                  </a:cubicBezTo>
                  <a:cubicBezTo>
                    <a:pt x="128" y="75"/>
                    <a:pt x="123" y="71"/>
                    <a:pt x="126" y="71"/>
                  </a:cubicBezTo>
                  <a:close/>
                  <a:moveTo>
                    <a:pt x="152" y="53"/>
                  </a:moveTo>
                  <a:cubicBezTo>
                    <a:pt x="155" y="54"/>
                    <a:pt x="152" y="53"/>
                    <a:pt x="158" y="53"/>
                  </a:cubicBezTo>
                  <a:cubicBezTo>
                    <a:pt x="164" y="54"/>
                    <a:pt x="168" y="52"/>
                    <a:pt x="162" y="50"/>
                  </a:cubicBezTo>
                  <a:cubicBezTo>
                    <a:pt x="155" y="47"/>
                    <a:pt x="155" y="50"/>
                    <a:pt x="149" y="51"/>
                  </a:cubicBezTo>
                  <a:cubicBezTo>
                    <a:pt x="143" y="52"/>
                    <a:pt x="143" y="54"/>
                    <a:pt x="147" y="53"/>
                  </a:cubicBezTo>
                  <a:cubicBezTo>
                    <a:pt x="148" y="53"/>
                    <a:pt x="148" y="53"/>
                    <a:pt x="152" y="53"/>
                  </a:cubicBezTo>
                  <a:close/>
                  <a:moveTo>
                    <a:pt x="157" y="62"/>
                  </a:moveTo>
                  <a:cubicBezTo>
                    <a:pt x="162" y="61"/>
                    <a:pt x="163" y="59"/>
                    <a:pt x="158" y="58"/>
                  </a:cubicBezTo>
                  <a:cubicBezTo>
                    <a:pt x="154" y="58"/>
                    <a:pt x="162" y="58"/>
                    <a:pt x="163" y="56"/>
                  </a:cubicBezTo>
                  <a:cubicBezTo>
                    <a:pt x="164" y="54"/>
                    <a:pt x="157" y="55"/>
                    <a:pt x="150" y="56"/>
                  </a:cubicBezTo>
                  <a:cubicBezTo>
                    <a:pt x="143" y="57"/>
                    <a:pt x="143" y="58"/>
                    <a:pt x="144" y="61"/>
                  </a:cubicBezTo>
                  <a:cubicBezTo>
                    <a:pt x="146" y="64"/>
                    <a:pt x="152" y="63"/>
                    <a:pt x="157" y="62"/>
                  </a:cubicBezTo>
                  <a:close/>
                  <a:moveTo>
                    <a:pt x="220" y="87"/>
                  </a:moveTo>
                  <a:cubicBezTo>
                    <a:pt x="223" y="87"/>
                    <a:pt x="226" y="87"/>
                    <a:pt x="225" y="84"/>
                  </a:cubicBezTo>
                  <a:cubicBezTo>
                    <a:pt x="224" y="82"/>
                    <a:pt x="224" y="80"/>
                    <a:pt x="226" y="82"/>
                  </a:cubicBezTo>
                  <a:cubicBezTo>
                    <a:pt x="228" y="84"/>
                    <a:pt x="228" y="82"/>
                    <a:pt x="226" y="80"/>
                  </a:cubicBezTo>
                  <a:cubicBezTo>
                    <a:pt x="224" y="77"/>
                    <a:pt x="227" y="73"/>
                    <a:pt x="222" y="70"/>
                  </a:cubicBezTo>
                  <a:cubicBezTo>
                    <a:pt x="217" y="68"/>
                    <a:pt x="219" y="73"/>
                    <a:pt x="217" y="71"/>
                  </a:cubicBezTo>
                  <a:cubicBezTo>
                    <a:pt x="214" y="70"/>
                    <a:pt x="212" y="70"/>
                    <a:pt x="209" y="71"/>
                  </a:cubicBezTo>
                  <a:cubicBezTo>
                    <a:pt x="206" y="72"/>
                    <a:pt x="210" y="73"/>
                    <a:pt x="214" y="78"/>
                  </a:cubicBezTo>
                  <a:cubicBezTo>
                    <a:pt x="205" y="74"/>
                    <a:pt x="210" y="73"/>
                    <a:pt x="205" y="72"/>
                  </a:cubicBezTo>
                  <a:cubicBezTo>
                    <a:pt x="200" y="72"/>
                    <a:pt x="201" y="73"/>
                    <a:pt x="204" y="77"/>
                  </a:cubicBezTo>
                  <a:cubicBezTo>
                    <a:pt x="207" y="80"/>
                    <a:pt x="204" y="77"/>
                    <a:pt x="202" y="78"/>
                  </a:cubicBezTo>
                  <a:cubicBezTo>
                    <a:pt x="201" y="80"/>
                    <a:pt x="197" y="79"/>
                    <a:pt x="199" y="81"/>
                  </a:cubicBezTo>
                  <a:cubicBezTo>
                    <a:pt x="200" y="83"/>
                    <a:pt x="212" y="80"/>
                    <a:pt x="216" y="80"/>
                  </a:cubicBezTo>
                  <a:cubicBezTo>
                    <a:pt x="219" y="80"/>
                    <a:pt x="208" y="81"/>
                    <a:pt x="210" y="84"/>
                  </a:cubicBezTo>
                  <a:cubicBezTo>
                    <a:pt x="212" y="86"/>
                    <a:pt x="210" y="89"/>
                    <a:pt x="214" y="87"/>
                  </a:cubicBezTo>
                  <a:cubicBezTo>
                    <a:pt x="216" y="86"/>
                    <a:pt x="216" y="87"/>
                    <a:pt x="220" y="87"/>
                  </a:cubicBezTo>
                  <a:close/>
                  <a:moveTo>
                    <a:pt x="409" y="333"/>
                  </a:moveTo>
                  <a:cubicBezTo>
                    <a:pt x="409" y="331"/>
                    <a:pt x="411" y="331"/>
                    <a:pt x="410" y="331"/>
                  </a:cubicBezTo>
                  <a:cubicBezTo>
                    <a:pt x="410" y="330"/>
                    <a:pt x="406" y="331"/>
                    <a:pt x="402" y="330"/>
                  </a:cubicBezTo>
                  <a:cubicBezTo>
                    <a:pt x="399" y="329"/>
                    <a:pt x="401" y="325"/>
                    <a:pt x="399" y="328"/>
                  </a:cubicBezTo>
                  <a:cubicBezTo>
                    <a:pt x="397" y="331"/>
                    <a:pt x="400" y="329"/>
                    <a:pt x="399" y="331"/>
                  </a:cubicBezTo>
                  <a:cubicBezTo>
                    <a:pt x="399" y="332"/>
                    <a:pt x="401" y="331"/>
                    <a:pt x="402" y="332"/>
                  </a:cubicBezTo>
                  <a:cubicBezTo>
                    <a:pt x="403" y="333"/>
                    <a:pt x="403" y="332"/>
                    <a:pt x="408" y="334"/>
                  </a:cubicBezTo>
                  <a:cubicBezTo>
                    <a:pt x="409" y="335"/>
                    <a:pt x="409" y="335"/>
                    <a:pt x="409" y="333"/>
                  </a:cubicBezTo>
                  <a:close/>
                  <a:moveTo>
                    <a:pt x="417" y="335"/>
                  </a:moveTo>
                  <a:cubicBezTo>
                    <a:pt x="417" y="333"/>
                    <a:pt x="418" y="333"/>
                    <a:pt x="418" y="336"/>
                  </a:cubicBezTo>
                  <a:cubicBezTo>
                    <a:pt x="417" y="339"/>
                    <a:pt x="418" y="338"/>
                    <a:pt x="420" y="336"/>
                  </a:cubicBezTo>
                  <a:cubicBezTo>
                    <a:pt x="422" y="335"/>
                    <a:pt x="424" y="333"/>
                    <a:pt x="422" y="333"/>
                  </a:cubicBezTo>
                  <a:cubicBezTo>
                    <a:pt x="420" y="332"/>
                    <a:pt x="419" y="332"/>
                    <a:pt x="420" y="329"/>
                  </a:cubicBezTo>
                  <a:cubicBezTo>
                    <a:pt x="420" y="326"/>
                    <a:pt x="419" y="326"/>
                    <a:pt x="417" y="329"/>
                  </a:cubicBezTo>
                  <a:cubicBezTo>
                    <a:pt x="415" y="332"/>
                    <a:pt x="413" y="334"/>
                    <a:pt x="414" y="337"/>
                  </a:cubicBezTo>
                  <a:cubicBezTo>
                    <a:pt x="415" y="339"/>
                    <a:pt x="416" y="338"/>
                    <a:pt x="417" y="335"/>
                  </a:cubicBezTo>
                  <a:close/>
                  <a:moveTo>
                    <a:pt x="401" y="305"/>
                  </a:moveTo>
                  <a:cubicBezTo>
                    <a:pt x="394" y="304"/>
                    <a:pt x="400" y="306"/>
                    <a:pt x="402" y="308"/>
                  </a:cubicBezTo>
                  <a:cubicBezTo>
                    <a:pt x="404" y="310"/>
                    <a:pt x="411" y="313"/>
                    <a:pt x="413" y="311"/>
                  </a:cubicBezTo>
                  <a:cubicBezTo>
                    <a:pt x="413" y="309"/>
                    <a:pt x="407" y="306"/>
                    <a:pt x="401" y="305"/>
                  </a:cubicBezTo>
                  <a:close/>
                  <a:moveTo>
                    <a:pt x="430" y="322"/>
                  </a:moveTo>
                  <a:cubicBezTo>
                    <a:pt x="433" y="320"/>
                    <a:pt x="433" y="323"/>
                    <a:pt x="439" y="322"/>
                  </a:cubicBezTo>
                  <a:cubicBezTo>
                    <a:pt x="446" y="321"/>
                    <a:pt x="439" y="324"/>
                    <a:pt x="445" y="323"/>
                  </a:cubicBezTo>
                  <a:cubicBezTo>
                    <a:pt x="451" y="322"/>
                    <a:pt x="442" y="326"/>
                    <a:pt x="442" y="327"/>
                  </a:cubicBezTo>
                  <a:cubicBezTo>
                    <a:pt x="442" y="329"/>
                    <a:pt x="445" y="329"/>
                    <a:pt x="447" y="326"/>
                  </a:cubicBezTo>
                  <a:cubicBezTo>
                    <a:pt x="449" y="322"/>
                    <a:pt x="450" y="325"/>
                    <a:pt x="451" y="322"/>
                  </a:cubicBezTo>
                  <a:cubicBezTo>
                    <a:pt x="453" y="319"/>
                    <a:pt x="454" y="321"/>
                    <a:pt x="453" y="324"/>
                  </a:cubicBezTo>
                  <a:cubicBezTo>
                    <a:pt x="452" y="327"/>
                    <a:pt x="451" y="329"/>
                    <a:pt x="453" y="327"/>
                  </a:cubicBezTo>
                  <a:cubicBezTo>
                    <a:pt x="456" y="325"/>
                    <a:pt x="454" y="329"/>
                    <a:pt x="457" y="329"/>
                  </a:cubicBezTo>
                  <a:cubicBezTo>
                    <a:pt x="461" y="329"/>
                    <a:pt x="458" y="328"/>
                    <a:pt x="460" y="323"/>
                  </a:cubicBezTo>
                  <a:cubicBezTo>
                    <a:pt x="461" y="318"/>
                    <a:pt x="456" y="323"/>
                    <a:pt x="459" y="319"/>
                  </a:cubicBezTo>
                  <a:cubicBezTo>
                    <a:pt x="461" y="316"/>
                    <a:pt x="457" y="318"/>
                    <a:pt x="455" y="321"/>
                  </a:cubicBezTo>
                  <a:cubicBezTo>
                    <a:pt x="454" y="324"/>
                    <a:pt x="454" y="319"/>
                    <a:pt x="456" y="317"/>
                  </a:cubicBezTo>
                  <a:cubicBezTo>
                    <a:pt x="459" y="316"/>
                    <a:pt x="459" y="314"/>
                    <a:pt x="457" y="315"/>
                  </a:cubicBezTo>
                  <a:cubicBezTo>
                    <a:pt x="455" y="316"/>
                    <a:pt x="452" y="314"/>
                    <a:pt x="455" y="312"/>
                  </a:cubicBezTo>
                  <a:cubicBezTo>
                    <a:pt x="457" y="309"/>
                    <a:pt x="454" y="307"/>
                    <a:pt x="449" y="309"/>
                  </a:cubicBezTo>
                  <a:cubicBezTo>
                    <a:pt x="444" y="310"/>
                    <a:pt x="448" y="307"/>
                    <a:pt x="445" y="308"/>
                  </a:cubicBezTo>
                  <a:cubicBezTo>
                    <a:pt x="442" y="309"/>
                    <a:pt x="442" y="305"/>
                    <a:pt x="444" y="305"/>
                  </a:cubicBezTo>
                  <a:cubicBezTo>
                    <a:pt x="446" y="305"/>
                    <a:pt x="443" y="301"/>
                    <a:pt x="440" y="305"/>
                  </a:cubicBezTo>
                  <a:cubicBezTo>
                    <a:pt x="437" y="308"/>
                    <a:pt x="439" y="303"/>
                    <a:pt x="441" y="299"/>
                  </a:cubicBezTo>
                  <a:cubicBezTo>
                    <a:pt x="441" y="299"/>
                    <a:pt x="444" y="295"/>
                    <a:pt x="445" y="293"/>
                  </a:cubicBezTo>
                  <a:cubicBezTo>
                    <a:pt x="446" y="292"/>
                    <a:pt x="445" y="290"/>
                    <a:pt x="441" y="292"/>
                  </a:cubicBezTo>
                  <a:cubicBezTo>
                    <a:pt x="437" y="294"/>
                    <a:pt x="439" y="296"/>
                    <a:pt x="437" y="297"/>
                  </a:cubicBezTo>
                  <a:cubicBezTo>
                    <a:pt x="435" y="298"/>
                    <a:pt x="433" y="305"/>
                    <a:pt x="430" y="311"/>
                  </a:cubicBezTo>
                  <a:cubicBezTo>
                    <a:pt x="427" y="316"/>
                    <a:pt x="429" y="312"/>
                    <a:pt x="427" y="314"/>
                  </a:cubicBezTo>
                  <a:cubicBezTo>
                    <a:pt x="425" y="316"/>
                    <a:pt x="425" y="316"/>
                    <a:pt x="428" y="316"/>
                  </a:cubicBezTo>
                  <a:cubicBezTo>
                    <a:pt x="431" y="317"/>
                    <a:pt x="423" y="319"/>
                    <a:pt x="425" y="321"/>
                  </a:cubicBezTo>
                  <a:cubicBezTo>
                    <a:pt x="426" y="322"/>
                    <a:pt x="426" y="323"/>
                    <a:pt x="430" y="322"/>
                  </a:cubicBezTo>
                  <a:close/>
                  <a:moveTo>
                    <a:pt x="238" y="312"/>
                  </a:moveTo>
                  <a:cubicBezTo>
                    <a:pt x="239" y="312"/>
                    <a:pt x="238" y="308"/>
                    <a:pt x="239" y="309"/>
                  </a:cubicBezTo>
                  <a:cubicBezTo>
                    <a:pt x="240" y="309"/>
                    <a:pt x="240" y="310"/>
                    <a:pt x="241" y="312"/>
                  </a:cubicBezTo>
                  <a:cubicBezTo>
                    <a:pt x="241" y="315"/>
                    <a:pt x="244" y="313"/>
                    <a:pt x="245" y="315"/>
                  </a:cubicBezTo>
                  <a:cubicBezTo>
                    <a:pt x="246" y="316"/>
                    <a:pt x="246" y="313"/>
                    <a:pt x="250" y="315"/>
                  </a:cubicBezTo>
                  <a:cubicBezTo>
                    <a:pt x="254" y="316"/>
                    <a:pt x="252" y="318"/>
                    <a:pt x="253" y="317"/>
                  </a:cubicBezTo>
                  <a:cubicBezTo>
                    <a:pt x="255" y="316"/>
                    <a:pt x="256" y="320"/>
                    <a:pt x="258" y="318"/>
                  </a:cubicBezTo>
                  <a:cubicBezTo>
                    <a:pt x="262" y="317"/>
                    <a:pt x="260" y="319"/>
                    <a:pt x="263" y="318"/>
                  </a:cubicBezTo>
                  <a:cubicBezTo>
                    <a:pt x="266" y="318"/>
                    <a:pt x="264" y="319"/>
                    <a:pt x="267" y="319"/>
                  </a:cubicBezTo>
                  <a:cubicBezTo>
                    <a:pt x="268" y="319"/>
                    <a:pt x="268" y="319"/>
                    <a:pt x="268" y="319"/>
                  </a:cubicBezTo>
                  <a:cubicBezTo>
                    <a:pt x="269" y="318"/>
                    <a:pt x="269" y="317"/>
                    <a:pt x="269" y="316"/>
                  </a:cubicBezTo>
                  <a:cubicBezTo>
                    <a:pt x="270" y="315"/>
                    <a:pt x="272" y="314"/>
                    <a:pt x="271" y="316"/>
                  </a:cubicBezTo>
                  <a:cubicBezTo>
                    <a:pt x="270" y="317"/>
                    <a:pt x="272" y="316"/>
                    <a:pt x="273" y="314"/>
                  </a:cubicBezTo>
                  <a:cubicBezTo>
                    <a:pt x="273" y="311"/>
                    <a:pt x="274" y="313"/>
                    <a:pt x="273" y="314"/>
                  </a:cubicBezTo>
                  <a:cubicBezTo>
                    <a:pt x="272" y="316"/>
                    <a:pt x="273" y="316"/>
                    <a:pt x="274" y="315"/>
                  </a:cubicBezTo>
                  <a:cubicBezTo>
                    <a:pt x="276" y="314"/>
                    <a:pt x="274" y="312"/>
                    <a:pt x="275" y="312"/>
                  </a:cubicBezTo>
                  <a:cubicBezTo>
                    <a:pt x="276" y="311"/>
                    <a:pt x="278" y="313"/>
                    <a:pt x="280" y="313"/>
                  </a:cubicBezTo>
                  <a:cubicBezTo>
                    <a:pt x="282" y="313"/>
                    <a:pt x="281" y="314"/>
                    <a:pt x="283" y="313"/>
                  </a:cubicBezTo>
                  <a:cubicBezTo>
                    <a:pt x="285" y="313"/>
                    <a:pt x="284" y="318"/>
                    <a:pt x="287" y="319"/>
                  </a:cubicBezTo>
                  <a:cubicBezTo>
                    <a:pt x="289" y="320"/>
                    <a:pt x="293" y="318"/>
                    <a:pt x="291" y="321"/>
                  </a:cubicBezTo>
                  <a:cubicBezTo>
                    <a:pt x="291" y="322"/>
                    <a:pt x="292" y="323"/>
                    <a:pt x="293" y="324"/>
                  </a:cubicBezTo>
                  <a:cubicBezTo>
                    <a:pt x="294" y="325"/>
                    <a:pt x="292" y="326"/>
                    <a:pt x="293" y="327"/>
                  </a:cubicBezTo>
                  <a:cubicBezTo>
                    <a:pt x="294" y="328"/>
                    <a:pt x="293" y="327"/>
                    <a:pt x="294" y="327"/>
                  </a:cubicBezTo>
                  <a:cubicBezTo>
                    <a:pt x="295" y="328"/>
                    <a:pt x="293" y="327"/>
                    <a:pt x="293" y="329"/>
                  </a:cubicBezTo>
                  <a:cubicBezTo>
                    <a:pt x="293" y="331"/>
                    <a:pt x="296" y="329"/>
                    <a:pt x="296" y="331"/>
                  </a:cubicBezTo>
                  <a:cubicBezTo>
                    <a:pt x="296" y="332"/>
                    <a:pt x="297" y="331"/>
                    <a:pt x="299" y="332"/>
                  </a:cubicBezTo>
                  <a:cubicBezTo>
                    <a:pt x="301" y="333"/>
                    <a:pt x="304" y="333"/>
                    <a:pt x="306" y="333"/>
                  </a:cubicBezTo>
                  <a:cubicBezTo>
                    <a:pt x="308" y="333"/>
                    <a:pt x="309" y="333"/>
                    <a:pt x="309" y="334"/>
                  </a:cubicBezTo>
                  <a:cubicBezTo>
                    <a:pt x="309" y="335"/>
                    <a:pt x="310" y="334"/>
                    <a:pt x="312" y="334"/>
                  </a:cubicBezTo>
                  <a:cubicBezTo>
                    <a:pt x="314" y="334"/>
                    <a:pt x="315" y="339"/>
                    <a:pt x="316" y="339"/>
                  </a:cubicBezTo>
                  <a:cubicBezTo>
                    <a:pt x="317" y="338"/>
                    <a:pt x="317" y="338"/>
                    <a:pt x="317" y="340"/>
                  </a:cubicBezTo>
                  <a:cubicBezTo>
                    <a:pt x="317" y="341"/>
                    <a:pt x="319" y="342"/>
                    <a:pt x="319" y="343"/>
                  </a:cubicBezTo>
                  <a:cubicBezTo>
                    <a:pt x="319" y="344"/>
                    <a:pt x="317" y="342"/>
                    <a:pt x="317" y="343"/>
                  </a:cubicBezTo>
                  <a:cubicBezTo>
                    <a:pt x="316" y="343"/>
                    <a:pt x="318" y="345"/>
                    <a:pt x="317" y="345"/>
                  </a:cubicBezTo>
                  <a:cubicBezTo>
                    <a:pt x="316" y="346"/>
                    <a:pt x="314" y="343"/>
                    <a:pt x="313" y="344"/>
                  </a:cubicBezTo>
                  <a:cubicBezTo>
                    <a:pt x="312" y="345"/>
                    <a:pt x="313" y="343"/>
                    <a:pt x="312" y="343"/>
                  </a:cubicBezTo>
                  <a:cubicBezTo>
                    <a:pt x="311" y="343"/>
                    <a:pt x="313" y="342"/>
                    <a:pt x="311" y="342"/>
                  </a:cubicBezTo>
                  <a:cubicBezTo>
                    <a:pt x="310" y="342"/>
                    <a:pt x="311" y="340"/>
                    <a:pt x="310" y="340"/>
                  </a:cubicBezTo>
                  <a:cubicBezTo>
                    <a:pt x="309" y="340"/>
                    <a:pt x="309" y="339"/>
                    <a:pt x="308" y="339"/>
                  </a:cubicBezTo>
                  <a:cubicBezTo>
                    <a:pt x="308" y="340"/>
                    <a:pt x="310" y="341"/>
                    <a:pt x="311" y="343"/>
                  </a:cubicBezTo>
                  <a:cubicBezTo>
                    <a:pt x="311" y="346"/>
                    <a:pt x="308" y="346"/>
                    <a:pt x="308" y="350"/>
                  </a:cubicBezTo>
                  <a:cubicBezTo>
                    <a:pt x="309" y="354"/>
                    <a:pt x="308" y="354"/>
                    <a:pt x="305" y="356"/>
                  </a:cubicBezTo>
                  <a:cubicBezTo>
                    <a:pt x="305" y="357"/>
                    <a:pt x="304" y="357"/>
                    <a:pt x="304" y="358"/>
                  </a:cubicBezTo>
                  <a:cubicBezTo>
                    <a:pt x="304" y="358"/>
                    <a:pt x="304" y="359"/>
                    <a:pt x="304" y="359"/>
                  </a:cubicBezTo>
                  <a:cubicBezTo>
                    <a:pt x="306" y="360"/>
                    <a:pt x="304" y="361"/>
                    <a:pt x="302" y="361"/>
                  </a:cubicBezTo>
                  <a:cubicBezTo>
                    <a:pt x="300" y="361"/>
                    <a:pt x="301" y="363"/>
                    <a:pt x="302" y="363"/>
                  </a:cubicBezTo>
                  <a:cubicBezTo>
                    <a:pt x="304" y="363"/>
                    <a:pt x="304" y="364"/>
                    <a:pt x="304" y="363"/>
                  </a:cubicBezTo>
                  <a:cubicBezTo>
                    <a:pt x="305" y="362"/>
                    <a:pt x="306" y="362"/>
                    <a:pt x="307" y="362"/>
                  </a:cubicBezTo>
                  <a:cubicBezTo>
                    <a:pt x="308" y="361"/>
                    <a:pt x="309" y="358"/>
                    <a:pt x="313" y="359"/>
                  </a:cubicBezTo>
                  <a:cubicBezTo>
                    <a:pt x="318" y="360"/>
                    <a:pt x="315" y="359"/>
                    <a:pt x="315" y="358"/>
                  </a:cubicBezTo>
                  <a:cubicBezTo>
                    <a:pt x="316" y="358"/>
                    <a:pt x="317" y="357"/>
                    <a:pt x="319" y="357"/>
                  </a:cubicBezTo>
                  <a:cubicBezTo>
                    <a:pt x="321" y="357"/>
                    <a:pt x="322" y="357"/>
                    <a:pt x="322" y="357"/>
                  </a:cubicBezTo>
                  <a:cubicBezTo>
                    <a:pt x="322" y="356"/>
                    <a:pt x="323" y="356"/>
                    <a:pt x="323" y="356"/>
                  </a:cubicBezTo>
                  <a:cubicBezTo>
                    <a:pt x="321" y="355"/>
                    <a:pt x="321" y="355"/>
                    <a:pt x="321" y="355"/>
                  </a:cubicBezTo>
                  <a:cubicBezTo>
                    <a:pt x="320" y="355"/>
                    <a:pt x="318" y="355"/>
                    <a:pt x="319" y="353"/>
                  </a:cubicBezTo>
                  <a:cubicBezTo>
                    <a:pt x="320" y="351"/>
                    <a:pt x="321" y="352"/>
                    <a:pt x="321" y="351"/>
                  </a:cubicBezTo>
                  <a:cubicBezTo>
                    <a:pt x="322" y="350"/>
                    <a:pt x="324" y="350"/>
                    <a:pt x="327" y="349"/>
                  </a:cubicBezTo>
                  <a:cubicBezTo>
                    <a:pt x="330" y="348"/>
                    <a:pt x="329" y="348"/>
                    <a:pt x="331" y="349"/>
                  </a:cubicBezTo>
                  <a:cubicBezTo>
                    <a:pt x="334" y="351"/>
                    <a:pt x="333" y="349"/>
                    <a:pt x="334" y="348"/>
                  </a:cubicBezTo>
                  <a:cubicBezTo>
                    <a:pt x="336" y="347"/>
                    <a:pt x="337" y="346"/>
                    <a:pt x="339" y="345"/>
                  </a:cubicBezTo>
                  <a:cubicBezTo>
                    <a:pt x="341" y="343"/>
                    <a:pt x="344" y="341"/>
                    <a:pt x="345" y="341"/>
                  </a:cubicBezTo>
                  <a:cubicBezTo>
                    <a:pt x="345" y="342"/>
                    <a:pt x="346" y="341"/>
                    <a:pt x="347" y="341"/>
                  </a:cubicBezTo>
                  <a:cubicBezTo>
                    <a:pt x="347" y="341"/>
                    <a:pt x="362" y="341"/>
                    <a:pt x="362" y="341"/>
                  </a:cubicBezTo>
                  <a:cubicBezTo>
                    <a:pt x="362" y="339"/>
                    <a:pt x="362" y="339"/>
                    <a:pt x="363" y="339"/>
                  </a:cubicBezTo>
                  <a:cubicBezTo>
                    <a:pt x="364" y="340"/>
                    <a:pt x="364" y="339"/>
                    <a:pt x="364" y="339"/>
                  </a:cubicBezTo>
                  <a:cubicBezTo>
                    <a:pt x="365" y="340"/>
                    <a:pt x="365" y="338"/>
                    <a:pt x="366" y="338"/>
                  </a:cubicBezTo>
                  <a:cubicBezTo>
                    <a:pt x="367" y="338"/>
                    <a:pt x="364" y="338"/>
                    <a:pt x="366" y="337"/>
                  </a:cubicBezTo>
                  <a:cubicBezTo>
                    <a:pt x="368" y="335"/>
                    <a:pt x="366" y="336"/>
                    <a:pt x="368" y="335"/>
                  </a:cubicBezTo>
                  <a:cubicBezTo>
                    <a:pt x="369" y="334"/>
                    <a:pt x="367" y="333"/>
                    <a:pt x="369" y="331"/>
                  </a:cubicBezTo>
                  <a:cubicBezTo>
                    <a:pt x="370" y="330"/>
                    <a:pt x="368" y="330"/>
                    <a:pt x="370" y="328"/>
                  </a:cubicBezTo>
                  <a:cubicBezTo>
                    <a:pt x="371" y="326"/>
                    <a:pt x="373" y="323"/>
                    <a:pt x="373" y="323"/>
                  </a:cubicBezTo>
                  <a:cubicBezTo>
                    <a:pt x="373" y="323"/>
                    <a:pt x="374" y="323"/>
                    <a:pt x="374" y="324"/>
                  </a:cubicBezTo>
                  <a:cubicBezTo>
                    <a:pt x="374" y="325"/>
                    <a:pt x="375" y="325"/>
                    <a:pt x="376" y="325"/>
                  </a:cubicBezTo>
                  <a:cubicBezTo>
                    <a:pt x="377" y="324"/>
                    <a:pt x="378" y="323"/>
                    <a:pt x="379" y="325"/>
                  </a:cubicBezTo>
                  <a:cubicBezTo>
                    <a:pt x="381" y="326"/>
                    <a:pt x="381" y="326"/>
                    <a:pt x="381" y="328"/>
                  </a:cubicBezTo>
                  <a:cubicBezTo>
                    <a:pt x="381" y="329"/>
                    <a:pt x="381" y="334"/>
                    <a:pt x="381" y="335"/>
                  </a:cubicBezTo>
                  <a:cubicBezTo>
                    <a:pt x="381" y="336"/>
                    <a:pt x="380" y="336"/>
                    <a:pt x="381" y="336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83" y="337"/>
                    <a:pt x="383" y="337"/>
                    <a:pt x="383" y="338"/>
                  </a:cubicBezTo>
                  <a:cubicBezTo>
                    <a:pt x="383" y="339"/>
                    <a:pt x="383" y="340"/>
                    <a:pt x="384" y="340"/>
                  </a:cubicBezTo>
                  <a:cubicBezTo>
                    <a:pt x="388" y="342"/>
                    <a:pt x="390" y="340"/>
                    <a:pt x="394" y="338"/>
                  </a:cubicBezTo>
                  <a:cubicBezTo>
                    <a:pt x="398" y="336"/>
                    <a:pt x="393" y="339"/>
                    <a:pt x="400" y="338"/>
                  </a:cubicBezTo>
                  <a:cubicBezTo>
                    <a:pt x="405" y="338"/>
                    <a:pt x="399" y="339"/>
                    <a:pt x="395" y="341"/>
                  </a:cubicBezTo>
                  <a:cubicBezTo>
                    <a:pt x="391" y="343"/>
                    <a:pt x="388" y="347"/>
                    <a:pt x="390" y="351"/>
                  </a:cubicBezTo>
                  <a:cubicBezTo>
                    <a:pt x="392" y="355"/>
                    <a:pt x="395" y="352"/>
                    <a:pt x="398" y="347"/>
                  </a:cubicBezTo>
                  <a:cubicBezTo>
                    <a:pt x="402" y="343"/>
                    <a:pt x="402" y="347"/>
                    <a:pt x="407" y="343"/>
                  </a:cubicBezTo>
                  <a:cubicBezTo>
                    <a:pt x="411" y="340"/>
                    <a:pt x="417" y="341"/>
                    <a:pt x="415" y="339"/>
                  </a:cubicBezTo>
                  <a:cubicBezTo>
                    <a:pt x="413" y="337"/>
                    <a:pt x="412" y="335"/>
                    <a:pt x="410" y="336"/>
                  </a:cubicBezTo>
                  <a:cubicBezTo>
                    <a:pt x="408" y="337"/>
                    <a:pt x="401" y="335"/>
                    <a:pt x="401" y="334"/>
                  </a:cubicBezTo>
                  <a:cubicBezTo>
                    <a:pt x="402" y="332"/>
                    <a:pt x="398" y="334"/>
                    <a:pt x="397" y="329"/>
                  </a:cubicBezTo>
                  <a:cubicBezTo>
                    <a:pt x="395" y="323"/>
                    <a:pt x="399" y="319"/>
                    <a:pt x="395" y="320"/>
                  </a:cubicBezTo>
                  <a:cubicBezTo>
                    <a:pt x="389" y="322"/>
                    <a:pt x="393" y="320"/>
                    <a:pt x="397" y="317"/>
                  </a:cubicBezTo>
                  <a:cubicBezTo>
                    <a:pt x="400" y="315"/>
                    <a:pt x="401" y="313"/>
                    <a:pt x="397" y="311"/>
                  </a:cubicBezTo>
                  <a:cubicBezTo>
                    <a:pt x="394" y="308"/>
                    <a:pt x="377" y="313"/>
                    <a:pt x="373" y="318"/>
                  </a:cubicBezTo>
                  <a:cubicBezTo>
                    <a:pt x="368" y="327"/>
                    <a:pt x="362" y="330"/>
                    <a:pt x="365" y="327"/>
                  </a:cubicBezTo>
                  <a:cubicBezTo>
                    <a:pt x="368" y="324"/>
                    <a:pt x="373" y="313"/>
                    <a:pt x="380" y="310"/>
                  </a:cubicBezTo>
                  <a:cubicBezTo>
                    <a:pt x="389" y="307"/>
                    <a:pt x="379" y="304"/>
                    <a:pt x="393" y="302"/>
                  </a:cubicBezTo>
                  <a:cubicBezTo>
                    <a:pt x="411" y="299"/>
                    <a:pt x="414" y="309"/>
                    <a:pt x="426" y="298"/>
                  </a:cubicBezTo>
                  <a:cubicBezTo>
                    <a:pt x="437" y="288"/>
                    <a:pt x="435" y="296"/>
                    <a:pt x="438" y="292"/>
                  </a:cubicBezTo>
                  <a:cubicBezTo>
                    <a:pt x="442" y="288"/>
                    <a:pt x="446" y="289"/>
                    <a:pt x="443" y="284"/>
                  </a:cubicBezTo>
                  <a:cubicBezTo>
                    <a:pt x="441" y="279"/>
                    <a:pt x="445" y="282"/>
                    <a:pt x="443" y="278"/>
                  </a:cubicBezTo>
                  <a:cubicBezTo>
                    <a:pt x="441" y="274"/>
                    <a:pt x="439" y="277"/>
                    <a:pt x="436" y="273"/>
                  </a:cubicBezTo>
                  <a:cubicBezTo>
                    <a:pt x="433" y="269"/>
                    <a:pt x="430" y="272"/>
                    <a:pt x="425" y="276"/>
                  </a:cubicBezTo>
                  <a:cubicBezTo>
                    <a:pt x="419" y="280"/>
                    <a:pt x="418" y="275"/>
                    <a:pt x="423" y="274"/>
                  </a:cubicBezTo>
                  <a:cubicBezTo>
                    <a:pt x="428" y="273"/>
                    <a:pt x="427" y="271"/>
                    <a:pt x="432" y="270"/>
                  </a:cubicBezTo>
                  <a:cubicBezTo>
                    <a:pt x="437" y="269"/>
                    <a:pt x="435" y="267"/>
                    <a:pt x="430" y="266"/>
                  </a:cubicBezTo>
                  <a:cubicBezTo>
                    <a:pt x="425" y="266"/>
                    <a:pt x="429" y="264"/>
                    <a:pt x="423" y="263"/>
                  </a:cubicBezTo>
                  <a:cubicBezTo>
                    <a:pt x="417" y="262"/>
                    <a:pt x="422" y="260"/>
                    <a:pt x="418" y="258"/>
                  </a:cubicBezTo>
                  <a:cubicBezTo>
                    <a:pt x="414" y="256"/>
                    <a:pt x="411" y="254"/>
                    <a:pt x="414" y="250"/>
                  </a:cubicBezTo>
                  <a:cubicBezTo>
                    <a:pt x="416" y="245"/>
                    <a:pt x="408" y="247"/>
                    <a:pt x="411" y="244"/>
                  </a:cubicBezTo>
                  <a:cubicBezTo>
                    <a:pt x="413" y="241"/>
                    <a:pt x="408" y="241"/>
                    <a:pt x="407" y="236"/>
                  </a:cubicBezTo>
                  <a:cubicBezTo>
                    <a:pt x="407" y="232"/>
                    <a:pt x="406" y="235"/>
                    <a:pt x="405" y="232"/>
                  </a:cubicBezTo>
                  <a:cubicBezTo>
                    <a:pt x="404" y="228"/>
                    <a:pt x="403" y="231"/>
                    <a:pt x="400" y="225"/>
                  </a:cubicBezTo>
                  <a:cubicBezTo>
                    <a:pt x="397" y="219"/>
                    <a:pt x="397" y="221"/>
                    <a:pt x="394" y="225"/>
                  </a:cubicBezTo>
                  <a:cubicBezTo>
                    <a:pt x="391" y="228"/>
                    <a:pt x="393" y="235"/>
                    <a:pt x="389" y="234"/>
                  </a:cubicBezTo>
                  <a:cubicBezTo>
                    <a:pt x="384" y="233"/>
                    <a:pt x="389" y="235"/>
                    <a:pt x="384" y="237"/>
                  </a:cubicBezTo>
                  <a:cubicBezTo>
                    <a:pt x="378" y="239"/>
                    <a:pt x="380" y="233"/>
                    <a:pt x="374" y="233"/>
                  </a:cubicBezTo>
                  <a:cubicBezTo>
                    <a:pt x="369" y="233"/>
                    <a:pt x="375" y="231"/>
                    <a:pt x="372" y="230"/>
                  </a:cubicBezTo>
                  <a:cubicBezTo>
                    <a:pt x="369" y="228"/>
                    <a:pt x="373" y="228"/>
                    <a:pt x="371" y="224"/>
                  </a:cubicBezTo>
                  <a:cubicBezTo>
                    <a:pt x="369" y="221"/>
                    <a:pt x="374" y="217"/>
                    <a:pt x="372" y="215"/>
                  </a:cubicBezTo>
                  <a:cubicBezTo>
                    <a:pt x="370" y="213"/>
                    <a:pt x="370" y="218"/>
                    <a:pt x="369" y="216"/>
                  </a:cubicBezTo>
                  <a:cubicBezTo>
                    <a:pt x="368" y="214"/>
                    <a:pt x="361" y="214"/>
                    <a:pt x="361" y="212"/>
                  </a:cubicBezTo>
                  <a:cubicBezTo>
                    <a:pt x="362" y="209"/>
                    <a:pt x="358" y="208"/>
                    <a:pt x="353" y="204"/>
                  </a:cubicBezTo>
                  <a:cubicBezTo>
                    <a:pt x="345" y="199"/>
                    <a:pt x="352" y="210"/>
                    <a:pt x="334" y="202"/>
                  </a:cubicBezTo>
                  <a:cubicBezTo>
                    <a:pt x="326" y="199"/>
                    <a:pt x="326" y="208"/>
                    <a:pt x="328" y="209"/>
                  </a:cubicBezTo>
                  <a:cubicBezTo>
                    <a:pt x="330" y="211"/>
                    <a:pt x="329" y="214"/>
                    <a:pt x="328" y="216"/>
                  </a:cubicBezTo>
                  <a:cubicBezTo>
                    <a:pt x="326" y="218"/>
                    <a:pt x="328" y="217"/>
                    <a:pt x="330" y="222"/>
                  </a:cubicBezTo>
                  <a:cubicBezTo>
                    <a:pt x="332" y="226"/>
                    <a:pt x="330" y="226"/>
                    <a:pt x="329" y="229"/>
                  </a:cubicBezTo>
                  <a:cubicBezTo>
                    <a:pt x="328" y="232"/>
                    <a:pt x="326" y="230"/>
                    <a:pt x="325" y="234"/>
                  </a:cubicBezTo>
                  <a:cubicBezTo>
                    <a:pt x="324" y="238"/>
                    <a:pt x="332" y="236"/>
                    <a:pt x="335" y="247"/>
                  </a:cubicBezTo>
                  <a:cubicBezTo>
                    <a:pt x="338" y="258"/>
                    <a:pt x="328" y="264"/>
                    <a:pt x="322" y="266"/>
                  </a:cubicBezTo>
                  <a:cubicBezTo>
                    <a:pt x="315" y="269"/>
                    <a:pt x="322" y="269"/>
                    <a:pt x="322" y="275"/>
                  </a:cubicBezTo>
                  <a:cubicBezTo>
                    <a:pt x="322" y="280"/>
                    <a:pt x="327" y="287"/>
                    <a:pt x="324" y="288"/>
                  </a:cubicBezTo>
                  <a:cubicBezTo>
                    <a:pt x="321" y="290"/>
                    <a:pt x="326" y="295"/>
                    <a:pt x="322" y="292"/>
                  </a:cubicBezTo>
                  <a:cubicBezTo>
                    <a:pt x="317" y="289"/>
                    <a:pt x="321" y="298"/>
                    <a:pt x="317" y="295"/>
                  </a:cubicBezTo>
                  <a:cubicBezTo>
                    <a:pt x="313" y="292"/>
                    <a:pt x="316" y="291"/>
                    <a:pt x="308" y="284"/>
                  </a:cubicBezTo>
                  <a:cubicBezTo>
                    <a:pt x="303" y="280"/>
                    <a:pt x="307" y="277"/>
                    <a:pt x="305" y="273"/>
                  </a:cubicBezTo>
                  <a:cubicBezTo>
                    <a:pt x="303" y="267"/>
                    <a:pt x="309" y="265"/>
                    <a:pt x="303" y="264"/>
                  </a:cubicBezTo>
                  <a:cubicBezTo>
                    <a:pt x="293" y="261"/>
                    <a:pt x="293" y="264"/>
                    <a:pt x="291" y="263"/>
                  </a:cubicBezTo>
                  <a:cubicBezTo>
                    <a:pt x="288" y="262"/>
                    <a:pt x="290" y="260"/>
                    <a:pt x="281" y="258"/>
                  </a:cubicBezTo>
                  <a:cubicBezTo>
                    <a:pt x="272" y="255"/>
                    <a:pt x="282" y="254"/>
                    <a:pt x="268" y="249"/>
                  </a:cubicBezTo>
                  <a:cubicBezTo>
                    <a:pt x="254" y="243"/>
                    <a:pt x="252" y="254"/>
                    <a:pt x="252" y="247"/>
                  </a:cubicBezTo>
                  <a:cubicBezTo>
                    <a:pt x="252" y="240"/>
                    <a:pt x="250" y="241"/>
                    <a:pt x="249" y="236"/>
                  </a:cubicBezTo>
                  <a:cubicBezTo>
                    <a:pt x="249" y="232"/>
                    <a:pt x="241" y="238"/>
                    <a:pt x="240" y="229"/>
                  </a:cubicBezTo>
                  <a:cubicBezTo>
                    <a:pt x="239" y="219"/>
                    <a:pt x="249" y="205"/>
                    <a:pt x="251" y="206"/>
                  </a:cubicBezTo>
                  <a:cubicBezTo>
                    <a:pt x="253" y="206"/>
                    <a:pt x="251" y="200"/>
                    <a:pt x="256" y="200"/>
                  </a:cubicBezTo>
                  <a:cubicBezTo>
                    <a:pt x="260" y="200"/>
                    <a:pt x="265" y="199"/>
                    <a:pt x="260" y="195"/>
                  </a:cubicBezTo>
                  <a:cubicBezTo>
                    <a:pt x="256" y="191"/>
                    <a:pt x="265" y="195"/>
                    <a:pt x="266" y="190"/>
                  </a:cubicBezTo>
                  <a:cubicBezTo>
                    <a:pt x="267" y="185"/>
                    <a:pt x="271" y="196"/>
                    <a:pt x="276" y="187"/>
                  </a:cubicBezTo>
                  <a:cubicBezTo>
                    <a:pt x="281" y="178"/>
                    <a:pt x="283" y="181"/>
                    <a:pt x="273" y="178"/>
                  </a:cubicBezTo>
                  <a:cubicBezTo>
                    <a:pt x="266" y="177"/>
                    <a:pt x="269" y="175"/>
                    <a:pt x="264" y="173"/>
                  </a:cubicBezTo>
                  <a:cubicBezTo>
                    <a:pt x="270" y="172"/>
                    <a:pt x="276" y="182"/>
                    <a:pt x="282" y="176"/>
                  </a:cubicBezTo>
                  <a:cubicBezTo>
                    <a:pt x="287" y="170"/>
                    <a:pt x="287" y="171"/>
                    <a:pt x="283" y="168"/>
                  </a:cubicBezTo>
                  <a:cubicBezTo>
                    <a:pt x="278" y="166"/>
                    <a:pt x="288" y="166"/>
                    <a:pt x="290" y="168"/>
                  </a:cubicBezTo>
                  <a:cubicBezTo>
                    <a:pt x="292" y="170"/>
                    <a:pt x="294" y="171"/>
                    <a:pt x="295" y="173"/>
                  </a:cubicBezTo>
                  <a:cubicBezTo>
                    <a:pt x="296" y="175"/>
                    <a:pt x="297" y="176"/>
                    <a:pt x="300" y="175"/>
                  </a:cubicBezTo>
                  <a:cubicBezTo>
                    <a:pt x="302" y="174"/>
                    <a:pt x="294" y="172"/>
                    <a:pt x="297" y="170"/>
                  </a:cubicBezTo>
                  <a:cubicBezTo>
                    <a:pt x="300" y="169"/>
                    <a:pt x="301" y="166"/>
                    <a:pt x="303" y="166"/>
                  </a:cubicBezTo>
                  <a:cubicBezTo>
                    <a:pt x="306" y="167"/>
                    <a:pt x="306" y="163"/>
                    <a:pt x="309" y="163"/>
                  </a:cubicBezTo>
                  <a:cubicBezTo>
                    <a:pt x="311" y="163"/>
                    <a:pt x="312" y="159"/>
                    <a:pt x="308" y="156"/>
                  </a:cubicBezTo>
                  <a:cubicBezTo>
                    <a:pt x="304" y="153"/>
                    <a:pt x="309" y="154"/>
                    <a:pt x="306" y="151"/>
                  </a:cubicBezTo>
                  <a:cubicBezTo>
                    <a:pt x="303" y="148"/>
                    <a:pt x="310" y="151"/>
                    <a:pt x="311" y="148"/>
                  </a:cubicBezTo>
                  <a:cubicBezTo>
                    <a:pt x="312" y="144"/>
                    <a:pt x="308" y="147"/>
                    <a:pt x="310" y="144"/>
                  </a:cubicBezTo>
                  <a:cubicBezTo>
                    <a:pt x="312" y="141"/>
                    <a:pt x="306" y="144"/>
                    <a:pt x="305" y="140"/>
                  </a:cubicBezTo>
                  <a:cubicBezTo>
                    <a:pt x="305" y="137"/>
                    <a:pt x="300" y="139"/>
                    <a:pt x="296" y="137"/>
                  </a:cubicBezTo>
                  <a:cubicBezTo>
                    <a:pt x="291" y="135"/>
                    <a:pt x="294" y="137"/>
                    <a:pt x="290" y="137"/>
                  </a:cubicBezTo>
                  <a:cubicBezTo>
                    <a:pt x="286" y="137"/>
                    <a:pt x="288" y="143"/>
                    <a:pt x="290" y="144"/>
                  </a:cubicBezTo>
                  <a:cubicBezTo>
                    <a:pt x="293" y="145"/>
                    <a:pt x="291" y="147"/>
                    <a:pt x="289" y="147"/>
                  </a:cubicBezTo>
                  <a:cubicBezTo>
                    <a:pt x="287" y="146"/>
                    <a:pt x="289" y="152"/>
                    <a:pt x="285" y="155"/>
                  </a:cubicBezTo>
                  <a:cubicBezTo>
                    <a:pt x="282" y="157"/>
                    <a:pt x="285" y="159"/>
                    <a:pt x="281" y="161"/>
                  </a:cubicBezTo>
                  <a:cubicBezTo>
                    <a:pt x="277" y="162"/>
                    <a:pt x="279" y="160"/>
                    <a:pt x="275" y="157"/>
                  </a:cubicBezTo>
                  <a:cubicBezTo>
                    <a:pt x="271" y="153"/>
                    <a:pt x="277" y="154"/>
                    <a:pt x="277" y="151"/>
                  </a:cubicBezTo>
                  <a:cubicBezTo>
                    <a:pt x="277" y="149"/>
                    <a:pt x="272" y="140"/>
                    <a:pt x="268" y="143"/>
                  </a:cubicBezTo>
                  <a:cubicBezTo>
                    <a:pt x="265" y="146"/>
                    <a:pt x="267" y="154"/>
                    <a:pt x="263" y="150"/>
                  </a:cubicBezTo>
                  <a:cubicBezTo>
                    <a:pt x="260" y="147"/>
                    <a:pt x="265" y="148"/>
                    <a:pt x="262" y="144"/>
                  </a:cubicBezTo>
                  <a:cubicBezTo>
                    <a:pt x="258" y="141"/>
                    <a:pt x="266" y="142"/>
                    <a:pt x="262" y="140"/>
                  </a:cubicBezTo>
                  <a:cubicBezTo>
                    <a:pt x="257" y="137"/>
                    <a:pt x="257" y="141"/>
                    <a:pt x="254" y="139"/>
                  </a:cubicBezTo>
                  <a:cubicBezTo>
                    <a:pt x="250" y="137"/>
                    <a:pt x="259" y="134"/>
                    <a:pt x="257" y="133"/>
                  </a:cubicBezTo>
                  <a:cubicBezTo>
                    <a:pt x="255" y="131"/>
                    <a:pt x="250" y="129"/>
                    <a:pt x="250" y="125"/>
                  </a:cubicBezTo>
                  <a:cubicBezTo>
                    <a:pt x="250" y="121"/>
                    <a:pt x="243" y="117"/>
                    <a:pt x="240" y="117"/>
                  </a:cubicBezTo>
                  <a:cubicBezTo>
                    <a:pt x="236" y="116"/>
                    <a:pt x="239" y="119"/>
                    <a:pt x="236" y="119"/>
                  </a:cubicBezTo>
                  <a:cubicBezTo>
                    <a:pt x="232" y="120"/>
                    <a:pt x="236" y="121"/>
                    <a:pt x="232" y="123"/>
                  </a:cubicBezTo>
                  <a:cubicBezTo>
                    <a:pt x="228" y="125"/>
                    <a:pt x="233" y="129"/>
                    <a:pt x="232" y="131"/>
                  </a:cubicBezTo>
                  <a:cubicBezTo>
                    <a:pt x="231" y="134"/>
                    <a:pt x="231" y="136"/>
                    <a:pt x="237" y="138"/>
                  </a:cubicBezTo>
                  <a:cubicBezTo>
                    <a:pt x="243" y="140"/>
                    <a:pt x="245" y="143"/>
                    <a:pt x="242" y="145"/>
                  </a:cubicBezTo>
                  <a:cubicBezTo>
                    <a:pt x="239" y="146"/>
                    <a:pt x="241" y="148"/>
                    <a:pt x="244" y="147"/>
                  </a:cubicBezTo>
                  <a:cubicBezTo>
                    <a:pt x="247" y="145"/>
                    <a:pt x="247" y="148"/>
                    <a:pt x="243" y="152"/>
                  </a:cubicBezTo>
                  <a:cubicBezTo>
                    <a:pt x="238" y="155"/>
                    <a:pt x="238" y="151"/>
                    <a:pt x="237" y="154"/>
                  </a:cubicBezTo>
                  <a:cubicBezTo>
                    <a:pt x="235" y="157"/>
                    <a:pt x="241" y="164"/>
                    <a:pt x="236" y="161"/>
                  </a:cubicBezTo>
                  <a:cubicBezTo>
                    <a:pt x="232" y="158"/>
                    <a:pt x="232" y="158"/>
                    <a:pt x="233" y="155"/>
                  </a:cubicBezTo>
                  <a:cubicBezTo>
                    <a:pt x="234" y="153"/>
                    <a:pt x="234" y="151"/>
                    <a:pt x="231" y="151"/>
                  </a:cubicBezTo>
                  <a:cubicBezTo>
                    <a:pt x="227" y="152"/>
                    <a:pt x="226" y="148"/>
                    <a:pt x="222" y="150"/>
                  </a:cubicBezTo>
                  <a:cubicBezTo>
                    <a:pt x="218" y="152"/>
                    <a:pt x="223" y="155"/>
                    <a:pt x="219" y="156"/>
                  </a:cubicBezTo>
                  <a:cubicBezTo>
                    <a:pt x="216" y="157"/>
                    <a:pt x="217" y="154"/>
                    <a:pt x="209" y="156"/>
                  </a:cubicBezTo>
                  <a:cubicBezTo>
                    <a:pt x="198" y="158"/>
                    <a:pt x="197" y="152"/>
                    <a:pt x="194" y="153"/>
                  </a:cubicBezTo>
                  <a:cubicBezTo>
                    <a:pt x="187" y="156"/>
                    <a:pt x="185" y="145"/>
                    <a:pt x="180" y="146"/>
                  </a:cubicBezTo>
                  <a:cubicBezTo>
                    <a:pt x="176" y="146"/>
                    <a:pt x="166" y="148"/>
                    <a:pt x="168" y="152"/>
                  </a:cubicBezTo>
                  <a:cubicBezTo>
                    <a:pt x="170" y="155"/>
                    <a:pt x="176" y="149"/>
                    <a:pt x="178" y="151"/>
                  </a:cubicBezTo>
                  <a:cubicBezTo>
                    <a:pt x="181" y="152"/>
                    <a:pt x="173" y="152"/>
                    <a:pt x="172" y="155"/>
                  </a:cubicBezTo>
                  <a:cubicBezTo>
                    <a:pt x="171" y="158"/>
                    <a:pt x="179" y="166"/>
                    <a:pt x="171" y="160"/>
                  </a:cubicBezTo>
                  <a:cubicBezTo>
                    <a:pt x="163" y="155"/>
                    <a:pt x="164" y="158"/>
                    <a:pt x="161" y="155"/>
                  </a:cubicBezTo>
                  <a:cubicBezTo>
                    <a:pt x="158" y="151"/>
                    <a:pt x="161" y="156"/>
                    <a:pt x="151" y="156"/>
                  </a:cubicBezTo>
                  <a:cubicBezTo>
                    <a:pt x="142" y="157"/>
                    <a:pt x="130" y="156"/>
                    <a:pt x="134" y="153"/>
                  </a:cubicBezTo>
                  <a:cubicBezTo>
                    <a:pt x="138" y="150"/>
                    <a:pt x="143" y="153"/>
                    <a:pt x="139" y="150"/>
                  </a:cubicBezTo>
                  <a:cubicBezTo>
                    <a:pt x="136" y="147"/>
                    <a:pt x="134" y="144"/>
                    <a:pt x="128" y="145"/>
                  </a:cubicBezTo>
                  <a:cubicBezTo>
                    <a:pt x="122" y="146"/>
                    <a:pt x="116" y="143"/>
                    <a:pt x="111" y="142"/>
                  </a:cubicBezTo>
                  <a:cubicBezTo>
                    <a:pt x="105" y="140"/>
                    <a:pt x="101" y="136"/>
                    <a:pt x="96" y="137"/>
                  </a:cubicBezTo>
                  <a:cubicBezTo>
                    <a:pt x="90" y="137"/>
                    <a:pt x="94" y="142"/>
                    <a:pt x="89" y="141"/>
                  </a:cubicBezTo>
                  <a:cubicBezTo>
                    <a:pt x="84" y="140"/>
                    <a:pt x="90" y="133"/>
                    <a:pt x="83" y="134"/>
                  </a:cubicBezTo>
                  <a:cubicBezTo>
                    <a:pt x="80" y="135"/>
                    <a:pt x="84" y="144"/>
                    <a:pt x="77" y="140"/>
                  </a:cubicBezTo>
                  <a:cubicBezTo>
                    <a:pt x="73" y="138"/>
                    <a:pt x="71" y="127"/>
                    <a:pt x="67" y="130"/>
                  </a:cubicBezTo>
                  <a:cubicBezTo>
                    <a:pt x="62" y="134"/>
                    <a:pt x="73" y="131"/>
                    <a:pt x="65" y="136"/>
                  </a:cubicBezTo>
                  <a:cubicBezTo>
                    <a:pt x="59" y="139"/>
                    <a:pt x="66" y="134"/>
                    <a:pt x="56" y="138"/>
                  </a:cubicBezTo>
                  <a:cubicBezTo>
                    <a:pt x="45" y="142"/>
                    <a:pt x="50" y="139"/>
                    <a:pt x="56" y="136"/>
                  </a:cubicBezTo>
                  <a:cubicBezTo>
                    <a:pt x="62" y="133"/>
                    <a:pt x="61" y="133"/>
                    <a:pt x="58" y="134"/>
                  </a:cubicBezTo>
                  <a:cubicBezTo>
                    <a:pt x="54" y="135"/>
                    <a:pt x="55" y="132"/>
                    <a:pt x="49" y="136"/>
                  </a:cubicBezTo>
                  <a:cubicBezTo>
                    <a:pt x="44" y="139"/>
                    <a:pt x="47" y="135"/>
                    <a:pt x="41" y="140"/>
                  </a:cubicBezTo>
                  <a:cubicBezTo>
                    <a:pt x="35" y="144"/>
                    <a:pt x="32" y="144"/>
                    <a:pt x="34" y="146"/>
                  </a:cubicBezTo>
                  <a:cubicBezTo>
                    <a:pt x="35" y="148"/>
                    <a:pt x="31" y="145"/>
                    <a:pt x="28" y="147"/>
                  </a:cubicBezTo>
                  <a:cubicBezTo>
                    <a:pt x="25" y="148"/>
                    <a:pt x="27" y="145"/>
                    <a:pt x="21" y="145"/>
                  </a:cubicBezTo>
                  <a:cubicBezTo>
                    <a:pt x="14" y="145"/>
                    <a:pt x="9" y="138"/>
                    <a:pt x="0" y="139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4" y="223"/>
                    <a:pt x="2" y="220"/>
                    <a:pt x="3" y="221"/>
                  </a:cubicBezTo>
                  <a:cubicBezTo>
                    <a:pt x="5" y="222"/>
                    <a:pt x="5" y="222"/>
                    <a:pt x="6" y="222"/>
                  </a:cubicBezTo>
                  <a:cubicBezTo>
                    <a:pt x="7" y="221"/>
                    <a:pt x="10" y="220"/>
                    <a:pt x="10" y="222"/>
                  </a:cubicBezTo>
                  <a:cubicBezTo>
                    <a:pt x="9" y="223"/>
                    <a:pt x="8" y="223"/>
                    <a:pt x="10" y="224"/>
                  </a:cubicBezTo>
                  <a:cubicBezTo>
                    <a:pt x="13" y="225"/>
                    <a:pt x="10" y="226"/>
                    <a:pt x="15" y="228"/>
                  </a:cubicBezTo>
                  <a:cubicBezTo>
                    <a:pt x="19" y="231"/>
                    <a:pt x="17" y="232"/>
                    <a:pt x="18" y="232"/>
                  </a:cubicBezTo>
                  <a:cubicBezTo>
                    <a:pt x="19" y="233"/>
                    <a:pt x="19" y="231"/>
                    <a:pt x="22" y="231"/>
                  </a:cubicBezTo>
                  <a:cubicBezTo>
                    <a:pt x="25" y="230"/>
                    <a:pt x="22" y="229"/>
                    <a:pt x="24" y="228"/>
                  </a:cubicBezTo>
                  <a:cubicBezTo>
                    <a:pt x="26" y="228"/>
                    <a:pt x="23" y="227"/>
                    <a:pt x="25" y="227"/>
                  </a:cubicBezTo>
                  <a:cubicBezTo>
                    <a:pt x="29" y="225"/>
                    <a:pt x="29" y="225"/>
                    <a:pt x="30" y="227"/>
                  </a:cubicBezTo>
                  <a:cubicBezTo>
                    <a:pt x="32" y="229"/>
                    <a:pt x="30" y="228"/>
                    <a:pt x="31" y="229"/>
                  </a:cubicBezTo>
                  <a:cubicBezTo>
                    <a:pt x="32" y="231"/>
                    <a:pt x="33" y="230"/>
                    <a:pt x="34" y="232"/>
                  </a:cubicBezTo>
                  <a:cubicBezTo>
                    <a:pt x="35" y="235"/>
                    <a:pt x="37" y="233"/>
                    <a:pt x="38" y="236"/>
                  </a:cubicBezTo>
                  <a:cubicBezTo>
                    <a:pt x="40" y="238"/>
                    <a:pt x="44" y="245"/>
                    <a:pt x="45" y="246"/>
                  </a:cubicBezTo>
                  <a:cubicBezTo>
                    <a:pt x="46" y="248"/>
                    <a:pt x="44" y="248"/>
                    <a:pt x="46" y="248"/>
                  </a:cubicBezTo>
                  <a:cubicBezTo>
                    <a:pt x="47" y="248"/>
                    <a:pt x="45" y="250"/>
                    <a:pt x="47" y="250"/>
                  </a:cubicBezTo>
                  <a:cubicBezTo>
                    <a:pt x="48" y="250"/>
                    <a:pt x="46" y="252"/>
                    <a:pt x="48" y="252"/>
                  </a:cubicBezTo>
                  <a:cubicBezTo>
                    <a:pt x="50" y="251"/>
                    <a:pt x="49" y="253"/>
                    <a:pt x="53" y="254"/>
                  </a:cubicBezTo>
                  <a:cubicBezTo>
                    <a:pt x="56" y="255"/>
                    <a:pt x="54" y="256"/>
                    <a:pt x="56" y="256"/>
                  </a:cubicBezTo>
                  <a:cubicBezTo>
                    <a:pt x="57" y="256"/>
                    <a:pt x="57" y="257"/>
                    <a:pt x="57" y="257"/>
                  </a:cubicBezTo>
                  <a:cubicBezTo>
                    <a:pt x="56" y="260"/>
                    <a:pt x="58" y="262"/>
                    <a:pt x="57" y="264"/>
                  </a:cubicBezTo>
                  <a:cubicBezTo>
                    <a:pt x="55" y="265"/>
                    <a:pt x="57" y="266"/>
                    <a:pt x="56" y="267"/>
                  </a:cubicBezTo>
                  <a:cubicBezTo>
                    <a:pt x="53" y="270"/>
                    <a:pt x="55" y="270"/>
                    <a:pt x="56" y="271"/>
                  </a:cubicBezTo>
                  <a:cubicBezTo>
                    <a:pt x="56" y="273"/>
                    <a:pt x="58" y="275"/>
                    <a:pt x="60" y="277"/>
                  </a:cubicBezTo>
                  <a:cubicBezTo>
                    <a:pt x="61" y="279"/>
                    <a:pt x="59" y="274"/>
                    <a:pt x="64" y="274"/>
                  </a:cubicBezTo>
                  <a:cubicBezTo>
                    <a:pt x="67" y="273"/>
                    <a:pt x="61" y="275"/>
                    <a:pt x="63" y="278"/>
                  </a:cubicBezTo>
                  <a:cubicBezTo>
                    <a:pt x="64" y="280"/>
                    <a:pt x="64" y="278"/>
                    <a:pt x="64" y="281"/>
                  </a:cubicBezTo>
                  <a:cubicBezTo>
                    <a:pt x="65" y="284"/>
                    <a:pt x="68" y="279"/>
                    <a:pt x="66" y="283"/>
                  </a:cubicBezTo>
                  <a:cubicBezTo>
                    <a:pt x="65" y="287"/>
                    <a:pt x="65" y="288"/>
                    <a:pt x="66" y="287"/>
                  </a:cubicBezTo>
                  <a:cubicBezTo>
                    <a:pt x="66" y="287"/>
                    <a:pt x="65" y="289"/>
                    <a:pt x="67" y="290"/>
                  </a:cubicBezTo>
                  <a:cubicBezTo>
                    <a:pt x="68" y="290"/>
                    <a:pt x="67" y="287"/>
                    <a:pt x="69" y="286"/>
                  </a:cubicBezTo>
                  <a:cubicBezTo>
                    <a:pt x="70" y="286"/>
                    <a:pt x="71" y="284"/>
                    <a:pt x="71" y="285"/>
                  </a:cubicBezTo>
                  <a:cubicBezTo>
                    <a:pt x="72" y="286"/>
                    <a:pt x="74" y="285"/>
                    <a:pt x="74" y="286"/>
                  </a:cubicBezTo>
                  <a:cubicBezTo>
                    <a:pt x="73" y="288"/>
                    <a:pt x="73" y="285"/>
                    <a:pt x="70" y="287"/>
                  </a:cubicBezTo>
                  <a:cubicBezTo>
                    <a:pt x="67" y="289"/>
                    <a:pt x="68" y="289"/>
                    <a:pt x="68" y="291"/>
                  </a:cubicBezTo>
                  <a:cubicBezTo>
                    <a:pt x="68" y="293"/>
                    <a:pt x="70" y="292"/>
                    <a:pt x="69" y="293"/>
                  </a:cubicBezTo>
                  <a:cubicBezTo>
                    <a:pt x="68" y="294"/>
                    <a:pt x="70" y="294"/>
                    <a:pt x="69" y="294"/>
                  </a:cubicBezTo>
                  <a:cubicBezTo>
                    <a:pt x="67" y="295"/>
                    <a:pt x="69" y="296"/>
                    <a:pt x="71" y="297"/>
                  </a:cubicBezTo>
                  <a:cubicBezTo>
                    <a:pt x="73" y="298"/>
                    <a:pt x="73" y="296"/>
                    <a:pt x="75" y="297"/>
                  </a:cubicBezTo>
                  <a:cubicBezTo>
                    <a:pt x="77" y="297"/>
                    <a:pt x="74" y="298"/>
                    <a:pt x="76" y="298"/>
                  </a:cubicBezTo>
                  <a:cubicBezTo>
                    <a:pt x="79" y="297"/>
                    <a:pt x="75" y="301"/>
                    <a:pt x="78" y="300"/>
                  </a:cubicBezTo>
                  <a:cubicBezTo>
                    <a:pt x="79" y="300"/>
                    <a:pt x="78" y="301"/>
                    <a:pt x="80" y="300"/>
                  </a:cubicBezTo>
                  <a:cubicBezTo>
                    <a:pt x="82" y="300"/>
                    <a:pt x="83" y="302"/>
                    <a:pt x="84" y="301"/>
                  </a:cubicBezTo>
                  <a:cubicBezTo>
                    <a:pt x="85" y="300"/>
                    <a:pt x="86" y="303"/>
                    <a:pt x="84" y="303"/>
                  </a:cubicBezTo>
                  <a:cubicBezTo>
                    <a:pt x="83" y="304"/>
                    <a:pt x="86" y="306"/>
                    <a:pt x="87" y="306"/>
                  </a:cubicBezTo>
                  <a:cubicBezTo>
                    <a:pt x="89" y="305"/>
                    <a:pt x="89" y="303"/>
                    <a:pt x="89" y="305"/>
                  </a:cubicBezTo>
                  <a:cubicBezTo>
                    <a:pt x="89" y="307"/>
                    <a:pt x="90" y="306"/>
                    <a:pt x="90" y="307"/>
                  </a:cubicBezTo>
                  <a:cubicBezTo>
                    <a:pt x="89" y="308"/>
                    <a:pt x="89" y="305"/>
                    <a:pt x="88" y="306"/>
                  </a:cubicBezTo>
                  <a:cubicBezTo>
                    <a:pt x="87" y="307"/>
                    <a:pt x="91" y="309"/>
                    <a:pt x="91" y="308"/>
                  </a:cubicBezTo>
                  <a:cubicBezTo>
                    <a:pt x="91" y="307"/>
                    <a:pt x="92" y="306"/>
                    <a:pt x="92" y="308"/>
                  </a:cubicBezTo>
                  <a:cubicBezTo>
                    <a:pt x="92" y="309"/>
                    <a:pt x="93" y="310"/>
                    <a:pt x="93" y="311"/>
                  </a:cubicBezTo>
                  <a:cubicBezTo>
                    <a:pt x="92" y="312"/>
                    <a:pt x="93" y="312"/>
                    <a:pt x="94" y="311"/>
                  </a:cubicBezTo>
                  <a:cubicBezTo>
                    <a:pt x="94" y="310"/>
                    <a:pt x="94" y="311"/>
                    <a:pt x="94" y="312"/>
                  </a:cubicBezTo>
                  <a:lnTo>
                    <a:pt x="238" y="312"/>
                  </a:lnTo>
                  <a:close/>
                  <a:moveTo>
                    <a:pt x="318" y="211"/>
                  </a:moveTo>
                  <a:cubicBezTo>
                    <a:pt x="320" y="210"/>
                    <a:pt x="322" y="203"/>
                    <a:pt x="318" y="204"/>
                  </a:cubicBezTo>
                  <a:cubicBezTo>
                    <a:pt x="314" y="205"/>
                    <a:pt x="317" y="211"/>
                    <a:pt x="318" y="211"/>
                  </a:cubicBezTo>
                  <a:close/>
                  <a:moveTo>
                    <a:pt x="397" y="212"/>
                  </a:moveTo>
                  <a:cubicBezTo>
                    <a:pt x="398" y="210"/>
                    <a:pt x="396" y="209"/>
                    <a:pt x="394" y="209"/>
                  </a:cubicBezTo>
                  <a:cubicBezTo>
                    <a:pt x="391" y="210"/>
                    <a:pt x="396" y="214"/>
                    <a:pt x="397" y="212"/>
                  </a:cubicBezTo>
                  <a:close/>
                  <a:moveTo>
                    <a:pt x="283" y="151"/>
                  </a:moveTo>
                  <a:cubicBezTo>
                    <a:pt x="283" y="150"/>
                    <a:pt x="279" y="152"/>
                    <a:pt x="281" y="155"/>
                  </a:cubicBezTo>
                  <a:cubicBezTo>
                    <a:pt x="284" y="159"/>
                    <a:pt x="284" y="152"/>
                    <a:pt x="283" y="151"/>
                  </a:cubicBezTo>
                  <a:close/>
                  <a:moveTo>
                    <a:pt x="244" y="62"/>
                  </a:moveTo>
                  <a:cubicBezTo>
                    <a:pt x="251" y="62"/>
                    <a:pt x="249" y="59"/>
                    <a:pt x="243" y="59"/>
                  </a:cubicBezTo>
                  <a:cubicBezTo>
                    <a:pt x="236" y="58"/>
                    <a:pt x="232" y="59"/>
                    <a:pt x="232" y="61"/>
                  </a:cubicBezTo>
                  <a:cubicBezTo>
                    <a:pt x="232" y="63"/>
                    <a:pt x="237" y="62"/>
                    <a:pt x="244" y="62"/>
                  </a:cubicBezTo>
                  <a:close/>
                  <a:moveTo>
                    <a:pt x="194" y="85"/>
                  </a:moveTo>
                  <a:cubicBezTo>
                    <a:pt x="193" y="83"/>
                    <a:pt x="188" y="81"/>
                    <a:pt x="188" y="85"/>
                  </a:cubicBezTo>
                  <a:cubicBezTo>
                    <a:pt x="188" y="88"/>
                    <a:pt x="195" y="87"/>
                    <a:pt x="194" y="85"/>
                  </a:cubicBezTo>
                  <a:close/>
                  <a:moveTo>
                    <a:pt x="120" y="77"/>
                  </a:moveTo>
                  <a:cubicBezTo>
                    <a:pt x="116" y="78"/>
                    <a:pt x="109" y="81"/>
                    <a:pt x="115" y="82"/>
                  </a:cubicBezTo>
                  <a:cubicBezTo>
                    <a:pt x="119" y="82"/>
                    <a:pt x="123" y="75"/>
                    <a:pt x="120" y="77"/>
                  </a:cubicBezTo>
                  <a:close/>
                  <a:moveTo>
                    <a:pt x="143" y="69"/>
                  </a:moveTo>
                  <a:cubicBezTo>
                    <a:pt x="145" y="68"/>
                    <a:pt x="137" y="67"/>
                    <a:pt x="136" y="69"/>
                  </a:cubicBezTo>
                  <a:cubicBezTo>
                    <a:pt x="135" y="70"/>
                    <a:pt x="141" y="70"/>
                    <a:pt x="143" y="69"/>
                  </a:cubicBezTo>
                  <a:close/>
                  <a:moveTo>
                    <a:pt x="140" y="57"/>
                  </a:moveTo>
                  <a:cubicBezTo>
                    <a:pt x="138" y="55"/>
                    <a:pt x="136" y="56"/>
                    <a:pt x="135" y="57"/>
                  </a:cubicBezTo>
                  <a:cubicBezTo>
                    <a:pt x="134" y="57"/>
                    <a:pt x="137" y="59"/>
                    <a:pt x="141" y="59"/>
                  </a:cubicBezTo>
                  <a:cubicBezTo>
                    <a:pt x="143" y="59"/>
                    <a:pt x="143" y="59"/>
                    <a:pt x="140" y="57"/>
                  </a:cubicBezTo>
                  <a:close/>
                  <a:moveTo>
                    <a:pt x="190" y="73"/>
                  </a:moveTo>
                  <a:cubicBezTo>
                    <a:pt x="192" y="75"/>
                    <a:pt x="201" y="72"/>
                    <a:pt x="197" y="72"/>
                  </a:cubicBezTo>
                  <a:cubicBezTo>
                    <a:pt x="193" y="71"/>
                    <a:pt x="194" y="68"/>
                    <a:pt x="190" y="70"/>
                  </a:cubicBezTo>
                  <a:cubicBezTo>
                    <a:pt x="189" y="71"/>
                    <a:pt x="188" y="71"/>
                    <a:pt x="190" y="73"/>
                  </a:cubicBezTo>
                  <a:close/>
                  <a:moveTo>
                    <a:pt x="200" y="74"/>
                  </a:moveTo>
                  <a:cubicBezTo>
                    <a:pt x="198" y="73"/>
                    <a:pt x="189" y="75"/>
                    <a:pt x="190" y="76"/>
                  </a:cubicBezTo>
                  <a:cubicBezTo>
                    <a:pt x="192" y="77"/>
                    <a:pt x="201" y="75"/>
                    <a:pt x="200" y="74"/>
                  </a:cubicBezTo>
                  <a:close/>
                  <a:moveTo>
                    <a:pt x="200" y="76"/>
                  </a:moveTo>
                  <a:cubicBezTo>
                    <a:pt x="199" y="76"/>
                    <a:pt x="192" y="77"/>
                    <a:pt x="194" y="78"/>
                  </a:cubicBezTo>
                  <a:cubicBezTo>
                    <a:pt x="195" y="79"/>
                    <a:pt x="202" y="77"/>
                    <a:pt x="200" y="76"/>
                  </a:cubicBezTo>
                  <a:close/>
                  <a:moveTo>
                    <a:pt x="202" y="77"/>
                  </a:moveTo>
                  <a:cubicBezTo>
                    <a:pt x="201" y="77"/>
                    <a:pt x="195" y="79"/>
                    <a:pt x="196" y="80"/>
                  </a:cubicBezTo>
                  <a:cubicBezTo>
                    <a:pt x="198" y="80"/>
                    <a:pt x="203" y="77"/>
                    <a:pt x="202" y="77"/>
                  </a:cubicBezTo>
                  <a:close/>
                  <a:moveTo>
                    <a:pt x="291" y="46"/>
                  </a:moveTo>
                  <a:cubicBezTo>
                    <a:pt x="291" y="44"/>
                    <a:pt x="286" y="45"/>
                    <a:pt x="284" y="47"/>
                  </a:cubicBezTo>
                  <a:cubicBezTo>
                    <a:pt x="282" y="48"/>
                    <a:pt x="290" y="47"/>
                    <a:pt x="291" y="46"/>
                  </a:cubicBezTo>
                  <a:close/>
                  <a:moveTo>
                    <a:pt x="309" y="281"/>
                  </a:moveTo>
                  <a:cubicBezTo>
                    <a:pt x="311" y="282"/>
                    <a:pt x="313" y="283"/>
                    <a:pt x="314" y="283"/>
                  </a:cubicBezTo>
                  <a:cubicBezTo>
                    <a:pt x="315" y="282"/>
                    <a:pt x="312" y="280"/>
                    <a:pt x="312" y="279"/>
                  </a:cubicBezTo>
                  <a:cubicBezTo>
                    <a:pt x="311" y="278"/>
                    <a:pt x="308" y="278"/>
                    <a:pt x="307" y="280"/>
                  </a:cubicBezTo>
                  <a:cubicBezTo>
                    <a:pt x="306" y="280"/>
                    <a:pt x="307" y="280"/>
                    <a:pt x="309" y="281"/>
                  </a:cubicBezTo>
                  <a:close/>
                  <a:moveTo>
                    <a:pt x="319" y="257"/>
                  </a:moveTo>
                  <a:cubicBezTo>
                    <a:pt x="319" y="256"/>
                    <a:pt x="320" y="255"/>
                    <a:pt x="319" y="257"/>
                  </a:cubicBezTo>
                  <a:cubicBezTo>
                    <a:pt x="318" y="259"/>
                    <a:pt x="318" y="258"/>
                    <a:pt x="319" y="258"/>
                  </a:cubicBezTo>
                  <a:cubicBezTo>
                    <a:pt x="320" y="258"/>
                    <a:pt x="321" y="255"/>
                    <a:pt x="321" y="255"/>
                  </a:cubicBezTo>
                  <a:cubicBezTo>
                    <a:pt x="322" y="255"/>
                    <a:pt x="320" y="258"/>
                    <a:pt x="321" y="258"/>
                  </a:cubicBezTo>
                  <a:cubicBezTo>
                    <a:pt x="322" y="258"/>
                    <a:pt x="322" y="257"/>
                    <a:pt x="322" y="255"/>
                  </a:cubicBezTo>
                  <a:cubicBezTo>
                    <a:pt x="323" y="253"/>
                    <a:pt x="323" y="254"/>
                    <a:pt x="322" y="253"/>
                  </a:cubicBezTo>
                  <a:cubicBezTo>
                    <a:pt x="321" y="252"/>
                    <a:pt x="321" y="252"/>
                    <a:pt x="321" y="253"/>
                  </a:cubicBezTo>
                  <a:cubicBezTo>
                    <a:pt x="320" y="254"/>
                    <a:pt x="320" y="255"/>
                    <a:pt x="320" y="254"/>
                  </a:cubicBezTo>
                  <a:cubicBezTo>
                    <a:pt x="320" y="253"/>
                    <a:pt x="320" y="252"/>
                    <a:pt x="320" y="253"/>
                  </a:cubicBezTo>
                  <a:cubicBezTo>
                    <a:pt x="319" y="253"/>
                    <a:pt x="320" y="253"/>
                    <a:pt x="320" y="254"/>
                  </a:cubicBezTo>
                  <a:cubicBezTo>
                    <a:pt x="319" y="255"/>
                    <a:pt x="319" y="255"/>
                    <a:pt x="318" y="256"/>
                  </a:cubicBezTo>
                  <a:cubicBezTo>
                    <a:pt x="317" y="257"/>
                    <a:pt x="317" y="257"/>
                    <a:pt x="317" y="258"/>
                  </a:cubicBezTo>
                  <a:cubicBezTo>
                    <a:pt x="318" y="259"/>
                    <a:pt x="318" y="258"/>
                    <a:pt x="319" y="257"/>
                  </a:cubicBezTo>
                  <a:close/>
                  <a:moveTo>
                    <a:pt x="324" y="256"/>
                  </a:moveTo>
                  <a:cubicBezTo>
                    <a:pt x="324" y="255"/>
                    <a:pt x="324" y="253"/>
                    <a:pt x="324" y="253"/>
                  </a:cubicBezTo>
                  <a:cubicBezTo>
                    <a:pt x="323" y="253"/>
                    <a:pt x="323" y="254"/>
                    <a:pt x="323" y="256"/>
                  </a:cubicBezTo>
                  <a:cubicBezTo>
                    <a:pt x="322" y="256"/>
                    <a:pt x="323" y="256"/>
                    <a:pt x="324" y="256"/>
                  </a:cubicBezTo>
                  <a:close/>
                  <a:moveTo>
                    <a:pt x="318" y="255"/>
                  </a:moveTo>
                  <a:cubicBezTo>
                    <a:pt x="319" y="254"/>
                    <a:pt x="319" y="253"/>
                    <a:pt x="319" y="253"/>
                  </a:cubicBezTo>
                  <a:cubicBezTo>
                    <a:pt x="318" y="254"/>
                    <a:pt x="317" y="254"/>
                    <a:pt x="317" y="255"/>
                  </a:cubicBezTo>
                  <a:cubicBezTo>
                    <a:pt x="316" y="256"/>
                    <a:pt x="317" y="256"/>
                    <a:pt x="318" y="255"/>
                  </a:cubicBezTo>
                  <a:close/>
                  <a:moveTo>
                    <a:pt x="380" y="219"/>
                  </a:moveTo>
                  <a:cubicBezTo>
                    <a:pt x="379" y="218"/>
                    <a:pt x="377" y="222"/>
                    <a:pt x="379" y="222"/>
                  </a:cubicBezTo>
                  <a:cubicBezTo>
                    <a:pt x="380" y="222"/>
                    <a:pt x="382" y="220"/>
                    <a:pt x="380" y="219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33BB44F3-26E7-5845-94BA-3B7D0BB5569C}"/>
              </a:ext>
            </a:extLst>
          </p:cNvPr>
          <p:cNvGrpSpPr/>
          <p:nvPr userDrawn="1"/>
        </p:nvGrpSpPr>
        <p:grpSpPr>
          <a:xfrm>
            <a:off x="2732557" y="1008360"/>
            <a:ext cx="2209680" cy="1014433"/>
            <a:chOff x="2533628" y="1344613"/>
            <a:chExt cx="2463525" cy="1242258"/>
          </a:xfrm>
          <a:solidFill>
            <a:schemeClr val="tx2"/>
          </a:solidFill>
        </p:grpSpPr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02CE7680-625F-9041-8A9D-FC918E8107EC}"/>
                </a:ext>
              </a:extLst>
            </p:cNvPr>
            <p:cNvGrpSpPr/>
            <p:nvPr userDrawn="1"/>
          </p:nvGrpSpPr>
          <p:grpSpPr>
            <a:xfrm>
              <a:off x="2533628" y="1344613"/>
              <a:ext cx="1448345" cy="1043801"/>
              <a:chOff x="2533628" y="1344613"/>
              <a:chExt cx="1448345" cy="1043801"/>
            </a:xfrm>
            <a:grpFill/>
          </p:grpSpPr>
          <p:sp>
            <p:nvSpPr>
              <p:cNvPr id="236" name="Freeform 20112">
                <a:extLst>
                  <a:ext uri="{FF2B5EF4-FFF2-40B4-BE49-F238E27FC236}">
                    <a16:creationId xmlns:a16="http://schemas.microsoft.com/office/drawing/2014/main" id="{47228373-A9D6-1844-8668-920BC5F1BA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70933" y="2121262"/>
                <a:ext cx="267152" cy="135484"/>
              </a:xfrm>
              <a:custGeom>
                <a:avLst/>
                <a:gdLst/>
                <a:ahLst/>
                <a:cxnLst>
                  <a:cxn ang="0">
                    <a:pos x="53" y="8"/>
                  </a:cxn>
                  <a:cxn ang="0">
                    <a:pos x="56" y="10"/>
                  </a:cxn>
                  <a:cxn ang="0">
                    <a:pos x="58" y="16"/>
                  </a:cxn>
                  <a:cxn ang="0">
                    <a:pos x="54" y="19"/>
                  </a:cxn>
                  <a:cxn ang="0">
                    <a:pos x="47" y="22"/>
                  </a:cxn>
                  <a:cxn ang="0">
                    <a:pos x="39" y="26"/>
                  </a:cxn>
                  <a:cxn ang="0">
                    <a:pos x="33" y="29"/>
                  </a:cxn>
                  <a:cxn ang="0">
                    <a:pos x="26" y="28"/>
                  </a:cxn>
                  <a:cxn ang="0">
                    <a:pos x="17" y="25"/>
                  </a:cxn>
                  <a:cxn ang="0">
                    <a:pos x="11" y="24"/>
                  </a:cxn>
                  <a:cxn ang="0">
                    <a:pos x="14" y="23"/>
                  </a:cxn>
                  <a:cxn ang="0">
                    <a:pos x="13" y="19"/>
                  </a:cxn>
                  <a:cxn ang="0">
                    <a:pos x="11" y="17"/>
                  </a:cxn>
                  <a:cxn ang="0">
                    <a:pos x="4" y="16"/>
                  </a:cxn>
                  <a:cxn ang="0">
                    <a:pos x="9" y="15"/>
                  </a:cxn>
                  <a:cxn ang="0">
                    <a:pos x="14" y="15"/>
                  </a:cxn>
                  <a:cxn ang="0">
                    <a:pos x="12" y="13"/>
                  </a:cxn>
                  <a:cxn ang="0">
                    <a:pos x="13" y="11"/>
                  </a:cxn>
                  <a:cxn ang="0">
                    <a:pos x="6" y="11"/>
                  </a:cxn>
                  <a:cxn ang="0">
                    <a:pos x="1" y="10"/>
                  </a:cxn>
                  <a:cxn ang="0">
                    <a:pos x="3" y="9"/>
                  </a:cxn>
                  <a:cxn ang="0">
                    <a:pos x="5" y="7"/>
                  </a:cxn>
                  <a:cxn ang="0">
                    <a:pos x="8" y="5"/>
                  </a:cxn>
                  <a:cxn ang="0">
                    <a:pos x="13" y="6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7" y="5"/>
                  </a:cxn>
                  <a:cxn ang="0">
                    <a:pos x="18" y="10"/>
                  </a:cxn>
                  <a:cxn ang="0">
                    <a:pos x="22" y="9"/>
                  </a:cxn>
                  <a:cxn ang="0">
                    <a:pos x="23" y="7"/>
                  </a:cxn>
                  <a:cxn ang="0">
                    <a:pos x="25" y="6"/>
                  </a:cxn>
                  <a:cxn ang="0">
                    <a:pos x="28" y="7"/>
                  </a:cxn>
                  <a:cxn ang="0">
                    <a:pos x="32" y="5"/>
                  </a:cxn>
                  <a:cxn ang="0">
                    <a:pos x="34" y="6"/>
                  </a:cxn>
                  <a:cxn ang="0">
                    <a:pos x="37" y="6"/>
                  </a:cxn>
                  <a:cxn ang="0">
                    <a:pos x="41" y="4"/>
                  </a:cxn>
                  <a:cxn ang="0">
                    <a:pos x="43" y="3"/>
                  </a:cxn>
                  <a:cxn ang="0">
                    <a:pos x="47" y="2"/>
                  </a:cxn>
                  <a:cxn ang="0">
                    <a:pos x="51" y="3"/>
                  </a:cxn>
                  <a:cxn ang="0">
                    <a:pos x="52" y="4"/>
                  </a:cxn>
                  <a:cxn ang="0">
                    <a:pos x="53" y="7"/>
                  </a:cxn>
                  <a:cxn ang="0">
                    <a:pos x="53" y="8"/>
                  </a:cxn>
                </a:cxnLst>
                <a:rect l="0" t="0" r="r" b="b"/>
                <a:pathLst>
                  <a:path w="59" h="30">
                    <a:moveTo>
                      <a:pt x="53" y="8"/>
                    </a:moveTo>
                    <a:cubicBezTo>
                      <a:pt x="55" y="8"/>
                      <a:pt x="54" y="9"/>
                      <a:pt x="56" y="10"/>
                    </a:cubicBezTo>
                    <a:cubicBezTo>
                      <a:pt x="59" y="10"/>
                      <a:pt x="59" y="14"/>
                      <a:pt x="58" y="16"/>
                    </a:cubicBezTo>
                    <a:cubicBezTo>
                      <a:pt x="56" y="18"/>
                      <a:pt x="56" y="16"/>
                      <a:pt x="54" y="19"/>
                    </a:cubicBezTo>
                    <a:cubicBezTo>
                      <a:pt x="52" y="22"/>
                      <a:pt x="50" y="20"/>
                      <a:pt x="47" y="22"/>
                    </a:cubicBezTo>
                    <a:cubicBezTo>
                      <a:pt x="43" y="24"/>
                      <a:pt x="42" y="26"/>
                      <a:pt x="39" y="26"/>
                    </a:cubicBezTo>
                    <a:cubicBezTo>
                      <a:pt x="35" y="26"/>
                      <a:pt x="37" y="28"/>
                      <a:pt x="33" y="29"/>
                    </a:cubicBezTo>
                    <a:cubicBezTo>
                      <a:pt x="29" y="30"/>
                      <a:pt x="30" y="28"/>
                      <a:pt x="26" y="28"/>
                    </a:cubicBezTo>
                    <a:cubicBezTo>
                      <a:pt x="22" y="28"/>
                      <a:pt x="22" y="25"/>
                      <a:pt x="17" y="25"/>
                    </a:cubicBezTo>
                    <a:cubicBezTo>
                      <a:pt x="12" y="25"/>
                      <a:pt x="11" y="26"/>
                      <a:pt x="11" y="24"/>
                    </a:cubicBezTo>
                    <a:cubicBezTo>
                      <a:pt x="10" y="22"/>
                      <a:pt x="13" y="25"/>
                      <a:pt x="14" y="23"/>
                    </a:cubicBezTo>
                    <a:cubicBezTo>
                      <a:pt x="15" y="22"/>
                      <a:pt x="15" y="20"/>
                      <a:pt x="13" y="19"/>
                    </a:cubicBezTo>
                    <a:cubicBezTo>
                      <a:pt x="12" y="19"/>
                      <a:pt x="14" y="17"/>
                      <a:pt x="11" y="17"/>
                    </a:cubicBezTo>
                    <a:cubicBezTo>
                      <a:pt x="6" y="16"/>
                      <a:pt x="4" y="18"/>
                      <a:pt x="4" y="16"/>
                    </a:cubicBezTo>
                    <a:cubicBezTo>
                      <a:pt x="4" y="15"/>
                      <a:pt x="7" y="16"/>
                      <a:pt x="9" y="15"/>
                    </a:cubicBezTo>
                    <a:cubicBezTo>
                      <a:pt x="10" y="14"/>
                      <a:pt x="11" y="16"/>
                      <a:pt x="14" y="15"/>
                    </a:cubicBezTo>
                    <a:cubicBezTo>
                      <a:pt x="17" y="13"/>
                      <a:pt x="12" y="15"/>
                      <a:pt x="12" y="13"/>
                    </a:cubicBezTo>
                    <a:cubicBezTo>
                      <a:pt x="12" y="12"/>
                      <a:pt x="17" y="11"/>
                      <a:pt x="13" y="11"/>
                    </a:cubicBezTo>
                    <a:cubicBezTo>
                      <a:pt x="9" y="10"/>
                      <a:pt x="9" y="10"/>
                      <a:pt x="6" y="11"/>
                    </a:cubicBezTo>
                    <a:cubicBezTo>
                      <a:pt x="3" y="12"/>
                      <a:pt x="0" y="10"/>
                      <a:pt x="1" y="10"/>
                    </a:cubicBezTo>
                    <a:cubicBezTo>
                      <a:pt x="2" y="9"/>
                      <a:pt x="4" y="10"/>
                      <a:pt x="3" y="9"/>
                    </a:cubicBezTo>
                    <a:cubicBezTo>
                      <a:pt x="3" y="7"/>
                      <a:pt x="5" y="9"/>
                      <a:pt x="5" y="7"/>
                    </a:cubicBezTo>
                    <a:cubicBezTo>
                      <a:pt x="5" y="5"/>
                      <a:pt x="6" y="3"/>
                      <a:pt x="8" y="5"/>
                    </a:cubicBezTo>
                    <a:cubicBezTo>
                      <a:pt x="10" y="6"/>
                      <a:pt x="14" y="8"/>
                      <a:pt x="13" y="6"/>
                    </a:cubicBezTo>
                    <a:cubicBezTo>
                      <a:pt x="12" y="5"/>
                      <a:pt x="9" y="5"/>
                      <a:pt x="8" y="4"/>
                    </a:cubicBezTo>
                    <a:cubicBezTo>
                      <a:pt x="7" y="3"/>
                      <a:pt x="9" y="1"/>
                      <a:pt x="12" y="2"/>
                    </a:cubicBezTo>
                    <a:cubicBezTo>
                      <a:pt x="15" y="3"/>
                      <a:pt x="13" y="3"/>
                      <a:pt x="17" y="5"/>
                    </a:cubicBezTo>
                    <a:cubicBezTo>
                      <a:pt x="20" y="7"/>
                      <a:pt x="17" y="7"/>
                      <a:pt x="18" y="10"/>
                    </a:cubicBezTo>
                    <a:cubicBezTo>
                      <a:pt x="20" y="14"/>
                      <a:pt x="20" y="7"/>
                      <a:pt x="22" y="9"/>
                    </a:cubicBezTo>
                    <a:cubicBezTo>
                      <a:pt x="23" y="11"/>
                      <a:pt x="24" y="9"/>
                      <a:pt x="23" y="7"/>
                    </a:cubicBezTo>
                    <a:cubicBezTo>
                      <a:pt x="22" y="6"/>
                      <a:pt x="24" y="3"/>
                      <a:pt x="25" y="6"/>
                    </a:cubicBezTo>
                    <a:cubicBezTo>
                      <a:pt x="27" y="9"/>
                      <a:pt x="28" y="9"/>
                      <a:pt x="28" y="7"/>
                    </a:cubicBezTo>
                    <a:cubicBezTo>
                      <a:pt x="28" y="5"/>
                      <a:pt x="32" y="3"/>
                      <a:pt x="32" y="5"/>
                    </a:cubicBezTo>
                    <a:cubicBezTo>
                      <a:pt x="33" y="7"/>
                      <a:pt x="34" y="8"/>
                      <a:pt x="34" y="6"/>
                    </a:cubicBezTo>
                    <a:cubicBezTo>
                      <a:pt x="34" y="4"/>
                      <a:pt x="35" y="3"/>
                      <a:pt x="37" y="6"/>
                    </a:cubicBezTo>
                    <a:cubicBezTo>
                      <a:pt x="39" y="8"/>
                      <a:pt x="39" y="3"/>
                      <a:pt x="41" y="4"/>
                    </a:cubicBezTo>
                    <a:cubicBezTo>
                      <a:pt x="43" y="5"/>
                      <a:pt x="44" y="4"/>
                      <a:pt x="43" y="3"/>
                    </a:cubicBezTo>
                    <a:cubicBezTo>
                      <a:pt x="42" y="1"/>
                      <a:pt x="46" y="0"/>
                      <a:pt x="47" y="2"/>
                    </a:cubicBezTo>
                    <a:cubicBezTo>
                      <a:pt x="49" y="6"/>
                      <a:pt x="49" y="3"/>
                      <a:pt x="51" y="3"/>
                    </a:cubicBezTo>
                    <a:cubicBezTo>
                      <a:pt x="53" y="2"/>
                      <a:pt x="54" y="2"/>
                      <a:pt x="52" y="4"/>
                    </a:cubicBezTo>
                    <a:cubicBezTo>
                      <a:pt x="49" y="6"/>
                      <a:pt x="55" y="4"/>
                      <a:pt x="53" y="7"/>
                    </a:cubicBezTo>
                    <a:cubicBezTo>
                      <a:pt x="52" y="7"/>
                      <a:pt x="52" y="8"/>
                      <a:pt x="53" y="8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7" name="Freeform 20116">
                <a:extLst>
                  <a:ext uri="{FF2B5EF4-FFF2-40B4-BE49-F238E27FC236}">
                    <a16:creationId xmlns:a16="http://schemas.microsoft.com/office/drawing/2014/main" id="{30559044-BB5D-B943-BB19-FA3E54950E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3628" y="1344613"/>
                <a:ext cx="1448345" cy="1043801"/>
              </a:xfrm>
              <a:custGeom>
                <a:avLst/>
                <a:gdLst/>
                <a:ahLst/>
                <a:cxnLst>
                  <a:cxn ang="0">
                    <a:pos x="259" y="144"/>
                  </a:cxn>
                  <a:cxn ang="0">
                    <a:pos x="225" y="158"/>
                  </a:cxn>
                  <a:cxn ang="0">
                    <a:pos x="207" y="167"/>
                  </a:cxn>
                  <a:cxn ang="0">
                    <a:pos x="191" y="178"/>
                  </a:cxn>
                  <a:cxn ang="0">
                    <a:pos x="184" y="182"/>
                  </a:cxn>
                  <a:cxn ang="0">
                    <a:pos x="183" y="175"/>
                  </a:cxn>
                  <a:cxn ang="0">
                    <a:pos x="179" y="182"/>
                  </a:cxn>
                  <a:cxn ang="0">
                    <a:pos x="171" y="187"/>
                  </a:cxn>
                  <a:cxn ang="0">
                    <a:pos x="168" y="195"/>
                  </a:cxn>
                  <a:cxn ang="0">
                    <a:pos x="160" y="207"/>
                  </a:cxn>
                  <a:cxn ang="0">
                    <a:pos x="158" y="223"/>
                  </a:cxn>
                  <a:cxn ang="0">
                    <a:pos x="149" y="229"/>
                  </a:cxn>
                  <a:cxn ang="0">
                    <a:pos x="141" y="220"/>
                  </a:cxn>
                  <a:cxn ang="0">
                    <a:pos x="130" y="221"/>
                  </a:cxn>
                  <a:cxn ang="0">
                    <a:pos x="123" y="213"/>
                  </a:cxn>
                  <a:cxn ang="0">
                    <a:pos x="115" y="202"/>
                  </a:cxn>
                  <a:cxn ang="0">
                    <a:pos x="117" y="192"/>
                  </a:cxn>
                  <a:cxn ang="0">
                    <a:pos x="113" y="191"/>
                  </a:cxn>
                  <a:cxn ang="0">
                    <a:pos x="105" y="181"/>
                  </a:cxn>
                  <a:cxn ang="0">
                    <a:pos x="102" y="162"/>
                  </a:cxn>
                  <a:cxn ang="0">
                    <a:pos x="114" y="155"/>
                  </a:cxn>
                  <a:cxn ang="0">
                    <a:pos x="111" y="142"/>
                  </a:cxn>
                  <a:cxn ang="0">
                    <a:pos x="115" y="137"/>
                  </a:cxn>
                  <a:cxn ang="0">
                    <a:pos x="100" y="127"/>
                  </a:cxn>
                  <a:cxn ang="0">
                    <a:pos x="93" y="118"/>
                  </a:cxn>
                  <a:cxn ang="0">
                    <a:pos x="85" y="102"/>
                  </a:cxn>
                  <a:cxn ang="0">
                    <a:pos x="64" y="82"/>
                  </a:cxn>
                  <a:cxn ang="0">
                    <a:pos x="37" y="81"/>
                  </a:cxn>
                  <a:cxn ang="0">
                    <a:pos x="11" y="74"/>
                  </a:cxn>
                  <a:cxn ang="0">
                    <a:pos x="14" y="66"/>
                  </a:cxn>
                  <a:cxn ang="0">
                    <a:pos x="26" y="51"/>
                  </a:cxn>
                  <a:cxn ang="0">
                    <a:pos x="41" y="32"/>
                  </a:cxn>
                  <a:cxn ang="0">
                    <a:pos x="101" y="17"/>
                  </a:cxn>
                  <a:cxn ang="0">
                    <a:pos x="120" y="14"/>
                  </a:cxn>
                  <a:cxn ang="0">
                    <a:pos x="145" y="11"/>
                  </a:cxn>
                  <a:cxn ang="0">
                    <a:pos x="137" y="9"/>
                  </a:cxn>
                  <a:cxn ang="0">
                    <a:pos x="183" y="7"/>
                  </a:cxn>
                  <a:cxn ang="0">
                    <a:pos x="225" y="2"/>
                  </a:cxn>
                  <a:cxn ang="0">
                    <a:pos x="233" y="7"/>
                  </a:cxn>
                  <a:cxn ang="0">
                    <a:pos x="258" y="17"/>
                  </a:cxn>
                  <a:cxn ang="0">
                    <a:pos x="246" y="23"/>
                  </a:cxn>
                  <a:cxn ang="0">
                    <a:pos x="267" y="28"/>
                  </a:cxn>
                  <a:cxn ang="0">
                    <a:pos x="317" y="25"/>
                  </a:cxn>
                  <a:cxn ang="0">
                    <a:pos x="280" y="35"/>
                  </a:cxn>
                  <a:cxn ang="0">
                    <a:pos x="276" y="42"/>
                  </a:cxn>
                  <a:cxn ang="0">
                    <a:pos x="277" y="53"/>
                  </a:cxn>
                  <a:cxn ang="0">
                    <a:pos x="279" y="66"/>
                  </a:cxn>
                  <a:cxn ang="0">
                    <a:pos x="271" y="75"/>
                  </a:cxn>
                  <a:cxn ang="0">
                    <a:pos x="279" y="85"/>
                  </a:cxn>
                  <a:cxn ang="0">
                    <a:pos x="280" y="100"/>
                  </a:cxn>
                  <a:cxn ang="0">
                    <a:pos x="268" y="109"/>
                  </a:cxn>
                  <a:cxn ang="0">
                    <a:pos x="257" y="121"/>
                  </a:cxn>
                  <a:cxn ang="0">
                    <a:pos x="268" y="128"/>
                  </a:cxn>
                  <a:cxn ang="0">
                    <a:pos x="251" y="128"/>
                  </a:cxn>
                  <a:cxn ang="0">
                    <a:pos x="238" y="132"/>
                  </a:cxn>
                  <a:cxn ang="0">
                    <a:pos x="238" y="139"/>
                  </a:cxn>
                </a:cxnLst>
                <a:rect l="0" t="0" r="r" b="b"/>
                <a:pathLst>
                  <a:path w="321" h="231">
                    <a:moveTo>
                      <a:pt x="246" y="139"/>
                    </a:moveTo>
                    <a:cubicBezTo>
                      <a:pt x="251" y="135"/>
                      <a:pt x="254" y="141"/>
                      <a:pt x="260" y="141"/>
                    </a:cubicBezTo>
                    <a:cubicBezTo>
                      <a:pt x="266" y="140"/>
                      <a:pt x="268" y="140"/>
                      <a:pt x="264" y="142"/>
                    </a:cubicBezTo>
                    <a:cubicBezTo>
                      <a:pt x="260" y="143"/>
                      <a:pt x="263" y="144"/>
                      <a:pt x="259" y="144"/>
                    </a:cubicBezTo>
                    <a:cubicBezTo>
                      <a:pt x="256" y="144"/>
                      <a:pt x="260" y="146"/>
                      <a:pt x="256" y="147"/>
                    </a:cubicBezTo>
                    <a:cubicBezTo>
                      <a:pt x="252" y="147"/>
                      <a:pt x="250" y="149"/>
                      <a:pt x="248" y="152"/>
                    </a:cubicBezTo>
                    <a:cubicBezTo>
                      <a:pt x="246" y="154"/>
                      <a:pt x="238" y="154"/>
                      <a:pt x="232" y="156"/>
                    </a:cubicBezTo>
                    <a:cubicBezTo>
                      <a:pt x="226" y="159"/>
                      <a:pt x="226" y="155"/>
                      <a:pt x="225" y="158"/>
                    </a:cubicBezTo>
                    <a:cubicBezTo>
                      <a:pt x="224" y="160"/>
                      <a:pt x="220" y="160"/>
                      <a:pt x="218" y="159"/>
                    </a:cubicBezTo>
                    <a:cubicBezTo>
                      <a:pt x="215" y="158"/>
                      <a:pt x="209" y="153"/>
                      <a:pt x="213" y="157"/>
                    </a:cubicBezTo>
                    <a:cubicBezTo>
                      <a:pt x="216" y="160"/>
                      <a:pt x="215" y="161"/>
                      <a:pt x="213" y="161"/>
                    </a:cubicBezTo>
                    <a:cubicBezTo>
                      <a:pt x="211" y="161"/>
                      <a:pt x="208" y="163"/>
                      <a:pt x="207" y="167"/>
                    </a:cubicBezTo>
                    <a:cubicBezTo>
                      <a:pt x="207" y="170"/>
                      <a:pt x="200" y="176"/>
                      <a:pt x="197" y="176"/>
                    </a:cubicBezTo>
                    <a:cubicBezTo>
                      <a:pt x="197" y="176"/>
                      <a:pt x="197" y="175"/>
                      <a:pt x="196" y="175"/>
                    </a:cubicBezTo>
                    <a:cubicBezTo>
                      <a:pt x="195" y="175"/>
                      <a:pt x="196" y="177"/>
                      <a:pt x="195" y="177"/>
                    </a:cubicBezTo>
                    <a:cubicBezTo>
                      <a:pt x="194" y="177"/>
                      <a:pt x="192" y="179"/>
                      <a:pt x="191" y="178"/>
                    </a:cubicBezTo>
                    <a:cubicBezTo>
                      <a:pt x="191" y="178"/>
                      <a:pt x="189" y="179"/>
                      <a:pt x="189" y="179"/>
                    </a:cubicBezTo>
                    <a:cubicBezTo>
                      <a:pt x="190" y="180"/>
                      <a:pt x="190" y="181"/>
                      <a:pt x="189" y="180"/>
                    </a:cubicBezTo>
                    <a:cubicBezTo>
                      <a:pt x="188" y="179"/>
                      <a:pt x="188" y="180"/>
                      <a:pt x="187" y="181"/>
                    </a:cubicBezTo>
                    <a:cubicBezTo>
                      <a:pt x="186" y="182"/>
                      <a:pt x="185" y="182"/>
                      <a:pt x="184" y="182"/>
                    </a:cubicBezTo>
                    <a:cubicBezTo>
                      <a:pt x="183" y="181"/>
                      <a:pt x="184" y="179"/>
                      <a:pt x="184" y="178"/>
                    </a:cubicBezTo>
                    <a:cubicBezTo>
                      <a:pt x="184" y="177"/>
                      <a:pt x="186" y="177"/>
                      <a:pt x="186" y="176"/>
                    </a:cubicBezTo>
                    <a:cubicBezTo>
                      <a:pt x="186" y="175"/>
                      <a:pt x="188" y="175"/>
                      <a:pt x="186" y="175"/>
                    </a:cubicBezTo>
                    <a:cubicBezTo>
                      <a:pt x="184" y="175"/>
                      <a:pt x="184" y="174"/>
                      <a:pt x="183" y="175"/>
                    </a:cubicBezTo>
                    <a:cubicBezTo>
                      <a:pt x="183" y="175"/>
                      <a:pt x="186" y="176"/>
                      <a:pt x="184" y="177"/>
                    </a:cubicBezTo>
                    <a:cubicBezTo>
                      <a:pt x="182" y="178"/>
                      <a:pt x="184" y="178"/>
                      <a:pt x="183" y="179"/>
                    </a:cubicBezTo>
                    <a:cubicBezTo>
                      <a:pt x="181" y="180"/>
                      <a:pt x="183" y="180"/>
                      <a:pt x="182" y="181"/>
                    </a:cubicBezTo>
                    <a:cubicBezTo>
                      <a:pt x="182" y="182"/>
                      <a:pt x="181" y="181"/>
                      <a:pt x="179" y="182"/>
                    </a:cubicBezTo>
                    <a:cubicBezTo>
                      <a:pt x="177" y="182"/>
                      <a:pt x="176" y="181"/>
                      <a:pt x="175" y="182"/>
                    </a:cubicBezTo>
                    <a:cubicBezTo>
                      <a:pt x="173" y="183"/>
                      <a:pt x="172" y="182"/>
                      <a:pt x="174" y="183"/>
                    </a:cubicBezTo>
                    <a:cubicBezTo>
                      <a:pt x="176" y="184"/>
                      <a:pt x="176" y="185"/>
                      <a:pt x="175" y="184"/>
                    </a:cubicBezTo>
                    <a:cubicBezTo>
                      <a:pt x="173" y="184"/>
                      <a:pt x="173" y="188"/>
                      <a:pt x="171" y="187"/>
                    </a:cubicBezTo>
                    <a:cubicBezTo>
                      <a:pt x="169" y="186"/>
                      <a:pt x="165" y="186"/>
                      <a:pt x="168" y="189"/>
                    </a:cubicBezTo>
                    <a:cubicBezTo>
                      <a:pt x="171" y="192"/>
                      <a:pt x="171" y="193"/>
                      <a:pt x="170" y="193"/>
                    </a:cubicBezTo>
                    <a:cubicBezTo>
                      <a:pt x="168" y="192"/>
                      <a:pt x="168" y="194"/>
                      <a:pt x="166" y="193"/>
                    </a:cubicBezTo>
                    <a:cubicBezTo>
                      <a:pt x="164" y="192"/>
                      <a:pt x="165" y="195"/>
                      <a:pt x="168" y="195"/>
                    </a:cubicBezTo>
                    <a:cubicBezTo>
                      <a:pt x="171" y="195"/>
                      <a:pt x="169" y="195"/>
                      <a:pt x="170" y="197"/>
                    </a:cubicBezTo>
                    <a:cubicBezTo>
                      <a:pt x="170" y="200"/>
                      <a:pt x="167" y="200"/>
                      <a:pt x="167" y="202"/>
                    </a:cubicBezTo>
                    <a:cubicBezTo>
                      <a:pt x="167" y="205"/>
                      <a:pt x="165" y="200"/>
                      <a:pt x="165" y="203"/>
                    </a:cubicBezTo>
                    <a:cubicBezTo>
                      <a:pt x="164" y="207"/>
                      <a:pt x="160" y="205"/>
                      <a:pt x="160" y="207"/>
                    </a:cubicBezTo>
                    <a:cubicBezTo>
                      <a:pt x="159" y="208"/>
                      <a:pt x="161" y="207"/>
                      <a:pt x="161" y="209"/>
                    </a:cubicBezTo>
                    <a:cubicBezTo>
                      <a:pt x="162" y="211"/>
                      <a:pt x="157" y="207"/>
                      <a:pt x="159" y="210"/>
                    </a:cubicBezTo>
                    <a:cubicBezTo>
                      <a:pt x="160" y="212"/>
                      <a:pt x="161" y="209"/>
                      <a:pt x="161" y="212"/>
                    </a:cubicBezTo>
                    <a:cubicBezTo>
                      <a:pt x="162" y="215"/>
                      <a:pt x="157" y="221"/>
                      <a:pt x="158" y="223"/>
                    </a:cubicBezTo>
                    <a:cubicBezTo>
                      <a:pt x="159" y="225"/>
                      <a:pt x="156" y="225"/>
                      <a:pt x="155" y="226"/>
                    </a:cubicBezTo>
                    <a:cubicBezTo>
                      <a:pt x="154" y="228"/>
                      <a:pt x="157" y="225"/>
                      <a:pt x="157" y="228"/>
                    </a:cubicBezTo>
                    <a:cubicBezTo>
                      <a:pt x="157" y="231"/>
                      <a:pt x="155" y="231"/>
                      <a:pt x="153" y="230"/>
                    </a:cubicBezTo>
                    <a:cubicBezTo>
                      <a:pt x="151" y="228"/>
                      <a:pt x="151" y="227"/>
                      <a:pt x="149" y="229"/>
                    </a:cubicBezTo>
                    <a:cubicBezTo>
                      <a:pt x="148" y="230"/>
                      <a:pt x="145" y="230"/>
                      <a:pt x="146" y="227"/>
                    </a:cubicBezTo>
                    <a:cubicBezTo>
                      <a:pt x="149" y="224"/>
                      <a:pt x="145" y="227"/>
                      <a:pt x="143" y="226"/>
                    </a:cubicBezTo>
                    <a:cubicBezTo>
                      <a:pt x="140" y="224"/>
                      <a:pt x="140" y="224"/>
                      <a:pt x="142" y="222"/>
                    </a:cubicBezTo>
                    <a:cubicBezTo>
                      <a:pt x="144" y="220"/>
                      <a:pt x="141" y="218"/>
                      <a:pt x="141" y="220"/>
                    </a:cubicBezTo>
                    <a:cubicBezTo>
                      <a:pt x="142" y="221"/>
                      <a:pt x="139" y="221"/>
                      <a:pt x="138" y="223"/>
                    </a:cubicBezTo>
                    <a:cubicBezTo>
                      <a:pt x="136" y="224"/>
                      <a:pt x="137" y="221"/>
                      <a:pt x="134" y="223"/>
                    </a:cubicBezTo>
                    <a:cubicBezTo>
                      <a:pt x="131" y="225"/>
                      <a:pt x="130" y="224"/>
                      <a:pt x="130" y="222"/>
                    </a:cubicBezTo>
                    <a:cubicBezTo>
                      <a:pt x="129" y="221"/>
                      <a:pt x="131" y="222"/>
                      <a:pt x="130" y="221"/>
                    </a:cubicBezTo>
                    <a:cubicBezTo>
                      <a:pt x="130" y="219"/>
                      <a:pt x="127" y="221"/>
                      <a:pt x="128" y="219"/>
                    </a:cubicBezTo>
                    <a:cubicBezTo>
                      <a:pt x="129" y="217"/>
                      <a:pt x="124" y="219"/>
                      <a:pt x="125" y="217"/>
                    </a:cubicBezTo>
                    <a:cubicBezTo>
                      <a:pt x="126" y="215"/>
                      <a:pt x="126" y="215"/>
                      <a:pt x="124" y="215"/>
                    </a:cubicBezTo>
                    <a:cubicBezTo>
                      <a:pt x="123" y="216"/>
                      <a:pt x="125" y="212"/>
                      <a:pt x="123" y="213"/>
                    </a:cubicBezTo>
                    <a:cubicBezTo>
                      <a:pt x="121" y="214"/>
                      <a:pt x="124" y="211"/>
                      <a:pt x="121" y="210"/>
                    </a:cubicBezTo>
                    <a:cubicBezTo>
                      <a:pt x="119" y="209"/>
                      <a:pt x="119" y="209"/>
                      <a:pt x="119" y="208"/>
                    </a:cubicBezTo>
                    <a:cubicBezTo>
                      <a:pt x="119" y="206"/>
                      <a:pt x="117" y="205"/>
                      <a:pt x="118" y="204"/>
                    </a:cubicBezTo>
                    <a:cubicBezTo>
                      <a:pt x="118" y="202"/>
                      <a:pt x="116" y="204"/>
                      <a:pt x="115" y="202"/>
                    </a:cubicBezTo>
                    <a:cubicBezTo>
                      <a:pt x="114" y="200"/>
                      <a:pt x="112" y="198"/>
                      <a:pt x="113" y="197"/>
                    </a:cubicBezTo>
                    <a:cubicBezTo>
                      <a:pt x="114" y="196"/>
                      <a:pt x="111" y="196"/>
                      <a:pt x="113" y="195"/>
                    </a:cubicBezTo>
                    <a:cubicBezTo>
                      <a:pt x="114" y="195"/>
                      <a:pt x="110" y="194"/>
                      <a:pt x="114" y="194"/>
                    </a:cubicBezTo>
                    <a:cubicBezTo>
                      <a:pt x="117" y="194"/>
                      <a:pt x="113" y="192"/>
                      <a:pt x="117" y="192"/>
                    </a:cubicBezTo>
                    <a:cubicBezTo>
                      <a:pt x="120" y="192"/>
                      <a:pt x="115" y="191"/>
                      <a:pt x="117" y="190"/>
                    </a:cubicBezTo>
                    <a:cubicBezTo>
                      <a:pt x="119" y="189"/>
                      <a:pt x="121" y="193"/>
                      <a:pt x="121" y="191"/>
                    </a:cubicBezTo>
                    <a:cubicBezTo>
                      <a:pt x="120" y="189"/>
                      <a:pt x="118" y="188"/>
                      <a:pt x="116" y="190"/>
                    </a:cubicBezTo>
                    <a:cubicBezTo>
                      <a:pt x="114" y="191"/>
                      <a:pt x="116" y="186"/>
                      <a:pt x="113" y="191"/>
                    </a:cubicBezTo>
                    <a:cubicBezTo>
                      <a:pt x="110" y="196"/>
                      <a:pt x="109" y="192"/>
                      <a:pt x="110" y="190"/>
                    </a:cubicBezTo>
                    <a:cubicBezTo>
                      <a:pt x="110" y="188"/>
                      <a:pt x="109" y="190"/>
                      <a:pt x="109" y="187"/>
                    </a:cubicBezTo>
                    <a:cubicBezTo>
                      <a:pt x="109" y="185"/>
                      <a:pt x="107" y="186"/>
                      <a:pt x="107" y="184"/>
                    </a:cubicBezTo>
                    <a:cubicBezTo>
                      <a:pt x="108" y="182"/>
                      <a:pt x="106" y="181"/>
                      <a:pt x="105" y="181"/>
                    </a:cubicBezTo>
                    <a:cubicBezTo>
                      <a:pt x="103" y="181"/>
                      <a:pt x="105" y="180"/>
                      <a:pt x="102" y="178"/>
                    </a:cubicBezTo>
                    <a:cubicBezTo>
                      <a:pt x="100" y="176"/>
                      <a:pt x="102" y="172"/>
                      <a:pt x="106" y="170"/>
                    </a:cubicBezTo>
                    <a:cubicBezTo>
                      <a:pt x="102" y="170"/>
                      <a:pt x="99" y="170"/>
                      <a:pt x="100" y="167"/>
                    </a:cubicBezTo>
                    <a:cubicBezTo>
                      <a:pt x="101" y="164"/>
                      <a:pt x="102" y="163"/>
                      <a:pt x="102" y="162"/>
                    </a:cubicBezTo>
                    <a:cubicBezTo>
                      <a:pt x="101" y="161"/>
                      <a:pt x="106" y="160"/>
                      <a:pt x="104" y="159"/>
                    </a:cubicBezTo>
                    <a:cubicBezTo>
                      <a:pt x="102" y="157"/>
                      <a:pt x="104" y="158"/>
                      <a:pt x="103" y="157"/>
                    </a:cubicBezTo>
                    <a:cubicBezTo>
                      <a:pt x="103" y="156"/>
                      <a:pt x="106" y="157"/>
                      <a:pt x="107" y="155"/>
                    </a:cubicBezTo>
                    <a:cubicBezTo>
                      <a:pt x="109" y="154"/>
                      <a:pt x="111" y="156"/>
                      <a:pt x="114" y="155"/>
                    </a:cubicBezTo>
                    <a:cubicBezTo>
                      <a:pt x="117" y="154"/>
                      <a:pt x="114" y="154"/>
                      <a:pt x="114" y="151"/>
                    </a:cubicBezTo>
                    <a:cubicBezTo>
                      <a:pt x="115" y="149"/>
                      <a:pt x="117" y="146"/>
                      <a:pt x="117" y="144"/>
                    </a:cubicBezTo>
                    <a:cubicBezTo>
                      <a:pt x="116" y="142"/>
                      <a:pt x="115" y="147"/>
                      <a:pt x="114" y="145"/>
                    </a:cubicBezTo>
                    <a:cubicBezTo>
                      <a:pt x="113" y="144"/>
                      <a:pt x="117" y="142"/>
                      <a:pt x="111" y="142"/>
                    </a:cubicBezTo>
                    <a:cubicBezTo>
                      <a:pt x="106" y="141"/>
                      <a:pt x="108" y="138"/>
                      <a:pt x="103" y="138"/>
                    </a:cubicBezTo>
                    <a:cubicBezTo>
                      <a:pt x="100" y="138"/>
                      <a:pt x="96" y="136"/>
                      <a:pt x="97" y="135"/>
                    </a:cubicBezTo>
                    <a:cubicBezTo>
                      <a:pt x="99" y="133"/>
                      <a:pt x="107" y="134"/>
                      <a:pt x="109" y="135"/>
                    </a:cubicBezTo>
                    <a:cubicBezTo>
                      <a:pt x="112" y="137"/>
                      <a:pt x="116" y="138"/>
                      <a:pt x="115" y="137"/>
                    </a:cubicBezTo>
                    <a:cubicBezTo>
                      <a:pt x="114" y="136"/>
                      <a:pt x="113" y="135"/>
                      <a:pt x="115" y="133"/>
                    </a:cubicBezTo>
                    <a:cubicBezTo>
                      <a:pt x="115" y="133"/>
                      <a:pt x="107" y="132"/>
                      <a:pt x="108" y="130"/>
                    </a:cubicBezTo>
                    <a:cubicBezTo>
                      <a:pt x="110" y="127"/>
                      <a:pt x="104" y="129"/>
                      <a:pt x="107" y="127"/>
                    </a:cubicBezTo>
                    <a:cubicBezTo>
                      <a:pt x="109" y="126"/>
                      <a:pt x="102" y="123"/>
                      <a:pt x="100" y="127"/>
                    </a:cubicBezTo>
                    <a:cubicBezTo>
                      <a:pt x="99" y="131"/>
                      <a:pt x="95" y="127"/>
                      <a:pt x="93" y="128"/>
                    </a:cubicBezTo>
                    <a:cubicBezTo>
                      <a:pt x="92" y="129"/>
                      <a:pt x="91" y="127"/>
                      <a:pt x="90" y="126"/>
                    </a:cubicBezTo>
                    <a:cubicBezTo>
                      <a:pt x="89" y="124"/>
                      <a:pt x="95" y="125"/>
                      <a:pt x="93" y="123"/>
                    </a:cubicBezTo>
                    <a:cubicBezTo>
                      <a:pt x="90" y="120"/>
                      <a:pt x="90" y="118"/>
                      <a:pt x="93" y="118"/>
                    </a:cubicBezTo>
                    <a:cubicBezTo>
                      <a:pt x="96" y="117"/>
                      <a:pt x="98" y="113"/>
                      <a:pt x="93" y="112"/>
                    </a:cubicBezTo>
                    <a:cubicBezTo>
                      <a:pt x="89" y="111"/>
                      <a:pt x="96" y="109"/>
                      <a:pt x="92" y="107"/>
                    </a:cubicBezTo>
                    <a:cubicBezTo>
                      <a:pt x="86" y="105"/>
                      <a:pt x="93" y="105"/>
                      <a:pt x="89" y="103"/>
                    </a:cubicBezTo>
                    <a:cubicBezTo>
                      <a:pt x="87" y="102"/>
                      <a:pt x="89" y="100"/>
                      <a:pt x="85" y="102"/>
                    </a:cubicBezTo>
                    <a:cubicBezTo>
                      <a:pt x="80" y="103"/>
                      <a:pt x="85" y="100"/>
                      <a:pt x="86" y="98"/>
                    </a:cubicBezTo>
                    <a:cubicBezTo>
                      <a:pt x="87" y="96"/>
                      <a:pt x="74" y="91"/>
                      <a:pt x="76" y="89"/>
                    </a:cubicBezTo>
                    <a:cubicBezTo>
                      <a:pt x="79" y="87"/>
                      <a:pt x="76" y="87"/>
                      <a:pt x="71" y="84"/>
                    </a:cubicBezTo>
                    <a:cubicBezTo>
                      <a:pt x="66" y="82"/>
                      <a:pt x="66" y="84"/>
                      <a:pt x="64" y="82"/>
                    </a:cubicBezTo>
                    <a:cubicBezTo>
                      <a:pt x="62" y="80"/>
                      <a:pt x="57" y="82"/>
                      <a:pt x="53" y="80"/>
                    </a:cubicBezTo>
                    <a:cubicBezTo>
                      <a:pt x="49" y="79"/>
                      <a:pt x="50" y="84"/>
                      <a:pt x="47" y="81"/>
                    </a:cubicBezTo>
                    <a:cubicBezTo>
                      <a:pt x="44" y="79"/>
                      <a:pt x="45" y="83"/>
                      <a:pt x="40" y="83"/>
                    </a:cubicBezTo>
                    <a:cubicBezTo>
                      <a:pt x="36" y="82"/>
                      <a:pt x="41" y="79"/>
                      <a:pt x="37" y="81"/>
                    </a:cubicBezTo>
                    <a:cubicBezTo>
                      <a:pt x="32" y="83"/>
                      <a:pt x="34" y="79"/>
                      <a:pt x="32" y="80"/>
                    </a:cubicBezTo>
                    <a:cubicBezTo>
                      <a:pt x="29" y="81"/>
                      <a:pt x="38" y="86"/>
                      <a:pt x="31" y="83"/>
                    </a:cubicBezTo>
                    <a:cubicBezTo>
                      <a:pt x="23" y="81"/>
                      <a:pt x="15" y="80"/>
                      <a:pt x="21" y="78"/>
                    </a:cubicBezTo>
                    <a:cubicBezTo>
                      <a:pt x="27" y="76"/>
                      <a:pt x="15" y="76"/>
                      <a:pt x="11" y="74"/>
                    </a:cubicBezTo>
                    <a:cubicBezTo>
                      <a:pt x="6" y="72"/>
                      <a:pt x="16" y="70"/>
                      <a:pt x="24" y="69"/>
                    </a:cubicBezTo>
                    <a:cubicBezTo>
                      <a:pt x="32" y="69"/>
                      <a:pt x="38" y="69"/>
                      <a:pt x="37" y="67"/>
                    </a:cubicBezTo>
                    <a:cubicBezTo>
                      <a:pt x="36" y="65"/>
                      <a:pt x="30" y="68"/>
                      <a:pt x="24" y="68"/>
                    </a:cubicBezTo>
                    <a:cubicBezTo>
                      <a:pt x="18" y="68"/>
                      <a:pt x="16" y="68"/>
                      <a:pt x="14" y="66"/>
                    </a:cubicBezTo>
                    <a:cubicBezTo>
                      <a:pt x="12" y="64"/>
                      <a:pt x="11" y="66"/>
                      <a:pt x="9" y="64"/>
                    </a:cubicBezTo>
                    <a:cubicBezTo>
                      <a:pt x="7" y="63"/>
                      <a:pt x="6" y="65"/>
                      <a:pt x="3" y="62"/>
                    </a:cubicBezTo>
                    <a:cubicBezTo>
                      <a:pt x="0" y="59"/>
                      <a:pt x="1" y="57"/>
                      <a:pt x="13" y="55"/>
                    </a:cubicBezTo>
                    <a:cubicBezTo>
                      <a:pt x="24" y="53"/>
                      <a:pt x="19" y="52"/>
                      <a:pt x="26" y="51"/>
                    </a:cubicBezTo>
                    <a:cubicBezTo>
                      <a:pt x="33" y="50"/>
                      <a:pt x="37" y="53"/>
                      <a:pt x="40" y="49"/>
                    </a:cubicBezTo>
                    <a:cubicBezTo>
                      <a:pt x="44" y="45"/>
                      <a:pt x="44" y="40"/>
                      <a:pt x="41" y="41"/>
                    </a:cubicBezTo>
                    <a:cubicBezTo>
                      <a:pt x="38" y="41"/>
                      <a:pt x="32" y="41"/>
                      <a:pt x="30" y="39"/>
                    </a:cubicBezTo>
                    <a:cubicBezTo>
                      <a:pt x="29" y="37"/>
                      <a:pt x="36" y="35"/>
                      <a:pt x="41" y="32"/>
                    </a:cubicBezTo>
                    <a:cubicBezTo>
                      <a:pt x="46" y="29"/>
                      <a:pt x="52" y="27"/>
                      <a:pt x="59" y="29"/>
                    </a:cubicBezTo>
                    <a:cubicBezTo>
                      <a:pt x="64" y="30"/>
                      <a:pt x="65" y="27"/>
                      <a:pt x="62" y="24"/>
                    </a:cubicBezTo>
                    <a:cubicBezTo>
                      <a:pt x="60" y="21"/>
                      <a:pt x="64" y="19"/>
                      <a:pt x="79" y="18"/>
                    </a:cubicBezTo>
                    <a:cubicBezTo>
                      <a:pt x="95" y="16"/>
                      <a:pt x="97" y="13"/>
                      <a:pt x="101" y="17"/>
                    </a:cubicBezTo>
                    <a:cubicBezTo>
                      <a:pt x="105" y="22"/>
                      <a:pt x="98" y="30"/>
                      <a:pt x="103" y="23"/>
                    </a:cubicBezTo>
                    <a:cubicBezTo>
                      <a:pt x="107" y="16"/>
                      <a:pt x="117" y="24"/>
                      <a:pt x="116" y="22"/>
                    </a:cubicBezTo>
                    <a:cubicBezTo>
                      <a:pt x="114" y="18"/>
                      <a:pt x="126" y="23"/>
                      <a:pt x="120" y="19"/>
                    </a:cubicBezTo>
                    <a:cubicBezTo>
                      <a:pt x="113" y="15"/>
                      <a:pt x="112" y="13"/>
                      <a:pt x="120" y="14"/>
                    </a:cubicBezTo>
                    <a:cubicBezTo>
                      <a:pt x="128" y="14"/>
                      <a:pt x="131" y="17"/>
                      <a:pt x="138" y="18"/>
                    </a:cubicBezTo>
                    <a:cubicBezTo>
                      <a:pt x="145" y="19"/>
                      <a:pt x="144" y="23"/>
                      <a:pt x="148" y="22"/>
                    </a:cubicBezTo>
                    <a:cubicBezTo>
                      <a:pt x="152" y="22"/>
                      <a:pt x="145" y="17"/>
                      <a:pt x="151" y="16"/>
                    </a:cubicBezTo>
                    <a:cubicBezTo>
                      <a:pt x="160" y="15"/>
                      <a:pt x="135" y="10"/>
                      <a:pt x="145" y="11"/>
                    </a:cubicBezTo>
                    <a:cubicBezTo>
                      <a:pt x="156" y="11"/>
                      <a:pt x="163" y="11"/>
                      <a:pt x="167" y="12"/>
                    </a:cubicBezTo>
                    <a:cubicBezTo>
                      <a:pt x="172" y="14"/>
                      <a:pt x="177" y="13"/>
                      <a:pt x="171" y="12"/>
                    </a:cubicBezTo>
                    <a:cubicBezTo>
                      <a:pt x="166" y="11"/>
                      <a:pt x="160" y="10"/>
                      <a:pt x="153" y="10"/>
                    </a:cubicBezTo>
                    <a:cubicBezTo>
                      <a:pt x="146" y="9"/>
                      <a:pt x="138" y="10"/>
                      <a:pt x="137" y="9"/>
                    </a:cubicBezTo>
                    <a:cubicBezTo>
                      <a:pt x="136" y="7"/>
                      <a:pt x="144" y="7"/>
                      <a:pt x="151" y="6"/>
                    </a:cubicBezTo>
                    <a:cubicBezTo>
                      <a:pt x="158" y="5"/>
                      <a:pt x="163" y="6"/>
                      <a:pt x="167" y="8"/>
                    </a:cubicBezTo>
                    <a:cubicBezTo>
                      <a:pt x="171" y="10"/>
                      <a:pt x="178" y="9"/>
                      <a:pt x="179" y="8"/>
                    </a:cubicBezTo>
                    <a:cubicBezTo>
                      <a:pt x="180" y="8"/>
                      <a:pt x="188" y="7"/>
                      <a:pt x="183" y="7"/>
                    </a:cubicBezTo>
                    <a:cubicBezTo>
                      <a:pt x="178" y="6"/>
                      <a:pt x="177" y="3"/>
                      <a:pt x="180" y="3"/>
                    </a:cubicBezTo>
                    <a:cubicBezTo>
                      <a:pt x="184" y="3"/>
                      <a:pt x="183" y="2"/>
                      <a:pt x="188" y="3"/>
                    </a:cubicBezTo>
                    <a:cubicBezTo>
                      <a:pt x="193" y="4"/>
                      <a:pt x="186" y="1"/>
                      <a:pt x="196" y="2"/>
                    </a:cubicBezTo>
                    <a:cubicBezTo>
                      <a:pt x="206" y="2"/>
                      <a:pt x="208" y="0"/>
                      <a:pt x="225" y="2"/>
                    </a:cubicBezTo>
                    <a:cubicBezTo>
                      <a:pt x="236" y="3"/>
                      <a:pt x="252" y="5"/>
                      <a:pt x="247" y="5"/>
                    </a:cubicBezTo>
                    <a:cubicBezTo>
                      <a:pt x="242" y="6"/>
                      <a:pt x="225" y="6"/>
                      <a:pt x="220" y="7"/>
                    </a:cubicBezTo>
                    <a:cubicBezTo>
                      <a:pt x="215" y="8"/>
                      <a:pt x="206" y="8"/>
                      <a:pt x="213" y="9"/>
                    </a:cubicBezTo>
                    <a:cubicBezTo>
                      <a:pt x="221" y="10"/>
                      <a:pt x="223" y="6"/>
                      <a:pt x="233" y="7"/>
                    </a:cubicBezTo>
                    <a:cubicBezTo>
                      <a:pt x="244" y="9"/>
                      <a:pt x="248" y="5"/>
                      <a:pt x="251" y="7"/>
                    </a:cubicBezTo>
                    <a:cubicBezTo>
                      <a:pt x="255" y="9"/>
                      <a:pt x="244" y="12"/>
                      <a:pt x="251" y="10"/>
                    </a:cubicBezTo>
                    <a:cubicBezTo>
                      <a:pt x="258" y="9"/>
                      <a:pt x="263" y="11"/>
                      <a:pt x="268" y="12"/>
                    </a:cubicBezTo>
                    <a:cubicBezTo>
                      <a:pt x="273" y="13"/>
                      <a:pt x="264" y="16"/>
                      <a:pt x="258" y="17"/>
                    </a:cubicBezTo>
                    <a:cubicBezTo>
                      <a:pt x="249" y="19"/>
                      <a:pt x="237" y="17"/>
                      <a:pt x="227" y="18"/>
                    </a:cubicBezTo>
                    <a:cubicBezTo>
                      <a:pt x="217" y="20"/>
                      <a:pt x="206" y="21"/>
                      <a:pt x="209" y="24"/>
                    </a:cubicBezTo>
                    <a:cubicBezTo>
                      <a:pt x="211" y="25"/>
                      <a:pt x="227" y="19"/>
                      <a:pt x="241" y="19"/>
                    </a:cubicBezTo>
                    <a:cubicBezTo>
                      <a:pt x="254" y="20"/>
                      <a:pt x="251" y="21"/>
                      <a:pt x="246" y="23"/>
                    </a:cubicBezTo>
                    <a:cubicBezTo>
                      <a:pt x="241" y="25"/>
                      <a:pt x="247" y="25"/>
                      <a:pt x="252" y="23"/>
                    </a:cubicBezTo>
                    <a:cubicBezTo>
                      <a:pt x="258" y="22"/>
                      <a:pt x="252" y="19"/>
                      <a:pt x="261" y="19"/>
                    </a:cubicBezTo>
                    <a:cubicBezTo>
                      <a:pt x="270" y="19"/>
                      <a:pt x="268" y="24"/>
                      <a:pt x="261" y="29"/>
                    </a:cubicBezTo>
                    <a:cubicBezTo>
                      <a:pt x="254" y="34"/>
                      <a:pt x="259" y="34"/>
                      <a:pt x="267" y="28"/>
                    </a:cubicBezTo>
                    <a:cubicBezTo>
                      <a:pt x="275" y="23"/>
                      <a:pt x="279" y="22"/>
                      <a:pt x="277" y="24"/>
                    </a:cubicBezTo>
                    <a:cubicBezTo>
                      <a:pt x="275" y="26"/>
                      <a:pt x="280" y="24"/>
                      <a:pt x="284" y="25"/>
                    </a:cubicBezTo>
                    <a:cubicBezTo>
                      <a:pt x="288" y="26"/>
                      <a:pt x="286" y="21"/>
                      <a:pt x="294" y="20"/>
                    </a:cubicBezTo>
                    <a:cubicBezTo>
                      <a:pt x="302" y="20"/>
                      <a:pt x="321" y="23"/>
                      <a:pt x="317" y="25"/>
                    </a:cubicBezTo>
                    <a:cubicBezTo>
                      <a:pt x="312" y="27"/>
                      <a:pt x="310" y="29"/>
                      <a:pt x="305" y="29"/>
                    </a:cubicBezTo>
                    <a:cubicBezTo>
                      <a:pt x="298" y="29"/>
                      <a:pt x="309" y="32"/>
                      <a:pt x="303" y="32"/>
                    </a:cubicBezTo>
                    <a:cubicBezTo>
                      <a:pt x="297" y="33"/>
                      <a:pt x="294" y="34"/>
                      <a:pt x="290" y="33"/>
                    </a:cubicBezTo>
                    <a:cubicBezTo>
                      <a:pt x="286" y="32"/>
                      <a:pt x="287" y="35"/>
                      <a:pt x="280" y="35"/>
                    </a:cubicBezTo>
                    <a:cubicBezTo>
                      <a:pt x="273" y="34"/>
                      <a:pt x="285" y="36"/>
                      <a:pt x="289" y="35"/>
                    </a:cubicBezTo>
                    <a:cubicBezTo>
                      <a:pt x="292" y="34"/>
                      <a:pt x="300" y="35"/>
                      <a:pt x="296" y="37"/>
                    </a:cubicBezTo>
                    <a:cubicBezTo>
                      <a:pt x="293" y="38"/>
                      <a:pt x="287" y="40"/>
                      <a:pt x="282" y="38"/>
                    </a:cubicBezTo>
                    <a:cubicBezTo>
                      <a:pt x="277" y="37"/>
                      <a:pt x="270" y="44"/>
                      <a:pt x="276" y="42"/>
                    </a:cubicBezTo>
                    <a:cubicBezTo>
                      <a:pt x="282" y="40"/>
                      <a:pt x="292" y="39"/>
                      <a:pt x="290" y="41"/>
                    </a:cubicBezTo>
                    <a:cubicBezTo>
                      <a:pt x="287" y="44"/>
                      <a:pt x="286" y="44"/>
                      <a:pt x="282" y="44"/>
                    </a:cubicBezTo>
                    <a:cubicBezTo>
                      <a:pt x="278" y="44"/>
                      <a:pt x="278" y="48"/>
                      <a:pt x="281" y="48"/>
                    </a:cubicBezTo>
                    <a:cubicBezTo>
                      <a:pt x="284" y="49"/>
                      <a:pt x="279" y="52"/>
                      <a:pt x="277" y="53"/>
                    </a:cubicBezTo>
                    <a:cubicBezTo>
                      <a:pt x="276" y="54"/>
                      <a:pt x="273" y="51"/>
                      <a:pt x="271" y="56"/>
                    </a:cubicBezTo>
                    <a:cubicBezTo>
                      <a:pt x="270" y="61"/>
                      <a:pt x="265" y="66"/>
                      <a:pt x="268" y="66"/>
                    </a:cubicBezTo>
                    <a:cubicBezTo>
                      <a:pt x="271" y="66"/>
                      <a:pt x="267" y="60"/>
                      <a:pt x="276" y="63"/>
                    </a:cubicBezTo>
                    <a:cubicBezTo>
                      <a:pt x="284" y="66"/>
                      <a:pt x="285" y="68"/>
                      <a:pt x="279" y="66"/>
                    </a:cubicBezTo>
                    <a:cubicBezTo>
                      <a:pt x="273" y="65"/>
                      <a:pt x="271" y="65"/>
                      <a:pt x="277" y="69"/>
                    </a:cubicBezTo>
                    <a:cubicBezTo>
                      <a:pt x="283" y="72"/>
                      <a:pt x="282" y="67"/>
                      <a:pt x="285" y="69"/>
                    </a:cubicBezTo>
                    <a:cubicBezTo>
                      <a:pt x="289" y="72"/>
                      <a:pt x="287" y="77"/>
                      <a:pt x="283" y="75"/>
                    </a:cubicBezTo>
                    <a:cubicBezTo>
                      <a:pt x="280" y="74"/>
                      <a:pt x="275" y="72"/>
                      <a:pt x="271" y="75"/>
                    </a:cubicBezTo>
                    <a:cubicBezTo>
                      <a:pt x="266" y="78"/>
                      <a:pt x="267" y="72"/>
                      <a:pt x="264" y="75"/>
                    </a:cubicBezTo>
                    <a:cubicBezTo>
                      <a:pt x="261" y="77"/>
                      <a:pt x="268" y="76"/>
                      <a:pt x="268" y="79"/>
                    </a:cubicBezTo>
                    <a:cubicBezTo>
                      <a:pt x="268" y="82"/>
                      <a:pt x="277" y="79"/>
                      <a:pt x="278" y="81"/>
                    </a:cubicBezTo>
                    <a:cubicBezTo>
                      <a:pt x="280" y="83"/>
                      <a:pt x="273" y="82"/>
                      <a:pt x="279" y="85"/>
                    </a:cubicBezTo>
                    <a:cubicBezTo>
                      <a:pt x="284" y="87"/>
                      <a:pt x="278" y="84"/>
                      <a:pt x="280" y="88"/>
                    </a:cubicBezTo>
                    <a:cubicBezTo>
                      <a:pt x="283" y="91"/>
                      <a:pt x="278" y="93"/>
                      <a:pt x="277" y="91"/>
                    </a:cubicBezTo>
                    <a:cubicBezTo>
                      <a:pt x="275" y="88"/>
                      <a:pt x="270" y="96"/>
                      <a:pt x="276" y="96"/>
                    </a:cubicBezTo>
                    <a:cubicBezTo>
                      <a:pt x="281" y="97"/>
                      <a:pt x="283" y="99"/>
                      <a:pt x="280" y="100"/>
                    </a:cubicBezTo>
                    <a:cubicBezTo>
                      <a:pt x="275" y="102"/>
                      <a:pt x="277" y="99"/>
                      <a:pt x="272" y="98"/>
                    </a:cubicBezTo>
                    <a:cubicBezTo>
                      <a:pt x="267" y="98"/>
                      <a:pt x="262" y="103"/>
                      <a:pt x="267" y="103"/>
                    </a:cubicBezTo>
                    <a:cubicBezTo>
                      <a:pt x="272" y="103"/>
                      <a:pt x="277" y="103"/>
                      <a:pt x="275" y="107"/>
                    </a:cubicBezTo>
                    <a:cubicBezTo>
                      <a:pt x="272" y="110"/>
                      <a:pt x="272" y="106"/>
                      <a:pt x="268" y="109"/>
                    </a:cubicBezTo>
                    <a:cubicBezTo>
                      <a:pt x="263" y="113"/>
                      <a:pt x="258" y="105"/>
                      <a:pt x="253" y="107"/>
                    </a:cubicBezTo>
                    <a:cubicBezTo>
                      <a:pt x="249" y="108"/>
                      <a:pt x="248" y="111"/>
                      <a:pt x="244" y="110"/>
                    </a:cubicBezTo>
                    <a:cubicBezTo>
                      <a:pt x="255" y="113"/>
                      <a:pt x="247" y="113"/>
                      <a:pt x="251" y="115"/>
                    </a:cubicBezTo>
                    <a:cubicBezTo>
                      <a:pt x="256" y="118"/>
                      <a:pt x="249" y="118"/>
                      <a:pt x="257" y="121"/>
                    </a:cubicBezTo>
                    <a:cubicBezTo>
                      <a:pt x="262" y="122"/>
                      <a:pt x="265" y="122"/>
                      <a:pt x="264" y="125"/>
                    </a:cubicBezTo>
                    <a:cubicBezTo>
                      <a:pt x="263" y="127"/>
                      <a:pt x="269" y="123"/>
                      <a:pt x="267" y="125"/>
                    </a:cubicBezTo>
                    <a:cubicBezTo>
                      <a:pt x="264" y="128"/>
                      <a:pt x="263" y="126"/>
                      <a:pt x="264" y="128"/>
                    </a:cubicBezTo>
                    <a:cubicBezTo>
                      <a:pt x="265" y="131"/>
                      <a:pt x="269" y="124"/>
                      <a:pt x="268" y="128"/>
                    </a:cubicBezTo>
                    <a:cubicBezTo>
                      <a:pt x="268" y="132"/>
                      <a:pt x="271" y="138"/>
                      <a:pt x="268" y="137"/>
                    </a:cubicBezTo>
                    <a:cubicBezTo>
                      <a:pt x="265" y="137"/>
                      <a:pt x="265" y="136"/>
                      <a:pt x="263" y="137"/>
                    </a:cubicBezTo>
                    <a:cubicBezTo>
                      <a:pt x="261" y="138"/>
                      <a:pt x="255" y="136"/>
                      <a:pt x="255" y="133"/>
                    </a:cubicBezTo>
                    <a:cubicBezTo>
                      <a:pt x="255" y="130"/>
                      <a:pt x="254" y="129"/>
                      <a:pt x="251" y="128"/>
                    </a:cubicBezTo>
                    <a:cubicBezTo>
                      <a:pt x="249" y="128"/>
                      <a:pt x="248" y="126"/>
                      <a:pt x="243" y="126"/>
                    </a:cubicBezTo>
                    <a:cubicBezTo>
                      <a:pt x="239" y="126"/>
                      <a:pt x="239" y="127"/>
                      <a:pt x="244" y="127"/>
                    </a:cubicBezTo>
                    <a:cubicBezTo>
                      <a:pt x="249" y="128"/>
                      <a:pt x="250" y="130"/>
                      <a:pt x="245" y="132"/>
                    </a:cubicBezTo>
                    <a:cubicBezTo>
                      <a:pt x="240" y="133"/>
                      <a:pt x="239" y="134"/>
                      <a:pt x="238" y="132"/>
                    </a:cubicBezTo>
                    <a:cubicBezTo>
                      <a:pt x="237" y="131"/>
                      <a:pt x="237" y="132"/>
                      <a:pt x="235" y="135"/>
                    </a:cubicBezTo>
                    <a:cubicBezTo>
                      <a:pt x="232" y="139"/>
                      <a:pt x="234" y="138"/>
                      <a:pt x="240" y="137"/>
                    </a:cubicBezTo>
                    <a:cubicBezTo>
                      <a:pt x="245" y="136"/>
                      <a:pt x="245" y="137"/>
                      <a:pt x="243" y="138"/>
                    </a:cubicBezTo>
                    <a:cubicBezTo>
                      <a:pt x="242" y="139"/>
                      <a:pt x="242" y="137"/>
                      <a:pt x="238" y="139"/>
                    </a:cubicBezTo>
                    <a:cubicBezTo>
                      <a:pt x="235" y="142"/>
                      <a:pt x="237" y="143"/>
                      <a:pt x="239" y="141"/>
                    </a:cubicBezTo>
                    <a:cubicBezTo>
                      <a:pt x="242" y="138"/>
                      <a:pt x="243" y="140"/>
                      <a:pt x="246" y="139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725A495C-5BF3-7D44-839C-739F884DE02D}"/>
                </a:ext>
              </a:extLst>
            </p:cNvPr>
            <p:cNvGrpSpPr/>
            <p:nvPr userDrawn="1"/>
          </p:nvGrpSpPr>
          <p:grpSpPr>
            <a:xfrm>
              <a:off x="4077384" y="1493457"/>
              <a:ext cx="919769" cy="1093414"/>
              <a:chOff x="4077384" y="1493457"/>
              <a:chExt cx="919769" cy="1093414"/>
            </a:xfrm>
            <a:grpFill/>
          </p:grpSpPr>
          <p:sp>
            <p:nvSpPr>
              <p:cNvPr id="232" name="Freeform 20239">
                <a:extLst>
                  <a:ext uri="{FF2B5EF4-FFF2-40B4-BE49-F238E27FC236}">
                    <a16:creationId xmlns:a16="http://schemas.microsoft.com/office/drawing/2014/main" id="{9CA74A0E-EBE0-D242-AE5A-156941F374E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514369" y="2022036"/>
                <a:ext cx="307224" cy="538120"/>
              </a:xfrm>
              <a:custGeom>
                <a:avLst/>
                <a:gdLst/>
                <a:ahLst/>
                <a:cxnLst>
                  <a:cxn ang="0">
                    <a:pos x="2" y="89"/>
                  </a:cxn>
                  <a:cxn ang="0">
                    <a:pos x="4" y="82"/>
                  </a:cxn>
                  <a:cxn ang="0">
                    <a:pos x="7" y="77"/>
                  </a:cxn>
                  <a:cxn ang="0">
                    <a:pos x="8" y="70"/>
                  </a:cxn>
                  <a:cxn ang="0">
                    <a:pos x="6" y="59"/>
                  </a:cxn>
                  <a:cxn ang="0">
                    <a:pos x="5" y="53"/>
                  </a:cxn>
                  <a:cxn ang="0">
                    <a:pos x="10" y="45"/>
                  </a:cxn>
                  <a:cxn ang="0">
                    <a:pos x="14" y="41"/>
                  </a:cxn>
                  <a:cxn ang="0">
                    <a:pos x="18" y="33"/>
                  </a:cxn>
                  <a:cxn ang="0">
                    <a:pos x="22" y="25"/>
                  </a:cxn>
                  <a:cxn ang="0">
                    <a:pos x="27" y="18"/>
                  </a:cxn>
                  <a:cxn ang="0">
                    <a:pos x="29" y="12"/>
                  </a:cxn>
                  <a:cxn ang="0">
                    <a:pos x="36" y="10"/>
                  </a:cxn>
                  <a:cxn ang="0">
                    <a:pos x="47" y="6"/>
                  </a:cxn>
                  <a:cxn ang="0">
                    <a:pos x="50" y="0"/>
                  </a:cxn>
                  <a:cxn ang="0">
                    <a:pos x="59" y="6"/>
                  </a:cxn>
                  <a:cxn ang="0">
                    <a:pos x="64" y="9"/>
                  </a:cxn>
                  <a:cxn ang="0">
                    <a:pos x="64" y="15"/>
                  </a:cxn>
                  <a:cxn ang="0">
                    <a:pos x="65" y="18"/>
                  </a:cxn>
                  <a:cxn ang="0">
                    <a:pos x="66" y="24"/>
                  </a:cxn>
                  <a:cxn ang="0">
                    <a:pos x="63" y="30"/>
                  </a:cxn>
                  <a:cxn ang="0">
                    <a:pos x="57" y="33"/>
                  </a:cxn>
                  <a:cxn ang="0">
                    <a:pos x="53" y="39"/>
                  </a:cxn>
                  <a:cxn ang="0">
                    <a:pos x="49" y="48"/>
                  </a:cxn>
                  <a:cxn ang="0">
                    <a:pos x="44" y="50"/>
                  </a:cxn>
                  <a:cxn ang="0">
                    <a:pos x="36" y="56"/>
                  </a:cxn>
                  <a:cxn ang="0">
                    <a:pos x="32" y="59"/>
                  </a:cxn>
                  <a:cxn ang="0">
                    <a:pos x="33" y="66"/>
                  </a:cxn>
                  <a:cxn ang="0">
                    <a:pos x="35" y="75"/>
                  </a:cxn>
                  <a:cxn ang="0">
                    <a:pos x="39" y="79"/>
                  </a:cxn>
                  <a:cxn ang="0">
                    <a:pos x="36" y="85"/>
                  </a:cxn>
                  <a:cxn ang="0">
                    <a:pos x="27" y="84"/>
                  </a:cxn>
                  <a:cxn ang="0">
                    <a:pos x="39" y="85"/>
                  </a:cxn>
                  <a:cxn ang="0">
                    <a:pos x="36" y="89"/>
                  </a:cxn>
                  <a:cxn ang="0">
                    <a:pos x="30" y="92"/>
                  </a:cxn>
                  <a:cxn ang="0">
                    <a:pos x="29" y="97"/>
                  </a:cxn>
                  <a:cxn ang="0">
                    <a:pos x="28" y="104"/>
                  </a:cxn>
                  <a:cxn ang="0">
                    <a:pos x="21" y="111"/>
                  </a:cxn>
                  <a:cxn ang="0">
                    <a:pos x="16" y="118"/>
                  </a:cxn>
                  <a:cxn ang="0">
                    <a:pos x="8" y="111"/>
                  </a:cxn>
                  <a:cxn ang="0">
                    <a:pos x="9" y="108"/>
                  </a:cxn>
                  <a:cxn ang="0">
                    <a:pos x="4" y="94"/>
                  </a:cxn>
                  <a:cxn ang="0">
                    <a:pos x="0" y="89"/>
                  </a:cxn>
                  <a:cxn ang="0">
                    <a:pos x="40" y="102"/>
                  </a:cxn>
                  <a:cxn ang="0">
                    <a:pos x="41" y="97"/>
                  </a:cxn>
                  <a:cxn ang="0">
                    <a:pos x="37" y="103"/>
                  </a:cxn>
                  <a:cxn ang="0">
                    <a:pos x="40" y="102"/>
                  </a:cxn>
                  <a:cxn ang="0">
                    <a:pos x="29" y="105"/>
                  </a:cxn>
                  <a:cxn ang="0">
                    <a:pos x="31" y="102"/>
                  </a:cxn>
                  <a:cxn ang="0">
                    <a:pos x="39" y="77"/>
                  </a:cxn>
                </a:cxnLst>
                <a:rect l="0" t="0" r="r" b="b"/>
                <a:pathLst>
                  <a:path w="68" h="119">
                    <a:moveTo>
                      <a:pt x="1" y="87"/>
                    </a:moveTo>
                    <a:cubicBezTo>
                      <a:pt x="1" y="87"/>
                      <a:pt x="1" y="88"/>
                      <a:pt x="2" y="89"/>
                    </a:cubicBezTo>
                    <a:cubicBezTo>
                      <a:pt x="2" y="90"/>
                      <a:pt x="4" y="88"/>
                      <a:pt x="3" y="85"/>
                    </a:cubicBezTo>
                    <a:cubicBezTo>
                      <a:pt x="2" y="83"/>
                      <a:pt x="4" y="83"/>
                      <a:pt x="4" y="82"/>
                    </a:cubicBezTo>
                    <a:cubicBezTo>
                      <a:pt x="3" y="80"/>
                      <a:pt x="5" y="82"/>
                      <a:pt x="6" y="80"/>
                    </a:cubicBezTo>
                    <a:cubicBezTo>
                      <a:pt x="8" y="78"/>
                      <a:pt x="6" y="78"/>
                      <a:pt x="7" y="77"/>
                    </a:cubicBezTo>
                    <a:cubicBezTo>
                      <a:pt x="9" y="76"/>
                      <a:pt x="5" y="72"/>
                      <a:pt x="6" y="71"/>
                    </a:cubicBezTo>
                    <a:cubicBezTo>
                      <a:pt x="6" y="70"/>
                      <a:pt x="8" y="72"/>
                      <a:pt x="8" y="70"/>
                    </a:cubicBezTo>
                    <a:cubicBezTo>
                      <a:pt x="9" y="69"/>
                      <a:pt x="10" y="68"/>
                      <a:pt x="7" y="67"/>
                    </a:cubicBezTo>
                    <a:cubicBezTo>
                      <a:pt x="3" y="65"/>
                      <a:pt x="7" y="62"/>
                      <a:pt x="6" y="59"/>
                    </a:cubicBezTo>
                    <a:cubicBezTo>
                      <a:pt x="4" y="57"/>
                      <a:pt x="6" y="57"/>
                      <a:pt x="5" y="56"/>
                    </a:cubicBezTo>
                    <a:cubicBezTo>
                      <a:pt x="4" y="55"/>
                      <a:pt x="6" y="55"/>
                      <a:pt x="5" y="53"/>
                    </a:cubicBezTo>
                    <a:cubicBezTo>
                      <a:pt x="3" y="51"/>
                      <a:pt x="6" y="51"/>
                      <a:pt x="5" y="50"/>
                    </a:cubicBezTo>
                    <a:cubicBezTo>
                      <a:pt x="5" y="48"/>
                      <a:pt x="9" y="46"/>
                      <a:pt x="10" y="45"/>
                    </a:cubicBezTo>
                    <a:cubicBezTo>
                      <a:pt x="12" y="44"/>
                      <a:pt x="15" y="47"/>
                      <a:pt x="16" y="43"/>
                    </a:cubicBezTo>
                    <a:cubicBezTo>
                      <a:pt x="17" y="41"/>
                      <a:pt x="15" y="42"/>
                      <a:pt x="14" y="41"/>
                    </a:cubicBezTo>
                    <a:cubicBezTo>
                      <a:pt x="12" y="40"/>
                      <a:pt x="17" y="37"/>
                      <a:pt x="17" y="36"/>
                    </a:cubicBezTo>
                    <a:cubicBezTo>
                      <a:pt x="17" y="34"/>
                      <a:pt x="18" y="35"/>
                      <a:pt x="18" y="33"/>
                    </a:cubicBezTo>
                    <a:cubicBezTo>
                      <a:pt x="17" y="30"/>
                      <a:pt x="19" y="31"/>
                      <a:pt x="17" y="27"/>
                    </a:cubicBezTo>
                    <a:cubicBezTo>
                      <a:pt x="17" y="26"/>
                      <a:pt x="24" y="27"/>
                      <a:pt x="22" y="25"/>
                    </a:cubicBezTo>
                    <a:cubicBezTo>
                      <a:pt x="21" y="23"/>
                      <a:pt x="23" y="24"/>
                      <a:pt x="24" y="21"/>
                    </a:cubicBezTo>
                    <a:cubicBezTo>
                      <a:pt x="26" y="19"/>
                      <a:pt x="27" y="20"/>
                      <a:pt x="27" y="18"/>
                    </a:cubicBezTo>
                    <a:cubicBezTo>
                      <a:pt x="28" y="17"/>
                      <a:pt x="26" y="16"/>
                      <a:pt x="26" y="15"/>
                    </a:cubicBezTo>
                    <a:cubicBezTo>
                      <a:pt x="26" y="14"/>
                      <a:pt x="27" y="15"/>
                      <a:pt x="29" y="12"/>
                    </a:cubicBezTo>
                    <a:cubicBezTo>
                      <a:pt x="29" y="10"/>
                      <a:pt x="31" y="10"/>
                      <a:pt x="32" y="9"/>
                    </a:cubicBezTo>
                    <a:cubicBezTo>
                      <a:pt x="33" y="9"/>
                      <a:pt x="34" y="11"/>
                      <a:pt x="36" y="10"/>
                    </a:cubicBezTo>
                    <a:cubicBezTo>
                      <a:pt x="38" y="9"/>
                      <a:pt x="35" y="6"/>
                      <a:pt x="36" y="5"/>
                    </a:cubicBezTo>
                    <a:cubicBezTo>
                      <a:pt x="39" y="3"/>
                      <a:pt x="44" y="8"/>
                      <a:pt x="47" y="6"/>
                    </a:cubicBezTo>
                    <a:cubicBezTo>
                      <a:pt x="49" y="5"/>
                      <a:pt x="44" y="6"/>
                      <a:pt x="47" y="4"/>
                    </a:cubicBezTo>
                    <a:cubicBezTo>
                      <a:pt x="50" y="1"/>
                      <a:pt x="44" y="0"/>
                      <a:pt x="50" y="0"/>
                    </a:cubicBezTo>
                    <a:cubicBezTo>
                      <a:pt x="52" y="1"/>
                      <a:pt x="49" y="1"/>
                      <a:pt x="52" y="2"/>
                    </a:cubicBezTo>
                    <a:cubicBezTo>
                      <a:pt x="54" y="4"/>
                      <a:pt x="57" y="6"/>
                      <a:pt x="59" y="6"/>
                    </a:cubicBezTo>
                    <a:cubicBezTo>
                      <a:pt x="61" y="6"/>
                      <a:pt x="63" y="7"/>
                      <a:pt x="63" y="8"/>
                    </a:cubicBezTo>
                    <a:cubicBezTo>
                      <a:pt x="63" y="9"/>
                      <a:pt x="62" y="8"/>
                      <a:pt x="64" y="9"/>
                    </a:cubicBezTo>
                    <a:cubicBezTo>
                      <a:pt x="67" y="12"/>
                      <a:pt x="64" y="10"/>
                      <a:pt x="64" y="12"/>
                    </a:cubicBezTo>
                    <a:cubicBezTo>
                      <a:pt x="65" y="15"/>
                      <a:pt x="64" y="14"/>
                      <a:pt x="64" y="15"/>
                    </a:cubicBezTo>
                    <a:cubicBezTo>
                      <a:pt x="64" y="16"/>
                      <a:pt x="66" y="14"/>
                      <a:pt x="66" y="15"/>
                    </a:cubicBezTo>
                    <a:cubicBezTo>
                      <a:pt x="66" y="16"/>
                      <a:pt x="65" y="16"/>
                      <a:pt x="65" y="18"/>
                    </a:cubicBezTo>
                    <a:cubicBezTo>
                      <a:pt x="65" y="19"/>
                      <a:pt x="68" y="20"/>
                      <a:pt x="67" y="21"/>
                    </a:cubicBezTo>
                    <a:cubicBezTo>
                      <a:pt x="66" y="22"/>
                      <a:pt x="67" y="22"/>
                      <a:pt x="66" y="24"/>
                    </a:cubicBezTo>
                    <a:cubicBezTo>
                      <a:pt x="64" y="26"/>
                      <a:pt x="68" y="27"/>
                      <a:pt x="68" y="30"/>
                    </a:cubicBezTo>
                    <a:cubicBezTo>
                      <a:pt x="66" y="31"/>
                      <a:pt x="65" y="29"/>
                      <a:pt x="63" y="30"/>
                    </a:cubicBezTo>
                    <a:cubicBezTo>
                      <a:pt x="61" y="31"/>
                      <a:pt x="62" y="29"/>
                      <a:pt x="60" y="30"/>
                    </a:cubicBezTo>
                    <a:cubicBezTo>
                      <a:pt x="59" y="31"/>
                      <a:pt x="57" y="32"/>
                      <a:pt x="57" y="33"/>
                    </a:cubicBezTo>
                    <a:cubicBezTo>
                      <a:pt x="57" y="34"/>
                      <a:pt x="55" y="33"/>
                      <a:pt x="54" y="35"/>
                    </a:cubicBezTo>
                    <a:cubicBezTo>
                      <a:pt x="54" y="38"/>
                      <a:pt x="52" y="37"/>
                      <a:pt x="53" y="39"/>
                    </a:cubicBezTo>
                    <a:cubicBezTo>
                      <a:pt x="53" y="41"/>
                      <a:pt x="56" y="41"/>
                      <a:pt x="53" y="43"/>
                    </a:cubicBezTo>
                    <a:cubicBezTo>
                      <a:pt x="50" y="45"/>
                      <a:pt x="51" y="48"/>
                      <a:pt x="49" y="48"/>
                    </a:cubicBezTo>
                    <a:cubicBezTo>
                      <a:pt x="47" y="48"/>
                      <a:pt x="48" y="49"/>
                      <a:pt x="47" y="49"/>
                    </a:cubicBezTo>
                    <a:cubicBezTo>
                      <a:pt x="45" y="49"/>
                      <a:pt x="46" y="51"/>
                      <a:pt x="44" y="50"/>
                    </a:cubicBezTo>
                    <a:cubicBezTo>
                      <a:pt x="41" y="50"/>
                      <a:pt x="43" y="54"/>
                      <a:pt x="41" y="53"/>
                    </a:cubicBezTo>
                    <a:cubicBezTo>
                      <a:pt x="39" y="52"/>
                      <a:pt x="40" y="56"/>
                      <a:pt x="36" y="56"/>
                    </a:cubicBezTo>
                    <a:cubicBezTo>
                      <a:pt x="33" y="57"/>
                      <a:pt x="38" y="57"/>
                      <a:pt x="35" y="59"/>
                    </a:cubicBezTo>
                    <a:cubicBezTo>
                      <a:pt x="32" y="60"/>
                      <a:pt x="33" y="57"/>
                      <a:pt x="32" y="59"/>
                    </a:cubicBezTo>
                    <a:cubicBezTo>
                      <a:pt x="32" y="61"/>
                      <a:pt x="35" y="59"/>
                      <a:pt x="33" y="62"/>
                    </a:cubicBezTo>
                    <a:cubicBezTo>
                      <a:pt x="32" y="64"/>
                      <a:pt x="34" y="66"/>
                      <a:pt x="33" y="66"/>
                    </a:cubicBezTo>
                    <a:cubicBezTo>
                      <a:pt x="31" y="66"/>
                      <a:pt x="31" y="75"/>
                      <a:pt x="33" y="75"/>
                    </a:cubicBezTo>
                    <a:cubicBezTo>
                      <a:pt x="35" y="75"/>
                      <a:pt x="33" y="76"/>
                      <a:pt x="35" y="75"/>
                    </a:cubicBezTo>
                    <a:cubicBezTo>
                      <a:pt x="37" y="75"/>
                      <a:pt x="37" y="77"/>
                      <a:pt x="38" y="77"/>
                    </a:cubicBezTo>
                    <a:cubicBezTo>
                      <a:pt x="40" y="77"/>
                      <a:pt x="37" y="79"/>
                      <a:pt x="39" y="79"/>
                    </a:cubicBezTo>
                    <a:cubicBezTo>
                      <a:pt x="40" y="79"/>
                      <a:pt x="41" y="80"/>
                      <a:pt x="42" y="81"/>
                    </a:cubicBezTo>
                    <a:cubicBezTo>
                      <a:pt x="42" y="82"/>
                      <a:pt x="38" y="84"/>
                      <a:pt x="36" y="85"/>
                    </a:cubicBezTo>
                    <a:cubicBezTo>
                      <a:pt x="35" y="86"/>
                      <a:pt x="34" y="83"/>
                      <a:pt x="33" y="84"/>
                    </a:cubicBezTo>
                    <a:cubicBezTo>
                      <a:pt x="32" y="84"/>
                      <a:pt x="30" y="82"/>
                      <a:pt x="27" y="84"/>
                    </a:cubicBezTo>
                    <a:cubicBezTo>
                      <a:pt x="25" y="86"/>
                      <a:pt x="30" y="83"/>
                      <a:pt x="32" y="85"/>
                    </a:cubicBezTo>
                    <a:cubicBezTo>
                      <a:pt x="35" y="88"/>
                      <a:pt x="38" y="84"/>
                      <a:pt x="39" y="85"/>
                    </a:cubicBezTo>
                    <a:cubicBezTo>
                      <a:pt x="40" y="87"/>
                      <a:pt x="38" y="86"/>
                      <a:pt x="38" y="87"/>
                    </a:cubicBezTo>
                    <a:cubicBezTo>
                      <a:pt x="38" y="88"/>
                      <a:pt x="37" y="87"/>
                      <a:pt x="36" y="89"/>
                    </a:cubicBezTo>
                    <a:cubicBezTo>
                      <a:pt x="35" y="90"/>
                      <a:pt x="34" y="87"/>
                      <a:pt x="34" y="89"/>
                    </a:cubicBezTo>
                    <a:cubicBezTo>
                      <a:pt x="33" y="91"/>
                      <a:pt x="29" y="91"/>
                      <a:pt x="30" y="92"/>
                    </a:cubicBezTo>
                    <a:cubicBezTo>
                      <a:pt x="30" y="93"/>
                      <a:pt x="28" y="92"/>
                      <a:pt x="29" y="94"/>
                    </a:cubicBezTo>
                    <a:cubicBezTo>
                      <a:pt x="30" y="95"/>
                      <a:pt x="29" y="95"/>
                      <a:pt x="29" y="97"/>
                    </a:cubicBezTo>
                    <a:cubicBezTo>
                      <a:pt x="30" y="98"/>
                      <a:pt x="28" y="99"/>
                      <a:pt x="29" y="100"/>
                    </a:cubicBezTo>
                    <a:cubicBezTo>
                      <a:pt x="29" y="101"/>
                      <a:pt x="28" y="103"/>
                      <a:pt x="28" y="104"/>
                    </a:cubicBezTo>
                    <a:cubicBezTo>
                      <a:pt x="28" y="106"/>
                      <a:pt x="27" y="107"/>
                      <a:pt x="26" y="110"/>
                    </a:cubicBezTo>
                    <a:cubicBezTo>
                      <a:pt x="25" y="114"/>
                      <a:pt x="25" y="111"/>
                      <a:pt x="21" y="111"/>
                    </a:cubicBezTo>
                    <a:cubicBezTo>
                      <a:pt x="17" y="112"/>
                      <a:pt x="20" y="113"/>
                      <a:pt x="18" y="113"/>
                    </a:cubicBezTo>
                    <a:cubicBezTo>
                      <a:pt x="16" y="112"/>
                      <a:pt x="18" y="118"/>
                      <a:pt x="16" y="118"/>
                    </a:cubicBezTo>
                    <a:cubicBezTo>
                      <a:pt x="13" y="117"/>
                      <a:pt x="8" y="119"/>
                      <a:pt x="9" y="117"/>
                    </a:cubicBezTo>
                    <a:cubicBezTo>
                      <a:pt x="11" y="114"/>
                      <a:pt x="5" y="109"/>
                      <a:pt x="8" y="111"/>
                    </a:cubicBezTo>
                    <a:cubicBezTo>
                      <a:pt x="10" y="112"/>
                      <a:pt x="7" y="109"/>
                      <a:pt x="8" y="109"/>
                    </a:cubicBezTo>
                    <a:cubicBezTo>
                      <a:pt x="10" y="109"/>
                      <a:pt x="10" y="107"/>
                      <a:pt x="9" y="108"/>
                    </a:cubicBezTo>
                    <a:cubicBezTo>
                      <a:pt x="7" y="108"/>
                      <a:pt x="5" y="102"/>
                      <a:pt x="4" y="99"/>
                    </a:cubicBezTo>
                    <a:cubicBezTo>
                      <a:pt x="3" y="96"/>
                      <a:pt x="5" y="96"/>
                      <a:pt x="4" y="94"/>
                    </a:cubicBezTo>
                    <a:cubicBezTo>
                      <a:pt x="3" y="93"/>
                      <a:pt x="2" y="96"/>
                      <a:pt x="1" y="94"/>
                    </a:cubicBezTo>
                    <a:cubicBezTo>
                      <a:pt x="0" y="92"/>
                      <a:pt x="1" y="91"/>
                      <a:pt x="0" y="89"/>
                    </a:cubicBezTo>
                    <a:cubicBezTo>
                      <a:pt x="0" y="88"/>
                      <a:pt x="1" y="88"/>
                      <a:pt x="1" y="87"/>
                    </a:cubicBezTo>
                    <a:close/>
                    <a:moveTo>
                      <a:pt x="40" y="102"/>
                    </a:moveTo>
                    <a:cubicBezTo>
                      <a:pt x="42" y="100"/>
                      <a:pt x="39" y="100"/>
                      <a:pt x="41" y="98"/>
                    </a:cubicBezTo>
                    <a:cubicBezTo>
                      <a:pt x="43" y="97"/>
                      <a:pt x="43" y="96"/>
                      <a:pt x="41" y="97"/>
                    </a:cubicBezTo>
                    <a:cubicBezTo>
                      <a:pt x="39" y="99"/>
                      <a:pt x="40" y="96"/>
                      <a:pt x="38" y="98"/>
                    </a:cubicBezTo>
                    <a:cubicBezTo>
                      <a:pt x="36" y="100"/>
                      <a:pt x="36" y="102"/>
                      <a:pt x="37" y="103"/>
                    </a:cubicBezTo>
                    <a:cubicBezTo>
                      <a:pt x="37" y="104"/>
                      <a:pt x="36" y="106"/>
                      <a:pt x="37" y="105"/>
                    </a:cubicBezTo>
                    <a:cubicBezTo>
                      <a:pt x="38" y="105"/>
                      <a:pt x="38" y="104"/>
                      <a:pt x="40" y="102"/>
                    </a:cubicBezTo>
                    <a:close/>
                    <a:moveTo>
                      <a:pt x="31" y="102"/>
                    </a:moveTo>
                    <a:cubicBezTo>
                      <a:pt x="30" y="102"/>
                      <a:pt x="30" y="104"/>
                      <a:pt x="29" y="105"/>
                    </a:cubicBezTo>
                    <a:cubicBezTo>
                      <a:pt x="28" y="106"/>
                      <a:pt x="27" y="110"/>
                      <a:pt x="28" y="111"/>
                    </a:cubicBezTo>
                    <a:cubicBezTo>
                      <a:pt x="28" y="111"/>
                      <a:pt x="32" y="102"/>
                      <a:pt x="31" y="102"/>
                    </a:cubicBezTo>
                    <a:close/>
                    <a:moveTo>
                      <a:pt x="38" y="75"/>
                    </a:moveTo>
                    <a:cubicBezTo>
                      <a:pt x="38" y="76"/>
                      <a:pt x="38" y="77"/>
                      <a:pt x="39" y="77"/>
                    </a:cubicBezTo>
                    <a:cubicBezTo>
                      <a:pt x="39" y="77"/>
                      <a:pt x="38" y="75"/>
                      <a:pt x="38" y="75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3" name="Freeform 20245">
                <a:extLst>
                  <a:ext uri="{FF2B5EF4-FFF2-40B4-BE49-F238E27FC236}">
                    <a16:creationId xmlns:a16="http://schemas.microsoft.com/office/drawing/2014/main" id="{BADC6095-D402-C24D-B237-4B23F610160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712826" y="1976237"/>
                <a:ext cx="284327" cy="415993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16" y="13"/>
                  </a:cxn>
                  <a:cxn ang="0">
                    <a:pos x="23" y="12"/>
                  </a:cxn>
                  <a:cxn ang="0">
                    <a:pos x="29" y="13"/>
                  </a:cxn>
                  <a:cxn ang="0">
                    <a:pos x="33" y="6"/>
                  </a:cxn>
                  <a:cxn ang="0">
                    <a:pos x="41" y="1"/>
                  </a:cxn>
                  <a:cxn ang="0">
                    <a:pos x="51" y="6"/>
                  </a:cxn>
                  <a:cxn ang="0">
                    <a:pos x="48" y="12"/>
                  </a:cxn>
                  <a:cxn ang="0">
                    <a:pos x="52" y="20"/>
                  </a:cxn>
                  <a:cxn ang="0">
                    <a:pos x="50" y="31"/>
                  </a:cxn>
                  <a:cxn ang="0">
                    <a:pos x="53" y="42"/>
                  </a:cxn>
                  <a:cxn ang="0">
                    <a:pos x="53" y="45"/>
                  </a:cxn>
                  <a:cxn ang="0">
                    <a:pos x="55" y="50"/>
                  </a:cxn>
                  <a:cxn ang="0">
                    <a:pos x="58" y="55"/>
                  </a:cxn>
                  <a:cxn ang="0">
                    <a:pos x="61" y="63"/>
                  </a:cxn>
                  <a:cxn ang="0">
                    <a:pos x="52" y="77"/>
                  </a:cxn>
                  <a:cxn ang="0">
                    <a:pos x="37" y="86"/>
                  </a:cxn>
                  <a:cxn ang="0">
                    <a:pos x="29" y="88"/>
                  </a:cxn>
                  <a:cxn ang="0">
                    <a:pos x="18" y="90"/>
                  </a:cxn>
                  <a:cxn ang="0">
                    <a:pos x="15" y="88"/>
                  </a:cxn>
                  <a:cxn ang="0">
                    <a:pos x="9" y="82"/>
                  </a:cxn>
                  <a:cxn ang="0">
                    <a:pos x="10" y="75"/>
                  </a:cxn>
                  <a:cxn ang="0">
                    <a:pos x="10" y="63"/>
                  </a:cxn>
                  <a:cxn ang="0">
                    <a:pos x="14" y="60"/>
                  </a:cxn>
                  <a:cxn ang="0">
                    <a:pos x="19" y="56"/>
                  </a:cxn>
                  <a:cxn ang="0">
                    <a:pos x="27" y="48"/>
                  </a:cxn>
                  <a:cxn ang="0">
                    <a:pos x="30" y="45"/>
                  </a:cxn>
                  <a:cxn ang="0">
                    <a:pos x="24" y="40"/>
                  </a:cxn>
                  <a:cxn ang="0">
                    <a:pos x="23" y="31"/>
                  </a:cxn>
                  <a:cxn ang="0">
                    <a:pos x="22" y="25"/>
                  </a:cxn>
                  <a:cxn ang="0">
                    <a:pos x="20" y="22"/>
                  </a:cxn>
                  <a:cxn ang="0">
                    <a:pos x="19" y="18"/>
                  </a:cxn>
                  <a:cxn ang="0">
                    <a:pos x="8" y="12"/>
                  </a:cxn>
                  <a:cxn ang="0">
                    <a:pos x="8" y="10"/>
                  </a:cxn>
                  <a:cxn ang="0">
                    <a:pos x="13" y="87"/>
                  </a:cxn>
                  <a:cxn ang="0">
                    <a:pos x="12" y="86"/>
                  </a:cxn>
                  <a:cxn ang="0">
                    <a:pos x="12" y="86"/>
                  </a:cxn>
                  <a:cxn ang="0">
                    <a:pos x="10" y="89"/>
                  </a:cxn>
                  <a:cxn ang="0">
                    <a:pos x="13" y="88"/>
                  </a:cxn>
                  <a:cxn ang="0">
                    <a:pos x="13" y="88"/>
                  </a:cxn>
                  <a:cxn ang="0">
                    <a:pos x="11" y="89"/>
                  </a:cxn>
                  <a:cxn ang="0">
                    <a:pos x="3" y="89"/>
                  </a:cxn>
                  <a:cxn ang="0">
                    <a:pos x="3" y="89"/>
                  </a:cxn>
                  <a:cxn ang="0">
                    <a:pos x="3" y="88"/>
                  </a:cxn>
                  <a:cxn ang="0">
                    <a:pos x="2" y="87"/>
                  </a:cxn>
                  <a:cxn ang="0">
                    <a:pos x="1" y="87"/>
                  </a:cxn>
                  <a:cxn ang="0">
                    <a:pos x="0" y="88"/>
                  </a:cxn>
                  <a:cxn ang="0">
                    <a:pos x="2" y="89"/>
                  </a:cxn>
                  <a:cxn ang="0">
                    <a:pos x="27" y="46"/>
                  </a:cxn>
                  <a:cxn ang="0">
                    <a:pos x="29" y="47"/>
                  </a:cxn>
                  <a:cxn ang="0">
                    <a:pos x="9" y="62"/>
                  </a:cxn>
                  <a:cxn ang="0">
                    <a:pos x="10" y="62"/>
                  </a:cxn>
                </a:cxnLst>
                <a:rect l="0" t="0" r="r" b="b"/>
                <a:pathLst>
                  <a:path w="63" h="92">
                    <a:moveTo>
                      <a:pt x="8" y="10"/>
                    </a:moveTo>
                    <a:cubicBezTo>
                      <a:pt x="8" y="10"/>
                      <a:pt x="7" y="9"/>
                      <a:pt x="8" y="8"/>
                    </a:cubicBezTo>
                    <a:cubicBezTo>
                      <a:pt x="10" y="7"/>
                      <a:pt x="12" y="9"/>
                      <a:pt x="14" y="11"/>
                    </a:cubicBezTo>
                    <a:cubicBezTo>
                      <a:pt x="16" y="13"/>
                      <a:pt x="13" y="13"/>
                      <a:pt x="16" y="13"/>
                    </a:cubicBezTo>
                    <a:cubicBezTo>
                      <a:pt x="20" y="13"/>
                      <a:pt x="18" y="14"/>
                      <a:pt x="20" y="14"/>
                    </a:cubicBezTo>
                    <a:cubicBezTo>
                      <a:pt x="23" y="13"/>
                      <a:pt x="22" y="12"/>
                      <a:pt x="23" y="12"/>
                    </a:cubicBezTo>
                    <a:cubicBezTo>
                      <a:pt x="24" y="13"/>
                      <a:pt x="26" y="13"/>
                      <a:pt x="28" y="15"/>
                    </a:cubicBezTo>
                    <a:cubicBezTo>
                      <a:pt x="28" y="14"/>
                      <a:pt x="29" y="15"/>
                      <a:pt x="29" y="13"/>
                    </a:cubicBezTo>
                    <a:cubicBezTo>
                      <a:pt x="30" y="11"/>
                      <a:pt x="34" y="12"/>
                      <a:pt x="32" y="10"/>
                    </a:cubicBezTo>
                    <a:cubicBezTo>
                      <a:pt x="31" y="8"/>
                      <a:pt x="33" y="8"/>
                      <a:pt x="33" y="6"/>
                    </a:cubicBezTo>
                    <a:cubicBezTo>
                      <a:pt x="33" y="5"/>
                      <a:pt x="34" y="3"/>
                      <a:pt x="36" y="2"/>
                    </a:cubicBezTo>
                    <a:cubicBezTo>
                      <a:pt x="38" y="1"/>
                      <a:pt x="37" y="3"/>
                      <a:pt x="41" y="1"/>
                    </a:cubicBezTo>
                    <a:cubicBezTo>
                      <a:pt x="43" y="0"/>
                      <a:pt x="43" y="0"/>
                      <a:pt x="44" y="2"/>
                    </a:cubicBezTo>
                    <a:cubicBezTo>
                      <a:pt x="45" y="3"/>
                      <a:pt x="50" y="4"/>
                      <a:pt x="51" y="6"/>
                    </a:cubicBezTo>
                    <a:cubicBezTo>
                      <a:pt x="51" y="7"/>
                      <a:pt x="46" y="9"/>
                      <a:pt x="49" y="10"/>
                    </a:cubicBezTo>
                    <a:cubicBezTo>
                      <a:pt x="44" y="13"/>
                      <a:pt x="48" y="11"/>
                      <a:pt x="48" y="12"/>
                    </a:cubicBezTo>
                    <a:cubicBezTo>
                      <a:pt x="49" y="14"/>
                      <a:pt x="46" y="13"/>
                      <a:pt x="47" y="16"/>
                    </a:cubicBezTo>
                    <a:cubicBezTo>
                      <a:pt x="48" y="21"/>
                      <a:pt x="50" y="17"/>
                      <a:pt x="52" y="20"/>
                    </a:cubicBezTo>
                    <a:cubicBezTo>
                      <a:pt x="54" y="23"/>
                      <a:pt x="56" y="22"/>
                      <a:pt x="54" y="24"/>
                    </a:cubicBezTo>
                    <a:cubicBezTo>
                      <a:pt x="52" y="26"/>
                      <a:pt x="48" y="29"/>
                      <a:pt x="50" y="31"/>
                    </a:cubicBezTo>
                    <a:cubicBezTo>
                      <a:pt x="52" y="32"/>
                      <a:pt x="56" y="41"/>
                      <a:pt x="55" y="41"/>
                    </a:cubicBezTo>
                    <a:cubicBezTo>
                      <a:pt x="53" y="41"/>
                      <a:pt x="53" y="41"/>
                      <a:pt x="53" y="42"/>
                    </a:cubicBezTo>
                    <a:cubicBezTo>
                      <a:pt x="54" y="42"/>
                      <a:pt x="53" y="42"/>
                      <a:pt x="53" y="43"/>
                    </a:cubicBezTo>
                    <a:cubicBezTo>
                      <a:pt x="53" y="45"/>
                      <a:pt x="52" y="44"/>
                      <a:pt x="53" y="45"/>
                    </a:cubicBezTo>
                    <a:cubicBezTo>
                      <a:pt x="55" y="46"/>
                      <a:pt x="52" y="46"/>
                      <a:pt x="52" y="47"/>
                    </a:cubicBezTo>
                    <a:cubicBezTo>
                      <a:pt x="53" y="49"/>
                      <a:pt x="57" y="49"/>
                      <a:pt x="55" y="50"/>
                    </a:cubicBezTo>
                    <a:cubicBezTo>
                      <a:pt x="54" y="51"/>
                      <a:pt x="55" y="51"/>
                      <a:pt x="55" y="52"/>
                    </a:cubicBezTo>
                    <a:cubicBezTo>
                      <a:pt x="54" y="53"/>
                      <a:pt x="58" y="53"/>
                      <a:pt x="58" y="55"/>
                    </a:cubicBezTo>
                    <a:cubicBezTo>
                      <a:pt x="57" y="57"/>
                      <a:pt x="53" y="57"/>
                      <a:pt x="55" y="59"/>
                    </a:cubicBezTo>
                    <a:cubicBezTo>
                      <a:pt x="57" y="60"/>
                      <a:pt x="60" y="61"/>
                      <a:pt x="61" y="63"/>
                    </a:cubicBezTo>
                    <a:cubicBezTo>
                      <a:pt x="62" y="65"/>
                      <a:pt x="63" y="64"/>
                      <a:pt x="62" y="66"/>
                    </a:cubicBezTo>
                    <a:cubicBezTo>
                      <a:pt x="61" y="68"/>
                      <a:pt x="58" y="72"/>
                      <a:pt x="52" y="77"/>
                    </a:cubicBezTo>
                    <a:cubicBezTo>
                      <a:pt x="47" y="82"/>
                      <a:pt x="45" y="83"/>
                      <a:pt x="43" y="85"/>
                    </a:cubicBezTo>
                    <a:cubicBezTo>
                      <a:pt x="40" y="87"/>
                      <a:pt x="40" y="85"/>
                      <a:pt x="37" y="86"/>
                    </a:cubicBezTo>
                    <a:cubicBezTo>
                      <a:pt x="34" y="88"/>
                      <a:pt x="35" y="85"/>
                      <a:pt x="34" y="87"/>
                    </a:cubicBezTo>
                    <a:cubicBezTo>
                      <a:pt x="32" y="89"/>
                      <a:pt x="33" y="86"/>
                      <a:pt x="29" y="88"/>
                    </a:cubicBezTo>
                    <a:cubicBezTo>
                      <a:pt x="23" y="91"/>
                      <a:pt x="22" y="90"/>
                      <a:pt x="20" y="91"/>
                    </a:cubicBezTo>
                    <a:cubicBezTo>
                      <a:pt x="17" y="92"/>
                      <a:pt x="17" y="92"/>
                      <a:pt x="18" y="90"/>
                    </a:cubicBezTo>
                    <a:cubicBezTo>
                      <a:pt x="19" y="89"/>
                      <a:pt x="18" y="88"/>
                      <a:pt x="17" y="90"/>
                    </a:cubicBezTo>
                    <a:cubicBezTo>
                      <a:pt x="15" y="91"/>
                      <a:pt x="15" y="89"/>
                      <a:pt x="15" y="88"/>
                    </a:cubicBezTo>
                    <a:cubicBezTo>
                      <a:pt x="16" y="86"/>
                      <a:pt x="14" y="86"/>
                      <a:pt x="11" y="86"/>
                    </a:cubicBezTo>
                    <a:cubicBezTo>
                      <a:pt x="8" y="85"/>
                      <a:pt x="9" y="85"/>
                      <a:pt x="9" y="82"/>
                    </a:cubicBezTo>
                    <a:cubicBezTo>
                      <a:pt x="10" y="80"/>
                      <a:pt x="10" y="79"/>
                      <a:pt x="10" y="78"/>
                    </a:cubicBezTo>
                    <a:cubicBezTo>
                      <a:pt x="9" y="76"/>
                      <a:pt x="12" y="77"/>
                      <a:pt x="10" y="75"/>
                    </a:cubicBezTo>
                    <a:cubicBezTo>
                      <a:pt x="7" y="71"/>
                      <a:pt x="11" y="73"/>
                      <a:pt x="9" y="70"/>
                    </a:cubicBezTo>
                    <a:cubicBezTo>
                      <a:pt x="7" y="66"/>
                      <a:pt x="10" y="65"/>
                      <a:pt x="10" y="63"/>
                    </a:cubicBezTo>
                    <a:cubicBezTo>
                      <a:pt x="10" y="62"/>
                      <a:pt x="12" y="64"/>
                      <a:pt x="13" y="63"/>
                    </a:cubicBezTo>
                    <a:cubicBezTo>
                      <a:pt x="15" y="62"/>
                      <a:pt x="13" y="60"/>
                      <a:pt x="14" y="60"/>
                    </a:cubicBezTo>
                    <a:cubicBezTo>
                      <a:pt x="15" y="60"/>
                      <a:pt x="15" y="58"/>
                      <a:pt x="17" y="59"/>
                    </a:cubicBezTo>
                    <a:cubicBezTo>
                      <a:pt x="18" y="59"/>
                      <a:pt x="17" y="57"/>
                      <a:pt x="19" y="56"/>
                    </a:cubicBezTo>
                    <a:cubicBezTo>
                      <a:pt x="21" y="56"/>
                      <a:pt x="18" y="56"/>
                      <a:pt x="22" y="54"/>
                    </a:cubicBezTo>
                    <a:cubicBezTo>
                      <a:pt x="26" y="51"/>
                      <a:pt x="25" y="49"/>
                      <a:pt x="27" y="48"/>
                    </a:cubicBezTo>
                    <a:cubicBezTo>
                      <a:pt x="30" y="47"/>
                      <a:pt x="30" y="48"/>
                      <a:pt x="30" y="47"/>
                    </a:cubicBezTo>
                    <a:cubicBezTo>
                      <a:pt x="31" y="46"/>
                      <a:pt x="29" y="47"/>
                      <a:pt x="30" y="45"/>
                    </a:cubicBezTo>
                    <a:cubicBezTo>
                      <a:pt x="30" y="43"/>
                      <a:pt x="31" y="42"/>
                      <a:pt x="28" y="41"/>
                    </a:cubicBezTo>
                    <a:cubicBezTo>
                      <a:pt x="25" y="41"/>
                      <a:pt x="27" y="40"/>
                      <a:pt x="24" y="40"/>
                    </a:cubicBezTo>
                    <a:cubicBezTo>
                      <a:pt x="24" y="37"/>
                      <a:pt x="20" y="36"/>
                      <a:pt x="22" y="34"/>
                    </a:cubicBezTo>
                    <a:cubicBezTo>
                      <a:pt x="23" y="32"/>
                      <a:pt x="22" y="32"/>
                      <a:pt x="23" y="31"/>
                    </a:cubicBezTo>
                    <a:cubicBezTo>
                      <a:pt x="24" y="30"/>
                      <a:pt x="21" y="29"/>
                      <a:pt x="21" y="28"/>
                    </a:cubicBezTo>
                    <a:cubicBezTo>
                      <a:pt x="21" y="26"/>
                      <a:pt x="22" y="26"/>
                      <a:pt x="22" y="25"/>
                    </a:cubicBezTo>
                    <a:cubicBezTo>
                      <a:pt x="22" y="24"/>
                      <a:pt x="20" y="26"/>
                      <a:pt x="20" y="25"/>
                    </a:cubicBezTo>
                    <a:cubicBezTo>
                      <a:pt x="20" y="24"/>
                      <a:pt x="21" y="25"/>
                      <a:pt x="20" y="22"/>
                    </a:cubicBezTo>
                    <a:cubicBezTo>
                      <a:pt x="20" y="20"/>
                      <a:pt x="23" y="22"/>
                      <a:pt x="20" y="19"/>
                    </a:cubicBezTo>
                    <a:cubicBezTo>
                      <a:pt x="18" y="18"/>
                      <a:pt x="19" y="19"/>
                      <a:pt x="19" y="18"/>
                    </a:cubicBezTo>
                    <a:cubicBezTo>
                      <a:pt x="19" y="17"/>
                      <a:pt x="17" y="16"/>
                      <a:pt x="15" y="16"/>
                    </a:cubicBezTo>
                    <a:cubicBezTo>
                      <a:pt x="13" y="16"/>
                      <a:pt x="10" y="14"/>
                      <a:pt x="8" y="12"/>
                    </a:cubicBezTo>
                    <a:cubicBezTo>
                      <a:pt x="5" y="11"/>
                      <a:pt x="8" y="11"/>
                      <a:pt x="6" y="10"/>
                    </a:cubicBezTo>
                    <a:cubicBezTo>
                      <a:pt x="6" y="9"/>
                      <a:pt x="8" y="11"/>
                      <a:pt x="8" y="10"/>
                    </a:cubicBezTo>
                    <a:close/>
                    <a:moveTo>
                      <a:pt x="14" y="88"/>
                    </a:moveTo>
                    <a:cubicBezTo>
                      <a:pt x="14" y="87"/>
                      <a:pt x="13" y="87"/>
                      <a:pt x="13" y="87"/>
                    </a:cubicBezTo>
                    <a:cubicBezTo>
                      <a:pt x="13" y="88"/>
                      <a:pt x="14" y="88"/>
                      <a:pt x="14" y="88"/>
                    </a:cubicBezTo>
                    <a:close/>
                    <a:moveTo>
                      <a:pt x="12" y="86"/>
                    </a:moveTo>
                    <a:cubicBezTo>
                      <a:pt x="11" y="86"/>
                      <a:pt x="12" y="87"/>
                      <a:pt x="12" y="87"/>
                    </a:cubicBezTo>
                    <a:cubicBezTo>
                      <a:pt x="13" y="87"/>
                      <a:pt x="12" y="86"/>
                      <a:pt x="12" y="86"/>
                    </a:cubicBezTo>
                    <a:close/>
                    <a:moveTo>
                      <a:pt x="11" y="89"/>
                    </a:moveTo>
                    <a:cubicBezTo>
                      <a:pt x="11" y="88"/>
                      <a:pt x="10" y="88"/>
                      <a:pt x="10" y="89"/>
                    </a:cubicBezTo>
                    <a:cubicBezTo>
                      <a:pt x="10" y="89"/>
                      <a:pt x="11" y="89"/>
                      <a:pt x="11" y="89"/>
                    </a:cubicBezTo>
                    <a:close/>
                    <a:moveTo>
                      <a:pt x="13" y="88"/>
                    </a:moveTo>
                    <a:cubicBezTo>
                      <a:pt x="13" y="88"/>
                      <a:pt x="12" y="88"/>
                      <a:pt x="12" y="89"/>
                    </a:cubicBezTo>
                    <a:cubicBezTo>
                      <a:pt x="13" y="89"/>
                      <a:pt x="13" y="89"/>
                      <a:pt x="13" y="88"/>
                    </a:cubicBezTo>
                    <a:close/>
                    <a:moveTo>
                      <a:pt x="12" y="88"/>
                    </a:moveTo>
                    <a:cubicBezTo>
                      <a:pt x="12" y="88"/>
                      <a:pt x="11" y="88"/>
                      <a:pt x="11" y="89"/>
                    </a:cubicBezTo>
                    <a:cubicBezTo>
                      <a:pt x="11" y="89"/>
                      <a:pt x="12" y="89"/>
                      <a:pt x="12" y="88"/>
                    </a:cubicBezTo>
                    <a:close/>
                    <a:moveTo>
                      <a:pt x="3" y="89"/>
                    </a:moveTo>
                    <a:cubicBezTo>
                      <a:pt x="2" y="89"/>
                      <a:pt x="3" y="90"/>
                      <a:pt x="3" y="90"/>
                    </a:cubicBezTo>
                    <a:cubicBezTo>
                      <a:pt x="4" y="90"/>
                      <a:pt x="3" y="89"/>
                      <a:pt x="3" y="89"/>
                    </a:cubicBezTo>
                    <a:close/>
                    <a:moveTo>
                      <a:pt x="2" y="89"/>
                    </a:moveTo>
                    <a:cubicBezTo>
                      <a:pt x="3" y="89"/>
                      <a:pt x="2" y="88"/>
                      <a:pt x="3" y="88"/>
                    </a:cubicBezTo>
                    <a:cubicBezTo>
                      <a:pt x="3" y="88"/>
                      <a:pt x="3" y="89"/>
                      <a:pt x="4" y="88"/>
                    </a:cubicBezTo>
                    <a:cubicBezTo>
                      <a:pt x="4" y="87"/>
                      <a:pt x="4" y="87"/>
                      <a:pt x="2" y="87"/>
                    </a:cubicBezTo>
                    <a:cubicBezTo>
                      <a:pt x="0" y="86"/>
                      <a:pt x="2" y="87"/>
                      <a:pt x="2" y="88"/>
                    </a:cubicBezTo>
                    <a:cubicBezTo>
                      <a:pt x="1" y="89"/>
                      <a:pt x="1" y="87"/>
                      <a:pt x="1" y="87"/>
                    </a:cubicBezTo>
                    <a:cubicBezTo>
                      <a:pt x="1" y="88"/>
                      <a:pt x="0" y="88"/>
                      <a:pt x="0" y="88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9"/>
                      <a:pt x="1" y="89"/>
                      <a:pt x="1" y="89"/>
                    </a:cubicBezTo>
                    <a:cubicBezTo>
                      <a:pt x="2" y="89"/>
                      <a:pt x="2" y="90"/>
                      <a:pt x="2" y="89"/>
                    </a:cubicBezTo>
                    <a:close/>
                    <a:moveTo>
                      <a:pt x="29" y="47"/>
                    </a:moveTo>
                    <a:cubicBezTo>
                      <a:pt x="30" y="46"/>
                      <a:pt x="29" y="46"/>
                      <a:pt x="27" y="46"/>
                    </a:cubicBezTo>
                    <a:cubicBezTo>
                      <a:pt x="26" y="46"/>
                      <a:pt x="26" y="47"/>
                      <a:pt x="27" y="47"/>
                    </a:cubicBezTo>
                    <a:cubicBezTo>
                      <a:pt x="28" y="47"/>
                      <a:pt x="28" y="47"/>
                      <a:pt x="29" y="47"/>
                    </a:cubicBezTo>
                    <a:close/>
                    <a:moveTo>
                      <a:pt x="10" y="62"/>
                    </a:moveTo>
                    <a:cubicBezTo>
                      <a:pt x="10" y="62"/>
                      <a:pt x="9" y="62"/>
                      <a:pt x="9" y="62"/>
                    </a:cubicBezTo>
                    <a:cubicBezTo>
                      <a:pt x="9" y="62"/>
                      <a:pt x="8" y="62"/>
                      <a:pt x="9" y="63"/>
                    </a:cubicBezTo>
                    <a:cubicBezTo>
                      <a:pt x="9" y="63"/>
                      <a:pt x="10" y="63"/>
                      <a:pt x="10" y="62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4" name="Freeform 20246">
                <a:extLst>
                  <a:ext uri="{FF2B5EF4-FFF2-40B4-BE49-F238E27FC236}">
                    <a16:creationId xmlns:a16="http://schemas.microsoft.com/office/drawing/2014/main" id="{70D3CD61-DB8F-6F41-8663-003ACB575D7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361712" y="1493457"/>
                <a:ext cx="627807" cy="967471"/>
              </a:xfrm>
              <a:custGeom>
                <a:avLst/>
                <a:gdLst/>
                <a:ahLst/>
                <a:cxnLst>
                  <a:cxn ang="0">
                    <a:pos x="38" y="19"/>
                  </a:cxn>
                  <a:cxn ang="0">
                    <a:pos x="61" y="20"/>
                  </a:cxn>
                  <a:cxn ang="0">
                    <a:pos x="73" y="29"/>
                  </a:cxn>
                  <a:cxn ang="0">
                    <a:pos x="37" y="26"/>
                  </a:cxn>
                  <a:cxn ang="0">
                    <a:pos x="98" y="27"/>
                  </a:cxn>
                  <a:cxn ang="0">
                    <a:pos x="113" y="6"/>
                  </a:cxn>
                  <a:cxn ang="0">
                    <a:pos x="71" y="8"/>
                  </a:cxn>
                  <a:cxn ang="0">
                    <a:pos x="132" y="111"/>
                  </a:cxn>
                  <a:cxn ang="0">
                    <a:pos x="130" y="102"/>
                  </a:cxn>
                  <a:cxn ang="0">
                    <a:pos x="121" y="98"/>
                  </a:cxn>
                  <a:cxn ang="0">
                    <a:pos x="110" y="104"/>
                  </a:cxn>
                  <a:cxn ang="0">
                    <a:pos x="105" y="99"/>
                  </a:cxn>
                  <a:cxn ang="0">
                    <a:pos x="96" y="107"/>
                  </a:cxn>
                  <a:cxn ang="0">
                    <a:pos x="89" y="109"/>
                  </a:cxn>
                  <a:cxn ang="0">
                    <a:pos x="79" y="111"/>
                  </a:cxn>
                  <a:cxn ang="0">
                    <a:pos x="70" y="116"/>
                  </a:cxn>
                  <a:cxn ang="0">
                    <a:pos x="60" y="125"/>
                  </a:cxn>
                  <a:cxn ang="0">
                    <a:pos x="53" y="129"/>
                  </a:cxn>
                  <a:cxn ang="0">
                    <a:pos x="57" y="135"/>
                  </a:cxn>
                  <a:cxn ang="0">
                    <a:pos x="44" y="141"/>
                  </a:cxn>
                  <a:cxn ang="0">
                    <a:pos x="42" y="150"/>
                  </a:cxn>
                  <a:cxn ang="0">
                    <a:pos x="37" y="158"/>
                  </a:cxn>
                  <a:cxn ang="0">
                    <a:pos x="33" y="165"/>
                  </a:cxn>
                  <a:cxn ang="0">
                    <a:pos x="25" y="166"/>
                  </a:cxn>
                  <a:cxn ang="0">
                    <a:pos x="10" y="175"/>
                  </a:cxn>
                  <a:cxn ang="0">
                    <a:pos x="3" y="182"/>
                  </a:cxn>
                  <a:cxn ang="0">
                    <a:pos x="4" y="188"/>
                  </a:cxn>
                  <a:cxn ang="0">
                    <a:pos x="8" y="195"/>
                  </a:cxn>
                  <a:cxn ang="0">
                    <a:pos x="5" y="206"/>
                  </a:cxn>
                  <a:cxn ang="0">
                    <a:pos x="24" y="208"/>
                  </a:cxn>
                  <a:cxn ang="0">
                    <a:pos x="33" y="204"/>
                  </a:cxn>
                  <a:cxn ang="0">
                    <a:pos x="41" y="184"/>
                  </a:cxn>
                  <a:cxn ang="0">
                    <a:pos x="52" y="150"/>
                  </a:cxn>
                  <a:cxn ang="0">
                    <a:pos x="70" y="122"/>
                  </a:cxn>
                  <a:cxn ang="0">
                    <a:pos x="101" y="119"/>
                  </a:cxn>
                  <a:cxn ang="0">
                    <a:pos x="127" y="117"/>
                  </a:cxn>
                  <a:cxn ang="0">
                    <a:pos x="98" y="105"/>
                  </a:cxn>
                  <a:cxn ang="0">
                    <a:pos x="94" y="102"/>
                  </a:cxn>
                  <a:cxn ang="0">
                    <a:pos x="79" y="106"/>
                  </a:cxn>
                  <a:cxn ang="0">
                    <a:pos x="86" y="109"/>
                  </a:cxn>
                  <a:cxn ang="0">
                    <a:pos x="76" y="108"/>
                  </a:cxn>
                  <a:cxn ang="0">
                    <a:pos x="74" y="108"/>
                  </a:cxn>
                  <a:cxn ang="0">
                    <a:pos x="74" y="112"/>
                  </a:cxn>
                  <a:cxn ang="0">
                    <a:pos x="65" y="114"/>
                  </a:cxn>
                  <a:cxn ang="0">
                    <a:pos x="66" y="119"/>
                  </a:cxn>
                  <a:cxn ang="0">
                    <a:pos x="54" y="123"/>
                  </a:cxn>
                  <a:cxn ang="0">
                    <a:pos x="54" y="119"/>
                  </a:cxn>
                  <a:cxn ang="0">
                    <a:pos x="58" y="118"/>
                  </a:cxn>
                  <a:cxn ang="0">
                    <a:pos x="59" y="121"/>
                  </a:cxn>
                  <a:cxn ang="0">
                    <a:pos x="61" y="122"/>
                  </a:cxn>
                  <a:cxn ang="0">
                    <a:pos x="50" y="124"/>
                  </a:cxn>
                  <a:cxn ang="0">
                    <a:pos x="46" y="126"/>
                  </a:cxn>
                  <a:cxn ang="0">
                    <a:pos x="58" y="127"/>
                  </a:cxn>
                  <a:cxn ang="0">
                    <a:pos x="41" y="146"/>
                  </a:cxn>
                  <a:cxn ang="0">
                    <a:pos x="37" y="148"/>
                  </a:cxn>
                  <a:cxn ang="0">
                    <a:pos x="35" y="158"/>
                  </a:cxn>
                  <a:cxn ang="0">
                    <a:pos x="34" y="157"/>
                  </a:cxn>
                  <a:cxn ang="0">
                    <a:pos x="19" y="166"/>
                  </a:cxn>
                  <a:cxn ang="0">
                    <a:pos x="18" y="170"/>
                  </a:cxn>
                  <a:cxn ang="0">
                    <a:pos x="6" y="178"/>
                  </a:cxn>
                  <a:cxn ang="0">
                    <a:pos x="2" y="187"/>
                  </a:cxn>
                  <a:cxn ang="0">
                    <a:pos x="3" y="204"/>
                  </a:cxn>
                  <a:cxn ang="0">
                    <a:pos x="2" y="195"/>
                  </a:cxn>
                </a:cxnLst>
                <a:rect l="0" t="0" r="r" b="b"/>
                <a:pathLst>
                  <a:path w="139" h="214">
                    <a:moveTo>
                      <a:pt x="62" y="44"/>
                    </a:moveTo>
                    <a:cubicBezTo>
                      <a:pt x="55" y="42"/>
                      <a:pt x="58" y="40"/>
                      <a:pt x="53" y="38"/>
                    </a:cubicBezTo>
                    <a:cubicBezTo>
                      <a:pt x="47" y="36"/>
                      <a:pt x="48" y="35"/>
                      <a:pt x="53" y="34"/>
                    </a:cubicBezTo>
                    <a:cubicBezTo>
                      <a:pt x="59" y="33"/>
                      <a:pt x="65" y="30"/>
                      <a:pt x="55" y="31"/>
                    </a:cubicBezTo>
                    <a:cubicBezTo>
                      <a:pt x="45" y="32"/>
                      <a:pt x="44" y="31"/>
                      <a:pt x="53" y="28"/>
                    </a:cubicBezTo>
                    <a:cubicBezTo>
                      <a:pt x="61" y="26"/>
                      <a:pt x="67" y="24"/>
                      <a:pt x="60" y="24"/>
                    </a:cubicBezTo>
                    <a:cubicBezTo>
                      <a:pt x="53" y="24"/>
                      <a:pt x="59" y="21"/>
                      <a:pt x="53" y="24"/>
                    </a:cubicBezTo>
                    <a:cubicBezTo>
                      <a:pt x="48" y="27"/>
                      <a:pt x="46" y="30"/>
                      <a:pt x="41" y="25"/>
                    </a:cubicBezTo>
                    <a:cubicBezTo>
                      <a:pt x="36" y="19"/>
                      <a:pt x="34" y="20"/>
                      <a:pt x="38" y="19"/>
                    </a:cubicBezTo>
                    <a:cubicBezTo>
                      <a:pt x="41" y="19"/>
                      <a:pt x="37" y="19"/>
                      <a:pt x="38" y="17"/>
                    </a:cubicBezTo>
                    <a:cubicBezTo>
                      <a:pt x="39" y="14"/>
                      <a:pt x="36" y="20"/>
                      <a:pt x="34" y="17"/>
                    </a:cubicBezTo>
                    <a:cubicBezTo>
                      <a:pt x="32" y="14"/>
                      <a:pt x="30" y="14"/>
                      <a:pt x="34" y="11"/>
                    </a:cubicBezTo>
                    <a:cubicBezTo>
                      <a:pt x="39" y="8"/>
                      <a:pt x="37" y="12"/>
                      <a:pt x="40" y="11"/>
                    </a:cubicBezTo>
                    <a:cubicBezTo>
                      <a:pt x="42" y="9"/>
                      <a:pt x="41" y="12"/>
                      <a:pt x="45" y="10"/>
                    </a:cubicBezTo>
                    <a:cubicBezTo>
                      <a:pt x="50" y="9"/>
                      <a:pt x="50" y="11"/>
                      <a:pt x="46" y="12"/>
                    </a:cubicBezTo>
                    <a:cubicBezTo>
                      <a:pt x="42" y="13"/>
                      <a:pt x="47" y="12"/>
                      <a:pt x="48" y="16"/>
                    </a:cubicBezTo>
                    <a:cubicBezTo>
                      <a:pt x="50" y="19"/>
                      <a:pt x="48" y="12"/>
                      <a:pt x="51" y="11"/>
                    </a:cubicBezTo>
                    <a:cubicBezTo>
                      <a:pt x="55" y="10"/>
                      <a:pt x="59" y="20"/>
                      <a:pt x="61" y="20"/>
                    </a:cubicBezTo>
                    <a:cubicBezTo>
                      <a:pt x="64" y="20"/>
                      <a:pt x="55" y="11"/>
                      <a:pt x="59" y="9"/>
                    </a:cubicBezTo>
                    <a:cubicBezTo>
                      <a:pt x="62" y="6"/>
                      <a:pt x="61" y="9"/>
                      <a:pt x="65" y="9"/>
                    </a:cubicBezTo>
                    <a:cubicBezTo>
                      <a:pt x="68" y="9"/>
                      <a:pt x="68" y="10"/>
                      <a:pt x="70" y="11"/>
                    </a:cubicBezTo>
                    <a:cubicBezTo>
                      <a:pt x="71" y="11"/>
                      <a:pt x="68" y="12"/>
                      <a:pt x="69" y="15"/>
                    </a:cubicBezTo>
                    <a:cubicBezTo>
                      <a:pt x="70" y="17"/>
                      <a:pt x="69" y="11"/>
                      <a:pt x="73" y="13"/>
                    </a:cubicBezTo>
                    <a:cubicBezTo>
                      <a:pt x="76" y="15"/>
                      <a:pt x="72" y="18"/>
                      <a:pt x="77" y="17"/>
                    </a:cubicBezTo>
                    <a:cubicBezTo>
                      <a:pt x="81" y="17"/>
                      <a:pt x="78" y="18"/>
                      <a:pt x="84" y="20"/>
                    </a:cubicBezTo>
                    <a:cubicBezTo>
                      <a:pt x="90" y="21"/>
                      <a:pt x="90" y="22"/>
                      <a:pt x="81" y="23"/>
                    </a:cubicBezTo>
                    <a:cubicBezTo>
                      <a:pt x="72" y="23"/>
                      <a:pt x="79" y="28"/>
                      <a:pt x="73" y="29"/>
                    </a:cubicBezTo>
                    <a:cubicBezTo>
                      <a:pt x="68" y="31"/>
                      <a:pt x="76" y="33"/>
                      <a:pt x="70" y="35"/>
                    </a:cubicBezTo>
                    <a:cubicBezTo>
                      <a:pt x="63" y="37"/>
                      <a:pt x="69" y="46"/>
                      <a:pt x="62" y="44"/>
                    </a:cubicBezTo>
                    <a:close/>
                    <a:moveTo>
                      <a:pt x="86" y="27"/>
                    </a:moveTo>
                    <a:cubicBezTo>
                      <a:pt x="89" y="26"/>
                      <a:pt x="92" y="27"/>
                      <a:pt x="92" y="25"/>
                    </a:cubicBezTo>
                    <a:cubicBezTo>
                      <a:pt x="91" y="23"/>
                      <a:pt x="88" y="23"/>
                      <a:pt x="85" y="24"/>
                    </a:cubicBezTo>
                    <a:cubicBezTo>
                      <a:pt x="82" y="25"/>
                      <a:pt x="80" y="24"/>
                      <a:pt x="83" y="26"/>
                    </a:cubicBezTo>
                    <a:cubicBezTo>
                      <a:pt x="85" y="27"/>
                      <a:pt x="83" y="28"/>
                      <a:pt x="86" y="27"/>
                    </a:cubicBezTo>
                    <a:close/>
                    <a:moveTo>
                      <a:pt x="33" y="24"/>
                    </a:moveTo>
                    <a:cubicBezTo>
                      <a:pt x="34" y="27"/>
                      <a:pt x="33" y="23"/>
                      <a:pt x="37" y="26"/>
                    </a:cubicBezTo>
                    <a:cubicBezTo>
                      <a:pt x="42" y="29"/>
                      <a:pt x="38" y="24"/>
                      <a:pt x="36" y="24"/>
                    </a:cubicBezTo>
                    <a:cubicBezTo>
                      <a:pt x="34" y="24"/>
                      <a:pt x="34" y="19"/>
                      <a:pt x="31" y="20"/>
                    </a:cubicBezTo>
                    <a:cubicBezTo>
                      <a:pt x="30" y="20"/>
                      <a:pt x="31" y="21"/>
                      <a:pt x="33" y="24"/>
                    </a:cubicBezTo>
                    <a:close/>
                    <a:moveTo>
                      <a:pt x="86" y="33"/>
                    </a:moveTo>
                    <a:cubicBezTo>
                      <a:pt x="83" y="36"/>
                      <a:pt x="86" y="35"/>
                      <a:pt x="91" y="35"/>
                    </a:cubicBezTo>
                    <a:cubicBezTo>
                      <a:pt x="96" y="34"/>
                      <a:pt x="89" y="39"/>
                      <a:pt x="96" y="36"/>
                    </a:cubicBezTo>
                    <a:cubicBezTo>
                      <a:pt x="100" y="35"/>
                      <a:pt x="107" y="32"/>
                      <a:pt x="104" y="31"/>
                    </a:cubicBezTo>
                    <a:cubicBezTo>
                      <a:pt x="102" y="30"/>
                      <a:pt x="102" y="32"/>
                      <a:pt x="98" y="30"/>
                    </a:cubicBezTo>
                    <a:cubicBezTo>
                      <a:pt x="94" y="28"/>
                      <a:pt x="101" y="28"/>
                      <a:pt x="98" y="27"/>
                    </a:cubicBezTo>
                    <a:cubicBezTo>
                      <a:pt x="95" y="26"/>
                      <a:pt x="80" y="27"/>
                      <a:pt x="88" y="30"/>
                    </a:cubicBezTo>
                    <a:cubicBezTo>
                      <a:pt x="89" y="31"/>
                      <a:pt x="89" y="31"/>
                      <a:pt x="86" y="33"/>
                    </a:cubicBezTo>
                    <a:close/>
                    <a:moveTo>
                      <a:pt x="86" y="10"/>
                    </a:moveTo>
                    <a:cubicBezTo>
                      <a:pt x="92" y="10"/>
                      <a:pt x="89" y="11"/>
                      <a:pt x="81" y="12"/>
                    </a:cubicBezTo>
                    <a:cubicBezTo>
                      <a:pt x="73" y="14"/>
                      <a:pt x="85" y="15"/>
                      <a:pt x="91" y="15"/>
                    </a:cubicBezTo>
                    <a:cubicBezTo>
                      <a:pt x="96" y="15"/>
                      <a:pt x="99" y="20"/>
                      <a:pt x="103" y="16"/>
                    </a:cubicBezTo>
                    <a:cubicBezTo>
                      <a:pt x="107" y="13"/>
                      <a:pt x="106" y="16"/>
                      <a:pt x="110" y="15"/>
                    </a:cubicBezTo>
                    <a:cubicBezTo>
                      <a:pt x="114" y="14"/>
                      <a:pt x="108" y="13"/>
                      <a:pt x="116" y="10"/>
                    </a:cubicBezTo>
                    <a:cubicBezTo>
                      <a:pt x="121" y="9"/>
                      <a:pt x="116" y="6"/>
                      <a:pt x="113" y="6"/>
                    </a:cubicBezTo>
                    <a:cubicBezTo>
                      <a:pt x="111" y="7"/>
                      <a:pt x="108" y="5"/>
                      <a:pt x="103" y="4"/>
                    </a:cubicBezTo>
                    <a:cubicBezTo>
                      <a:pt x="98" y="4"/>
                      <a:pt x="101" y="7"/>
                      <a:pt x="98" y="6"/>
                    </a:cubicBezTo>
                    <a:cubicBezTo>
                      <a:pt x="95" y="6"/>
                      <a:pt x="99" y="4"/>
                      <a:pt x="97" y="3"/>
                    </a:cubicBezTo>
                    <a:cubicBezTo>
                      <a:pt x="96" y="2"/>
                      <a:pt x="93" y="2"/>
                      <a:pt x="93" y="6"/>
                    </a:cubicBezTo>
                    <a:cubicBezTo>
                      <a:pt x="93" y="9"/>
                      <a:pt x="92" y="9"/>
                      <a:pt x="90" y="6"/>
                    </a:cubicBezTo>
                    <a:cubicBezTo>
                      <a:pt x="88" y="3"/>
                      <a:pt x="89" y="7"/>
                      <a:pt x="81" y="4"/>
                    </a:cubicBezTo>
                    <a:cubicBezTo>
                      <a:pt x="73" y="0"/>
                      <a:pt x="83" y="8"/>
                      <a:pt x="77" y="5"/>
                    </a:cubicBezTo>
                    <a:cubicBezTo>
                      <a:pt x="70" y="2"/>
                      <a:pt x="79" y="8"/>
                      <a:pt x="74" y="6"/>
                    </a:cubicBezTo>
                    <a:cubicBezTo>
                      <a:pt x="69" y="5"/>
                      <a:pt x="68" y="7"/>
                      <a:pt x="71" y="8"/>
                    </a:cubicBezTo>
                    <a:cubicBezTo>
                      <a:pt x="74" y="10"/>
                      <a:pt x="69" y="8"/>
                      <a:pt x="74" y="11"/>
                    </a:cubicBezTo>
                    <a:cubicBezTo>
                      <a:pt x="77" y="13"/>
                      <a:pt x="79" y="10"/>
                      <a:pt x="86" y="10"/>
                    </a:cubicBezTo>
                    <a:close/>
                    <a:moveTo>
                      <a:pt x="129" y="115"/>
                    </a:moveTo>
                    <a:cubicBezTo>
                      <a:pt x="129" y="114"/>
                      <a:pt x="132" y="114"/>
                      <a:pt x="133" y="113"/>
                    </a:cubicBezTo>
                    <a:cubicBezTo>
                      <a:pt x="134" y="112"/>
                      <a:pt x="133" y="112"/>
                      <a:pt x="135" y="112"/>
                    </a:cubicBezTo>
                    <a:cubicBezTo>
                      <a:pt x="136" y="113"/>
                      <a:pt x="138" y="113"/>
                      <a:pt x="137" y="111"/>
                    </a:cubicBezTo>
                    <a:cubicBezTo>
                      <a:pt x="137" y="111"/>
                      <a:pt x="137" y="111"/>
                      <a:pt x="137" y="110"/>
                    </a:cubicBezTo>
                    <a:cubicBezTo>
                      <a:pt x="135" y="110"/>
                      <a:pt x="135" y="111"/>
                      <a:pt x="134" y="110"/>
                    </a:cubicBezTo>
                    <a:cubicBezTo>
                      <a:pt x="133" y="109"/>
                      <a:pt x="133" y="111"/>
                      <a:pt x="132" y="111"/>
                    </a:cubicBezTo>
                    <a:cubicBezTo>
                      <a:pt x="131" y="111"/>
                      <a:pt x="130" y="111"/>
                      <a:pt x="131" y="111"/>
                    </a:cubicBezTo>
                    <a:cubicBezTo>
                      <a:pt x="131" y="110"/>
                      <a:pt x="132" y="109"/>
                      <a:pt x="129" y="108"/>
                    </a:cubicBezTo>
                    <a:cubicBezTo>
                      <a:pt x="127" y="108"/>
                      <a:pt x="127" y="107"/>
                      <a:pt x="126" y="107"/>
                    </a:cubicBezTo>
                    <a:cubicBezTo>
                      <a:pt x="124" y="107"/>
                      <a:pt x="125" y="106"/>
                      <a:pt x="130" y="108"/>
                    </a:cubicBezTo>
                    <a:cubicBezTo>
                      <a:pt x="134" y="109"/>
                      <a:pt x="134" y="106"/>
                      <a:pt x="136" y="106"/>
                    </a:cubicBezTo>
                    <a:cubicBezTo>
                      <a:pt x="138" y="106"/>
                      <a:pt x="139" y="104"/>
                      <a:pt x="137" y="104"/>
                    </a:cubicBezTo>
                    <a:cubicBezTo>
                      <a:pt x="135" y="104"/>
                      <a:pt x="136" y="103"/>
                      <a:pt x="135" y="103"/>
                    </a:cubicBezTo>
                    <a:cubicBezTo>
                      <a:pt x="133" y="103"/>
                      <a:pt x="134" y="101"/>
                      <a:pt x="132" y="102"/>
                    </a:cubicBezTo>
                    <a:cubicBezTo>
                      <a:pt x="131" y="103"/>
                      <a:pt x="132" y="101"/>
                      <a:pt x="130" y="102"/>
                    </a:cubicBezTo>
                    <a:cubicBezTo>
                      <a:pt x="128" y="102"/>
                      <a:pt x="130" y="101"/>
                      <a:pt x="128" y="100"/>
                    </a:cubicBezTo>
                    <a:cubicBezTo>
                      <a:pt x="125" y="100"/>
                      <a:pt x="124" y="102"/>
                      <a:pt x="124" y="104"/>
                    </a:cubicBezTo>
                    <a:cubicBezTo>
                      <a:pt x="125" y="105"/>
                      <a:pt x="124" y="103"/>
                      <a:pt x="123" y="104"/>
                    </a:cubicBezTo>
                    <a:cubicBezTo>
                      <a:pt x="122" y="104"/>
                      <a:pt x="121" y="104"/>
                      <a:pt x="122" y="103"/>
                    </a:cubicBezTo>
                    <a:cubicBezTo>
                      <a:pt x="124" y="102"/>
                      <a:pt x="124" y="101"/>
                      <a:pt x="123" y="102"/>
                    </a:cubicBezTo>
                    <a:cubicBezTo>
                      <a:pt x="122" y="102"/>
                      <a:pt x="122" y="102"/>
                      <a:pt x="122" y="101"/>
                    </a:cubicBezTo>
                    <a:cubicBezTo>
                      <a:pt x="123" y="101"/>
                      <a:pt x="125" y="100"/>
                      <a:pt x="125" y="99"/>
                    </a:cubicBezTo>
                    <a:cubicBezTo>
                      <a:pt x="125" y="98"/>
                      <a:pt x="123" y="100"/>
                      <a:pt x="123" y="99"/>
                    </a:cubicBezTo>
                    <a:cubicBezTo>
                      <a:pt x="123" y="98"/>
                      <a:pt x="122" y="99"/>
                      <a:pt x="121" y="98"/>
                    </a:cubicBezTo>
                    <a:cubicBezTo>
                      <a:pt x="119" y="97"/>
                      <a:pt x="120" y="99"/>
                      <a:pt x="119" y="99"/>
                    </a:cubicBezTo>
                    <a:cubicBezTo>
                      <a:pt x="118" y="98"/>
                      <a:pt x="117" y="100"/>
                      <a:pt x="118" y="100"/>
                    </a:cubicBezTo>
                    <a:cubicBezTo>
                      <a:pt x="120" y="100"/>
                      <a:pt x="118" y="101"/>
                      <a:pt x="118" y="101"/>
                    </a:cubicBezTo>
                    <a:cubicBezTo>
                      <a:pt x="119" y="101"/>
                      <a:pt x="117" y="101"/>
                      <a:pt x="117" y="102"/>
                    </a:cubicBezTo>
                    <a:cubicBezTo>
                      <a:pt x="117" y="103"/>
                      <a:pt x="116" y="102"/>
                      <a:pt x="117" y="103"/>
                    </a:cubicBezTo>
                    <a:cubicBezTo>
                      <a:pt x="117" y="104"/>
                      <a:pt x="117" y="104"/>
                      <a:pt x="115" y="105"/>
                    </a:cubicBezTo>
                    <a:cubicBezTo>
                      <a:pt x="113" y="106"/>
                      <a:pt x="115" y="103"/>
                      <a:pt x="115" y="102"/>
                    </a:cubicBezTo>
                    <a:cubicBezTo>
                      <a:pt x="115" y="102"/>
                      <a:pt x="116" y="100"/>
                      <a:pt x="115" y="100"/>
                    </a:cubicBezTo>
                    <a:cubicBezTo>
                      <a:pt x="114" y="99"/>
                      <a:pt x="111" y="102"/>
                      <a:pt x="110" y="104"/>
                    </a:cubicBezTo>
                    <a:cubicBezTo>
                      <a:pt x="108" y="106"/>
                      <a:pt x="110" y="105"/>
                      <a:pt x="108" y="107"/>
                    </a:cubicBezTo>
                    <a:cubicBezTo>
                      <a:pt x="107" y="108"/>
                      <a:pt x="107" y="107"/>
                      <a:pt x="107" y="107"/>
                    </a:cubicBezTo>
                    <a:cubicBezTo>
                      <a:pt x="106" y="108"/>
                      <a:pt x="105" y="107"/>
                      <a:pt x="106" y="106"/>
                    </a:cubicBezTo>
                    <a:cubicBezTo>
                      <a:pt x="108" y="105"/>
                      <a:pt x="107" y="105"/>
                      <a:pt x="107" y="105"/>
                    </a:cubicBezTo>
                    <a:cubicBezTo>
                      <a:pt x="109" y="103"/>
                      <a:pt x="106" y="104"/>
                      <a:pt x="109" y="102"/>
                    </a:cubicBezTo>
                    <a:cubicBezTo>
                      <a:pt x="111" y="100"/>
                      <a:pt x="112" y="100"/>
                      <a:pt x="110" y="100"/>
                    </a:cubicBezTo>
                    <a:cubicBezTo>
                      <a:pt x="108" y="100"/>
                      <a:pt x="108" y="98"/>
                      <a:pt x="108" y="100"/>
                    </a:cubicBezTo>
                    <a:cubicBezTo>
                      <a:pt x="108" y="102"/>
                      <a:pt x="108" y="100"/>
                      <a:pt x="107" y="100"/>
                    </a:cubicBezTo>
                    <a:cubicBezTo>
                      <a:pt x="106" y="99"/>
                      <a:pt x="106" y="100"/>
                      <a:pt x="105" y="99"/>
                    </a:cubicBezTo>
                    <a:cubicBezTo>
                      <a:pt x="105" y="99"/>
                      <a:pt x="104" y="99"/>
                      <a:pt x="104" y="100"/>
                    </a:cubicBezTo>
                    <a:cubicBezTo>
                      <a:pt x="105" y="100"/>
                      <a:pt x="105" y="101"/>
                      <a:pt x="104" y="101"/>
                    </a:cubicBezTo>
                    <a:cubicBezTo>
                      <a:pt x="102" y="100"/>
                      <a:pt x="102" y="101"/>
                      <a:pt x="104" y="101"/>
                    </a:cubicBezTo>
                    <a:cubicBezTo>
                      <a:pt x="106" y="102"/>
                      <a:pt x="106" y="103"/>
                      <a:pt x="104" y="102"/>
                    </a:cubicBezTo>
                    <a:cubicBezTo>
                      <a:pt x="102" y="101"/>
                      <a:pt x="104" y="102"/>
                      <a:pt x="101" y="104"/>
                    </a:cubicBezTo>
                    <a:cubicBezTo>
                      <a:pt x="97" y="105"/>
                      <a:pt x="100" y="105"/>
                      <a:pt x="98" y="106"/>
                    </a:cubicBezTo>
                    <a:cubicBezTo>
                      <a:pt x="96" y="107"/>
                      <a:pt x="99" y="107"/>
                      <a:pt x="97" y="107"/>
                    </a:cubicBezTo>
                    <a:cubicBezTo>
                      <a:pt x="96" y="108"/>
                      <a:pt x="99" y="108"/>
                      <a:pt x="98" y="109"/>
                    </a:cubicBezTo>
                    <a:cubicBezTo>
                      <a:pt x="98" y="109"/>
                      <a:pt x="95" y="109"/>
                      <a:pt x="96" y="107"/>
                    </a:cubicBezTo>
                    <a:cubicBezTo>
                      <a:pt x="97" y="106"/>
                      <a:pt x="94" y="106"/>
                      <a:pt x="93" y="106"/>
                    </a:cubicBezTo>
                    <a:cubicBezTo>
                      <a:pt x="92" y="106"/>
                      <a:pt x="92" y="105"/>
                      <a:pt x="92" y="106"/>
                    </a:cubicBezTo>
                    <a:cubicBezTo>
                      <a:pt x="91" y="106"/>
                      <a:pt x="90" y="104"/>
                      <a:pt x="90" y="106"/>
                    </a:cubicBezTo>
                    <a:cubicBezTo>
                      <a:pt x="90" y="108"/>
                      <a:pt x="89" y="105"/>
                      <a:pt x="88" y="106"/>
                    </a:cubicBezTo>
                    <a:cubicBezTo>
                      <a:pt x="86" y="107"/>
                      <a:pt x="88" y="107"/>
                      <a:pt x="88" y="107"/>
                    </a:cubicBezTo>
                    <a:cubicBezTo>
                      <a:pt x="88" y="108"/>
                      <a:pt x="89" y="107"/>
                      <a:pt x="90" y="108"/>
                    </a:cubicBezTo>
                    <a:cubicBezTo>
                      <a:pt x="90" y="108"/>
                      <a:pt x="91" y="108"/>
                      <a:pt x="91" y="109"/>
                    </a:cubicBezTo>
                    <a:cubicBezTo>
                      <a:pt x="90" y="109"/>
                      <a:pt x="90" y="109"/>
                      <a:pt x="91" y="110"/>
                    </a:cubicBezTo>
                    <a:cubicBezTo>
                      <a:pt x="92" y="111"/>
                      <a:pt x="91" y="111"/>
                      <a:pt x="89" y="109"/>
                    </a:cubicBezTo>
                    <a:cubicBezTo>
                      <a:pt x="87" y="108"/>
                      <a:pt x="86" y="108"/>
                      <a:pt x="87" y="109"/>
                    </a:cubicBezTo>
                    <a:cubicBezTo>
                      <a:pt x="87" y="109"/>
                      <a:pt x="86" y="110"/>
                      <a:pt x="86" y="109"/>
                    </a:cubicBezTo>
                    <a:cubicBezTo>
                      <a:pt x="86" y="108"/>
                      <a:pt x="84" y="110"/>
                      <a:pt x="83" y="110"/>
                    </a:cubicBezTo>
                    <a:cubicBezTo>
                      <a:pt x="83" y="111"/>
                      <a:pt x="84" y="113"/>
                      <a:pt x="80" y="115"/>
                    </a:cubicBezTo>
                    <a:cubicBezTo>
                      <a:pt x="82" y="113"/>
                      <a:pt x="82" y="111"/>
                      <a:pt x="82" y="109"/>
                    </a:cubicBezTo>
                    <a:cubicBezTo>
                      <a:pt x="82" y="108"/>
                      <a:pt x="82" y="110"/>
                      <a:pt x="81" y="109"/>
                    </a:cubicBezTo>
                    <a:cubicBezTo>
                      <a:pt x="81" y="109"/>
                      <a:pt x="81" y="109"/>
                      <a:pt x="80" y="110"/>
                    </a:cubicBezTo>
                    <a:cubicBezTo>
                      <a:pt x="79" y="112"/>
                      <a:pt x="80" y="111"/>
                      <a:pt x="79" y="112"/>
                    </a:cubicBezTo>
                    <a:cubicBezTo>
                      <a:pt x="78" y="113"/>
                      <a:pt x="78" y="112"/>
                      <a:pt x="79" y="111"/>
                    </a:cubicBezTo>
                    <a:cubicBezTo>
                      <a:pt x="80" y="109"/>
                      <a:pt x="77" y="110"/>
                      <a:pt x="76" y="111"/>
                    </a:cubicBezTo>
                    <a:cubicBezTo>
                      <a:pt x="73" y="113"/>
                      <a:pt x="75" y="112"/>
                      <a:pt x="75" y="113"/>
                    </a:cubicBezTo>
                    <a:cubicBezTo>
                      <a:pt x="75" y="114"/>
                      <a:pt x="78" y="113"/>
                      <a:pt x="78" y="116"/>
                    </a:cubicBezTo>
                    <a:cubicBezTo>
                      <a:pt x="75" y="115"/>
                      <a:pt x="78" y="115"/>
                      <a:pt x="76" y="114"/>
                    </a:cubicBezTo>
                    <a:cubicBezTo>
                      <a:pt x="74" y="114"/>
                      <a:pt x="75" y="112"/>
                      <a:pt x="73" y="113"/>
                    </a:cubicBezTo>
                    <a:cubicBezTo>
                      <a:pt x="71" y="113"/>
                      <a:pt x="72" y="113"/>
                      <a:pt x="73" y="114"/>
                    </a:cubicBezTo>
                    <a:cubicBezTo>
                      <a:pt x="74" y="115"/>
                      <a:pt x="73" y="116"/>
                      <a:pt x="72" y="114"/>
                    </a:cubicBezTo>
                    <a:cubicBezTo>
                      <a:pt x="72" y="113"/>
                      <a:pt x="70" y="112"/>
                      <a:pt x="71" y="114"/>
                    </a:cubicBezTo>
                    <a:cubicBezTo>
                      <a:pt x="71" y="115"/>
                      <a:pt x="69" y="114"/>
                      <a:pt x="70" y="116"/>
                    </a:cubicBezTo>
                    <a:cubicBezTo>
                      <a:pt x="71" y="117"/>
                      <a:pt x="69" y="116"/>
                      <a:pt x="68" y="118"/>
                    </a:cubicBezTo>
                    <a:cubicBezTo>
                      <a:pt x="66" y="119"/>
                      <a:pt x="70" y="118"/>
                      <a:pt x="68" y="119"/>
                    </a:cubicBezTo>
                    <a:cubicBezTo>
                      <a:pt x="66" y="120"/>
                      <a:pt x="67" y="120"/>
                      <a:pt x="66" y="120"/>
                    </a:cubicBezTo>
                    <a:cubicBezTo>
                      <a:pt x="64" y="121"/>
                      <a:pt x="64" y="120"/>
                      <a:pt x="62" y="122"/>
                    </a:cubicBezTo>
                    <a:cubicBezTo>
                      <a:pt x="61" y="124"/>
                      <a:pt x="65" y="122"/>
                      <a:pt x="65" y="122"/>
                    </a:cubicBezTo>
                    <a:cubicBezTo>
                      <a:pt x="65" y="123"/>
                      <a:pt x="65" y="123"/>
                      <a:pt x="67" y="122"/>
                    </a:cubicBezTo>
                    <a:cubicBezTo>
                      <a:pt x="69" y="121"/>
                      <a:pt x="67" y="123"/>
                      <a:pt x="65" y="124"/>
                    </a:cubicBezTo>
                    <a:cubicBezTo>
                      <a:pt x="63" y="124"/>
                      <a:pt x="64" y="123"/>
                      <a:pt x="62" y="123"/>
                    </a:cubicBezTo>
                    <a:cubicBezTo>
                      <a:pt x="60" y="124"/>
                      <a:pt x="59" y="124"/>
                      <a:pt x="60" y="125"/>
                    </a:cubicBezTo>
                    <a:cubicBezTo>
                      <a:pt x="61" y="125"/>
                      <a:pt x="60" y="125"/>
                      <a:pt x="61" y="125"/>
                    </a:cubicBezTo>
                    <a:cubicBezTo>
                      <a:pt x="63" y="125"/>
                      <a:pt x="61" y="126"/>
                      <a:pt x="61" y="127"/>
                    </a:cubicBezTo>
                    <a:cubicBezTo>
                      <a:pt x="61" y="129"/>
                      <a:pt x="60" y="127"/>
                      <a:pt x="60" y="126"/>
                    </a:cubicBezTo>
                    <a:cubicBezTo>
                      <a:pt x="60" y="125"/>
                      <a:pt x="59" y="124"/>
                      <a:pt x="59" y="125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8" y="125"/>
                      <a:pt x="56" y="126"/>
                      <a:pt x="56" y="127"/>
                    </a:cubicBezTo>
                    <a:cubicBezTo>
                      <a:pt x="56" y="127"/>
                      <a:pt x="56" y="126"/>
                      <a:pt x="58" y="127"/>
                    </a:cubicBezTo>
                    <a:cubicBezTo>
                      <a:pt x="59" y="127"/>
                      <a:pt x="59" y="127"/>
                      <a:pt x="59" y="127"/>
                    </a:cubicBezTo>
                    <a:cubicBezTo>
                      <a:pt x="58" y="127"/>
                      <a:pt x="52" y="128"/>
                      <a:pt x="53" y="129"/>
                    </a:cubicBezTo>
                    <a:cubicBezTo>
                      <a:pt x="54" y="130"/>
                      <a:pt x="52" y="130"/>
                      <a:pt x="53" y="130"/>
                    </a:cubicBezTo>
                    <a:cubicBezTo>
                      <a:pt x="55" y="131"/>
                      <a:pt x="55" y="128"/>
                      <a:pt x="58" y="129"/>
                    </a:cubicBezTo>
                    <a:cubicBezTo>
                      <a:pt x="60" y="130"/>
                      <a:pt x="58" y="129"/>
                      <a:pt x="56" y="130"/>
                    </a:cubicBezTo>
                    <a:cubicBezTo>
                      <a:pt x="54" y="130"/>
                      <a:pt x="57" y="131"/>
                      <a:pt x="54" y="131"/>
                    </a:cubicBezTo>
                    <a:cubicBezTo>
                      <a:pt x="51" y="131"/>
                      <a:pt x="54" y="132"/>
                      <a:pt x="54" y="133"/>
                    </a:cubicBezTo>
                    <a:cubicBezTo>
                      <a:pt x="53" y="133"/>
                      <a:pt x="53" y="132"/>
                      <a:pt x="52" y="133"/>
                    </a:cubicBezTo>
                    <a:cubicBezTo>
                      <a:pt x="51" y="133"/>
                      <a:pt x="51" y="134"/>
                      <a:pt x="52" y="134"/>
                    </a:cubicBezTo>
                    <a:cubicBezTo>
                      <a:pt x="52" y="134"/>
                      <a:pt x="53" y="133"/>
                      <a:pt x="55" y="134"/>
                    </a:cubicBezTo>
                    <a:cubicBezTo>
                      <a:pt x="59" y="134"/>
                      <a:pt x="56" y="133"/>
                      <a:pt x="57" y="135"/>
                    </a:cubicBezTo>
                    <a:cubicBezTo>
                      <a:pt x="57" y="136"/>
                      <a:pt x="56" y="134"/>
                      <a:pt x="54" y="134"/>
                    </a:cubicBezTo>
                    <a:cubicBezTo>
                      <a:pt x="53" y="134"/>
                      <a:pt x="52" y="135"/>
                      <a:pt x="51" y="135"/>
                    </a:cubicBezTo>
                    <a:cubicBezTo>
                      <a:pt x="50" y="134"/>
                      <a:pt x="51" y="135"/>
                      <a:pt x="49" y="135"/>
                    </a:cubicBezTo>
                    <a:cubicBezTo>
                      <a:pt x="48" y="135"/>
                      <a:pt x="50" y="136"/>
                      <a:pt x="48" y="136"/>
                    </a:cubicBezTo>
                    <a:cubicBezTo>
                      <a:pt x="45" y="136"/>
                      <a:pt x="48" y="137"/>
                      <a:pt x="47" y="138"/>
                    </a:cubicBezTo>
                    <a:cubicBezTo>
                      <a:pt x="46" y="139"/>
                      <a:pt x="46" y="138"/>
                      <a:pt x="45" y="139"/>
                    </a:cubicBezTo>
                    <a:cubicBezTo>
                      <a:pt x="44" y="140"/>
                      <a:pt x="46" y="139"/>
                      <a:pt x="45" y="140"/>
                    </a:cubicBezTo>
                    <a:cubicBezTo>
                      <a:pt x="44" y="140"/>
                      <a:pt x="45" y="141"/>
                      <a:pt x="45" y="140"/>
                    </a:cubicBezTo>
                    <a:cubicBezTo>
                      <a:pt x="44" y="140"/>
                      <a:pt x="43" y="140"/>
                      <a:pt x="44" y="141"/>
                    </a:cubicBezTo>
                    <a:cubicBezTo>
                      <a:pt x="45" y="141"/>
                      <a:pt x="43" y="142"/>
                      <a:pt x="45" y="142"/>
                    </a:cubicBezTo>
                    <a:cubicBezTo>
                      <a:pt x="47" y="142"/>
                      <a:pt x="43" y="143"/>
                      <a:pt x="44" y="143"/>
                    </a:cubicBezTo>
                    <a:cubicBezTo>
                      <a:pt x="44" y="143"/>
                      <a:pt x="48" y="142"/>
                      <a:pt x="49" y="142"/>
                    </a:cubicBezTo>
                    <a:cubicBezTo>
                      <a:pt x="51" y="142"/>
                      <a:pt x="49" y="143"/>
                      <a:pt x="47" y="143"/>
                    </a:cubicBezTo>
                    <a:cubicBezTo>
                      <a:pt x="45" y="144"/>
                      <a:pt x="44" y="143"/>
                      <a:pt x="43" y="144"/>
                    </a:cubicBezTo>
                    <a:cubicBezTo>
                      <a:pt x="41" y="145"/>
                      <a:pt x="44" y="144"/>
                      <a:pt x="44" y="145"/>
                    </a:cubicBezTo>
                    <a:cubicBezTo>
                      <a:pt x="44" y="146"/>
                      <a:pt x="42" y="145"/>
                      <a:pt x="42" y="147"/>
                    </a:cubicBezTo>
                    <a:cubicBezTo>
                      <a:pt x="41" y="148"/>
                      <a:pt x="40" y="147"/>
                      <a:pt x="40" y="148"/>
                    </a:cubicBezTo>
                    <a:cubicBezTo>
                      <a:pt x="41" y="150"/>
                      <a:pt x="41" y="149"/>
                      <a:pt x="42" y="150"/>
                    </a:cubicBezTo>
                    <a:cubicBezTo>
                      <a:pt x="42" y="151"/>
                      <a:pt x="40" y="151"/>
                      <a:pt x="40" y="152"/>
                    </a:cubicBezTo>
                    <a:cubicBezTo>
                      <a:pt x="41" y="152"/>
                      <a:pt x="41" y="153"/>
                      <a:pt x="39" y="153"/>
                    </a:cubicBezTo>
                    <a:cubicBezTo>
                      <a:pt x="38" y="153"/>
                      <a:pt x="38" y="154"/>
                      <a:pt x="37" y="154"/>
                    </a:cubicBezTo>
                    <a:cubicBezTo>
                      <a:pt x="36" y="154"/>
                      <a:pt x="36" y="155"/>
                      <a:pt x="35" y="155"/>
                    </a:cubicBezTo>
                    <a:cubicBezTo>
                      <a:pt x="34" y="155"/>
                      <a:pt x="33" y="155"/>
                      <a:pt x="33" y="155"/>
                    </a:cubicBezTo>
                    <a:cubicBezTo>
                      <a:pt x="33" y="156"/>
                      <a:pt x="33" y="155"/>
                      <a:pt x="35" y="155"/>
                    </a:cubicBezTo>
                    <a:cubicBezTo>
                      <a:pt x="36" y="156"/>
                      <a:pt x="34" y="157"/>
                      <a:pt x="36" y="156"/>
                    </a:cubicBezTo>
                    <a:cubicBezTo>
                      <a:pt x="37" y="155"/>
                      <a:pt x="37" y="156"/>
                      <a:pt x="36" y="156"/>
                    </a:cubicBezTo>
                    <a:cubicBezTo>
                      <a:pt x="35" y="157"/>
                      <a:pt x="37" y="157"/>
                      <a:pt x="37" y="158"/>
                    </a:cubicBezTo>
                    <a:cubicBezTo>
                      <a:pt x="36" y="159"/>
                      <a:pt x="36" y="159"/>
                      <a:pt x="35" y="159"/>
                    </a:cubicBezTo>
                    <a:cubicBezTo>
                      <a:pt x="34" y="159"/>
                      <a:pt x="34" y="157"/>
                      <a:pt x="33" y="157"/>
                    </a:cubicBezTo>
                    <a:cubicBezTo>
                      <a:pt x="32" y="158"/>
                      <a:pt x="33" y="158"/>
                      <a:pt x="33" y="158"/>
                    </a:cubicBezTo>
                    <a:cubicBezTo>
                      <a:pt x="31" y="158"/>
                      <a:pt x="31" y="159"/>
                      <a:pt x="31" y="160"/>
                    </a:cubicBezTo>
                    <a:cubicBezTo>
                      <a:pt x="31" y="161"/>
                      <a:pt x="29" y="160"/>
                      <a:pt x="29" y="161"/>
                    </a:cubicBezTo>
                    <a:cubicBezTo>
                      <a:pt x="28" y="164"/>
                      <a:pt x="26" y="163"/>
                      <a:pt x="26" y="165"/>
                    </a:cubicBezTo>
                    <a:cubicBezTo>
                      <a:pt x="25" y="166"/>
                      <a:pt x="27" y="165"/>
                      <a:pt x="27" y="165"/>
                    </a:cubicBezTo>
                    <a:cubicBezTo>
                      <a:pt x="27" y="166"/>
                      <a:pt x="28" y="166"/>
                      <a:pt x="28" y="166"/>
                    </a:cubicBezTo>
                    <a:cubicBezTo>
                      <a:pt x="28" y="167"/>
                      <a:pt x="30" y="167"/>
                      <a:pt x="33" y="165"/>
                    </a:cubicBezTo>
                    <a:cubicBezTo>
                      <a:pt x="36" y="163"/>
                      <a:pt x="31" y="164"/>
                      <a:pt x="33" y="163"/>
                    </a:cubicBezTo>
                    <a:cubicBezTo>
                      <a:pt x="35" y="162"/>
                      <a:pt x="34" y="162"/>
                      <a:pt x="35" y="162"/>
                    </a:cubicBezTo>
                    <a:cubicBezTo>
                      <a:pt x="37" y="163"/>
                      <a:pt x="32" y="163"/>
                      <a:pt x="35" y="164"/>
                    </a:cubicBezTo>
                    <a:cubicBezTo>
                      <a:pt x="37" y="164"/>
                      <a:pt x="35" y="165"/>
                      <a:pt x="33" y="166"/>
                    </a:cubicBezTo>
                    <a:cubicBezTo>
                      <a:pt x="31" y="167"/>
                      <a:pt x="33" y="166"/>
                      <a:pt x="32" y="167"/>
                    </a:cubicBezTo>
                    <a:cubicBezTo>
                      <a:pt x="32" y="167"/>
                      <a:pt x="34" y="167"/>
                      <a:pt x="33" y="168"/>
                    </a:cubicBezTo>
                    <a:cubicBezTo>
                      <a:pt x="32" y="168"/>
                      <a:pt x="30" y="167"/>
                      <a:pt x="28" y="168"/>
                    </a:cubicBezTo>
                    <a:cubicBezTo>
                      <a:pt x="27" y="169"/>
                      <a:pt x="28" y="168"/>
                      <a:pt x="27" y="167"/>
                    </a:cubicBezTo>
                    <a:cubicBezTo>
                      <a:pt x="26" y="165"/>
                      <a:pt x="26" y="166"/>
                      <a:pt x="25" y="166"/>
                    </a:cubicBezTo>
                    <a:cubicBezTo>
                      <a:pt x="23" y="167"/>
                      <a:pt x="24" y="168"/>
                      <a:pt x="24" y="167"/>
                    </a:cubicBezTo>
                    <a:cubicBezTo>
                      <a:pt x="23" y="167"/>
                      <a:pt x="22" y="168"/>
                      <a:pt x="20" y="168"/>
                    </a:cubicBezTo>
                    <a:cubicBezTo>
                      <a:pt x="18" y="169"/>
                      <a:pt x="23" y="170"/>
                      <a:pt x="20" y="170"/>
                    </a:cubicBezTo>
                    <a:cubicBezTo>
                      <a:pt x="17" y="170"/>
                      <a:pt x="21" y="171"/>
                      <a:pt x="18" y="171"/>
                    </a:cubicBezTo>
                    <a:cubicBezTo>
                      <a:pt x="15" y="170"/>
                      <a:pt x="19" y="171"/>
                      <a:pt x="17" y="172"/>
                    </a:cubicBezTo>
                    <a:cubicBezTo>
                      <a:pt x="15" y="172"/>
                      <a:pt x="13" y="171"/>
                      <a:pt x="12" y="172"/>
                    </a:cubicBezTo>
                    <a:cubicBezTo>
                      <a:pt x="12" y="172"/>
                      <a:pt x="12" y="174"/>
                      <a:pt x="14" y="173"/>
                    </a:cubicBezTo>
                    <a:cubicBezTo>
                      <a:pt x="17" y="173"/>
                      <a:pt x="14" y="173"/>
                      <a:pt x="15" y="175"/>
                    </a:cubicBezTo>
                    <a:cubicBezTo>
                      <a:pt x="16" y="176"/>
                      <a:pt x="14" y="174"/>
                      <a:pt x="10" y="175"/>
                    </a:cubicBezTo>
                    <a:cubicBezTo>
                      <a:pt x="7" y="176"/>
                      <a:pt x="12" y="175"/>
                      <a:pt x="12" y="176"/>
                    </a:cubicBezTo>
                    <a:cubicBezTo>
                      <a:pt x="13" y="178"/>
                      <a:pt x="12" y="175"/>
                      <a:pt x="9" y="177"/>
                    </a:cubicBezTo>
                    <a:cubicBezTo>
                      <a:pt x="6" y="178"/>
                      <a:pt x="8" y="179"/>
                      <a:pt x="7" y="178"/>
                    </a:cubicBezTo>
                    <a:cubicBezTo>
                      <a:pt x="5" y="178"/>
                      <a:pt x="7" y="179"/>
                      <a:pt x="5" y="179"/>
                    </a:cubicBezTo>
                    <a:cubicBezTo>
                      <a:pt x="3" y="178"/>
                      <a:pt x="2" y="178"/>
                      <a:pt x="3" y="179"/>
                    </a:cubicBezTo>
                    <a:cubicBezTo>
                      <a:pt x="4" y="180"/>
                      <a:pt x="1" y="179"/>
                      <a:pt x="2" y="180"/>
                    </a:cubicBezTo>
                    <a:cubicBezTo>
                      <a:pt x="3" y="181"/>
                      <a:pt x="6" y="180"/>
                      <a:pt x="9" y="181"/>
                    </a:cubicBezTo>
                    <a:cubicBezTo>
                      <a:pt x="11" y="182"/>
                      <a:pt x="8" y="181"/>
                      <a:pt x="7" y="182"/>
                    </a:cubicBezTo>
                    <a:cubicBezTo>
                      <a:pt x="7" y="182"/>
                      <a:pt x="6" y="180"/>
                      <a:pt x="3" y="182"/>
                    </a:cubicBezTo>
                    <a:cubicBezTo>
                      <a:pt x="0" y="183"/>
                      <a:pt x="5" y="184"/>
                      <a:pt x="3" y="185"/>
                    </a:cubicBezTo>
                    <a:cubicBezTo>
                      <a:pt x="0" y="185"/>
                      <a:pt x="3" y="185"/>
                      <a:pt x="2" y="186"/>
                    </a:cubicBezTo>
                    <a:cubicBezTo>
                      <a:pt x="2" y="187"/>
                      <a:pt x="3" y="188"/>
                      <a:pt x="5" y="187"/>
                    </a:cubicBezTo>
                    <a:cubicBezTo>
                      <a:pt x="7" y="186"/>
                      <a:pt x="9" y="188"/>
                      <a:pt x="10" y="187"/>
                    </a:cubicBezTo>
                    <a:cubicBezTo>
                      <a:pt x="10" y="185"/>
                      <a:pt x="11" y="187"/>
                      <a:pt x="13" y="187"/>
                    </a:cubicBezTo>
                    <a:cubicBezTo>
                      <a:pt x="15" y="186"/>
                      <a:pt x="16" y="187"/>
                      <a:pt x="14" y="187"/>
                    </a:cubicBezTo>
                    <a:cubicBezTo>
                      <a:pt x="11" y="188"/>
                      <a:pt x="15" y="190"/>
                      <a:pt x="12" y="188"/>
                    </a:cubicBezTo>
                    <a:cubicBezTo>
                      <a:pt x="10" y="186"/>
                      <a:pt x="10" y="189"/>
                      <a:pt x="9" y="188"/>
                    </a:cubicBezTo>
                    <a:cubicBezTo>
                      <a:pt x="7" y="187"/>
                      <a:pt x="5" y="189"/>
                      <a:pt x="4" y="188"/>
                    </a:cubicBezTo>
                    <a:cubicBezTo>
                      <a:pt x="2" y="188"/>
                      <a:pt x="2" y="188"/>
                      <a:pt x="2" y="189"/>
                    </a:cubicBezTo>
                    <a:cubicBezTo>
                      <a:pt x="2" y="191"/>
                      <a:pt x="4" y="189"/>
                      <a:pt x="4" y="191"/>
                    </a:cubicBezTo>
                    <a:cubicBezTo>
                      <a:pt x="4" y="192"/>
                      <a:pt x="2" y="189"/>
                      <a:pt x="2" y="191"/>
                    </a:cubicBezTo>
                    <a:cubicBezTo>
                      <a:pt x="3" y="193"/>
                      <a:pt x="4" y="191"/>
                      <a:pt x="4" y="192"/>
                    </a:cubicBezTo>
                    <a:cubicBezTo>
                      <a:pt x="4" y="194"/>
                      <a:pt x="2" y="194"/>
                      <a:pt x="2" y="194"/>
                    </a:cubicBezTo>
                    <a:cubicBezTo>
                      <a:pt x="4" y="195"/>
                      <a:pt x="4" y="196"/>
                      <a:pt x="5" y="195"/>
                    </a:cubicBezTo>
                    <a:cubicBezTo>
                      <a:pt x="5" y="194"/>
                      <a:pt x="5" y="196"/>
                      <a:pt x="6" y="196"/>
                    </a:cubicBezTo>
                    <a:cubicBezTo>
                      <a:pt x="6" y="195"/>
                      <a:pt x="5" y="197"/>
                      <a:pt x="6" y="197"/>
                    </a:cubicBezTo>
                    <a:cubicBezTo>
                      <a:pt x="7" y="197"/>
                      <a:pt x="6" y="195"/>
                      <a:pt x="8" y="195"/>
                    </a:cubicBezTo>
                    <a:cubicBezTo>
                      <a:pt x="9" y="194"/>
                      <a:pt x="7" y="197"/>
                      <a:pt x="6" y="198"/>
                    </a:cubicBezTo>
                    <a:cubicBezTo>
                      <a:pt x="4" y="198"/>
                      <a:pt x="7" y="198"/>
                      <a:pt x="6" y="199"/>
                    </a:cubicBezTo>
                    <a:cubicBezTo>
                      <a:pt x="5" y="200"/>
                      <a:pt x="6" y="198"/>
                      <a:pt x="4" y="200"/>
                    </a:cubicBezTo>
                    <a:cubicBezTo>
                      <a:pt x="2" y="202"/>
                      <a:pt x="4" y="204"/>
                      <a:pt x="5" y="203"/>
                    </a:cubicBezTo>
                    <a:cubicBezTo>
                      <a:pt x="5" y="202"/>
                      <a:pt x="6" y="203"/>
                      <a:pt x="6" y="202"/>
                    </a:cubicBezTo>
                    <a:cubicBezTo>
                      <a:pt x="7" y="201"/>
                      <a:pt x="8" y="202"/>
                      <a:pt x="7" y="203"/>
                    </a:cubicBezTo>
                    <a:cubicBezTo>
                      <a:pt x="6" y="203"/>
                      <a:pt x="8" y="203"/>
                      <a:pt x="7" y="204"/>
                    </a:cubicBezTo>
                    <a:cubicBezTo>
                      <a:pt x="6" y="205"/>
                      <a:pt x="8" y="205"/>
                      <a:pt x="7" y="206"/>
                    </a:cubicBezTo>
                    <a:cubicBezTo>
                      <a:pt x="5" y="206"/>
                      <a:pt x="5" y="204"/>
                      <a:pt x="5" y="206"/>
                    </a:cubicBezTo>
                    <a:cubicBezTo>
                      <a:pt x="4" y="208"/>
                      <a:pt x="4" y="208"/>
                      <a:pt x="5" y="208"/>
                    </a:cubicBezTo>
                    <a:cubicBezTo>
                      <a:pt x="6" y="210"/>
                      <a:pt x="7" y="209"/>
                      <a:pt x="7" y="210"/>
                    </a:cubicBezTo>
                    <a:cubicBezTo>
                      <a:pt x="8" y="211"/>
                      <a:pt x="9" y="211"/>
                      <a:pt x="10" y="212"/>
                    </a:cubicBezTo>
                    <a:cubicBezTo>
                      <a:pt x="11" y="212"/>
                      <a:pt x="10" y="212"/>
                      <a:pt x="11" y="213"/>
                    </a:cubicBezTo>
                    <a:cubicBezTo>
                      <a:pt x="11" y="214"/>
                      <a:pt x="11" y="212"/>
                      <a:pt x="12" y="213"/>
                    </a:cubicBezTo>
                    <a:cubicBezTo>
                      <a:pt x="13" y="213"/>
                      <a:pt x="12" y="214"/>
                      <a:pt x="13" y="213"/>
                    </a:cubicBezTo>
                    <a:cubicBezTo>
                      <a:pt x="15" y="213"/>
                      <a:pt x="18" y="213"/>
                      <a:pt x="19" y="212"/>
                    </a:cubicBezTo>
                    <a:cubicBezTo>
                      <a:pt x="20" y="212"/>
                      <a:pt x="21" y="211"/>
                      <a:pt x="22" y="209"/>
                    </a:cubicBezTo>
                    <a:cubicBezTo>
                      <a:pt x="23" y="208"/>
                      <a:pt x="24" y="209"/>
                      <a:pt x="24" y="208"/>
                    </a:cubicBezTo>
                    <a:cubicBezTo>
                      <a:pt x="24" y="207"/>
                      <a:pt x="26" y="208"/>
                      <a:pt x="25" y="207"/>
                    </a:cubicBezTo>
                    <a:cubicBezTo>
                      <a:pt x="24" y="206"/>
                      <a:pt x="27" y="207"/>
                      <a:pt x="26" y="205"/>
                    </a:cubicBezTo>
                    <a:cubicBezTo>
                      <a:pt x="26" y="204"/>
                      <a:pt x="27" y="206"/>
                      <a:pt x="28" y="205"/>
                    </a:cubicBezTo>
                    <a:cubicBezTo>
                      <a:pt x="29" y="205"/>
                      <a:pt x="30" y="206"/>
                      <a:pt x="30" y="204"/>
                    </a:cubicBezTo>
                    <a:cubicBezTo>
                      <a:pt x="30" y="202"/>
                      <a:pt x="32" y="203"/>
                      <a:pt x="30" y="202"/>
                    </a:cubicBezTo>
                    <a:cubicBezTo>
                      <a:pt x="30" y="201"/>
                      <a:pt x="29" y="200"/>
                      <a:pt x="31" y="201"/>
                    </a:cubicBezTo>
                    <a:cubicBezTo>
                      <a:pt x="32" y="202"/>
                      <a:pt x="31" y="199"/>
                      <a:pt x="32" y="200"/>
                    </a:cubicBezTo>
                    <a:cubicBezTo>
                      <a:pt x="32" y="202"/>
                      <a:pt x="31" y="201"/>
                      <a:pt x="32" y="202"/>
                    </a:cubicBezTo>
                    <a:cubicBezTo>
                      <a:pt x="32" y="203"/>
                      <a:pt x="31" y="204"/>
                      <a:pt x="33" y="204"/>
                    </a:cubicBezTo>
                    <a:cubicBezTo>
                      <a:pt x="34" y="204"/>
                      <a:pt x="33" y="204"/>
                      <a:pt x="35" y="204"/>
                    </a:cubicBezTo>
                    <a:cubicBezTo>
                      <a:pt x="35" y="204"/>
                      <a:pt x="35" y="205"/>
                      <a:pt x="36" y="206"/>
                    </a:cubicBezTo>
                    <a:cubicBezTo>
                      <a:pt x="36" y="207"/>
                      <a:pt x="38" y="205"/>
                      <a:pt x="37" y="202"/>
                    </a:cubicBezTo>
                    <a:cubicBezTo>
                      <a:pt x="36" y="200"/>
                      <a:pt x="38" y="200"/>
                      <a:pt x="38" y="199"/>
                    </a:cubicBezTo>
                    <a:cubicBezTo>
                      <a:pt x="37" y="197"/>
                      <a:pt x="39" y="199"/>
                      <a:pt x="40" y="197"/>
                    </a:cubicBezTo>
                    <a:cubicBezTo>
                      <a:pt x="42" y="195"/>
                      <a:pt x="40" y="195"/>
                      <a:pt x="41" y="194"/>
                    </a:cubicBezTo>
                    <a:cubicBezTo>
                      <a:pt x="43" y="193"/>
                      <a:pt x="39" y="189"/>
                      <a:pt x="40" y="188"/>
                    </a:cubicBezTo>
                    <a:cubicBezTo>
                      <a:pt x="40" y="187"/>
                      <a:pt x="42" y="189"/>
                      <a:pt x="42" y="187"/>
                    </a:cubicBezTo>
                    <a:cubicBezTo>
                      <a:pt x="43" y="186"/>
                      <a:pt x="44" y="185"/>
                      <a:pt x="41" y="184"/>
                    </a:cubicBezTo>
                    <a:cubicBezTo>
                      <a:pt x="37" y="182"/>
                      <a:pt x="41" y="179"/>
                      <a:pt x="40" y="176"/>
                    </a:cubicBezTo>
                    <a:cubicBezTo>
                      <a:pt x="38" y="174"/>
                      <a:pt x="40" y="174"/>
                      <a:pt x="39" y="173"/>
                    </a:cubicBezTo>
                    <a:cubicBezTo>
                      <a:pt x="38" y="172"/>
                      <a:pt x="40" y="172"/>
                      <a:pt x="39" y="170"/>
                    </a:cubicBezTo>
                    <a:cubicBezTo>
                      <a:pt x="37" y="168"/>
                      <a:pt x="40" y="168"/>
                      <a:pt x="39" y="167"/>
                    </a:cubicBezTo>
                    <a:cubicBezTo>
                      <a:pt x="39" y="165"/>
                      <a:pt x="43" y="163"/>
                      <a:pt x="44" y="162"/>
                    </a:cubicBezTo>
                    <a:cubicBezTo>
                      <a:pt x="46" y="161"/>
                      <a:pt x="49" y="164"/>
                      <a:pt x="50" y="160"/>
                    </a:cubicBezTo>
                    <a:cubicBezTo>
                      <a:pt x="51" y="158"/>
                      <a:pt x="49" y="159"/>
                      <a:pt x="48" y="158"/>
                    </a:cubicBezTo>
                    <a:cubicBezTo>
                      <a:pt x="46" y="157"/>
                      <a:pt x="51" y="154"/>
                      <a:pt x="51" y="153"/>
                    </a:cubicBezTo>
                    <a:cubicBezTo>
                      <a:pt x="51" y="151"/>
                      <a:pt x="52" y="152"/>
                      <a:pt x="52" y="150"/>
                    </a:cubicBezTo>
                    <a:cubicBezTo>
                      <a:pt x="51" y="147"/>
                      <a:pt x="53" y="148"/>
                      <a:pt x="51" y="144"/>
                    </a:cubicBezTo>
                    <a:cubicBezTo>
                      <a:pt x="51" y="143"/>
                      <a:pt x="58" y="144"/>
                      <a:pt x="56" y="142"/>
                    </a:cubicBezTo>
                    <a:cubicBezTo>
                      <a:pt x="55" y="140"/>
                      <a:pt x="57" y="141"/>
                      <a:pt x="58" y="138"/>
                    </a:cubicBezTo>
                    <a:cubicBezTo>
                      <a:pt x="60" y="136"/>
                      <a:pt x="61" y="137"/>
                      <a:pt x="61" y="135"/>
                    </a:cubicBezTo>
                    <a:cubicBezTo>
                      <a:pt x="62" y="134"/>
                      <a:pt x="60" y="133"/>
                      <a:pt x="60" y="132"/>
                    </a:cubicBezTo>
                    <a:cubicBezTo>
                      <a:pt x="60" y="131"/>
                      <a:pt x="61" y="132"/>
                      <a:pt x="63" y="129"/>
                    </a:cubicBezTo>
                    <a:cubicBezTo>
                      <a:pt x="63" y="127"/>
                      <a:pt x="65" y="127"/>
                      <a:pt x="66" y="126"/>
                    </a:cubicBezTo>
                    <a:cubicBezTo>
                      <a:pt x="67" y="126"/>
                      <a:pt x="68" y="128"/>
                      <a:pt x="70" y="127"/>
                    </a:cubicBezTo>
                    <a:cubicBezTo>
                      <a:pt x="72" y="126"/>
                      <a:pt x="69" y="123"/>
                      <a:pt x="70" y="122"/>
                    </a:cubicBezTo>
                    <a:cubicBezTo>
                      <a:pt x="73" y="120"/>
                      <a:pt x="78" y="125"/>
                      <a:pt x="81" y="123"/>
                    </a:cubicBezTo>
                    <a:cubicBezTo>
                      <a:pt x="83" y="122"/>
                      <a:pt x="78" y="123"/>
                      <a:pt x="81" y="121"/>
                    </a:cubicBezTo>
                    <a:cubicBezTo>
                      <a:pt x="84" y="118"/>
                      <a:pt x="78" y="117"/>
                      <a:pt x="84" y="117"/>
                    </a:cubicBezTo>
                    <a:cubicBezTo>
                      <a:pt x="84" y="116"/>
                      <a:pt x="86" y="118"/>
                      <a:pt x="86" y="117"/>
                    </a:cubicBezTo>
                    <a:cubicBezTo>
                      <a:pt x="86" y="117"/>
                      <a:pt x="85" y="116"/>
                      <a:pt x="86" y="115"/>
                    </a:cubicBezTo>
                    <a:cubicBezTo>
                      <a:pt x="88" y="114"/>
                      <a:pt x="90" y="116"/>
                      <a:pt x="92" y="118"/>
                    </a:cubicBezTo>
                    <a:cubicBezTo>
                      <a:pt x="94" y="120"/>
                      <a:pt x="91" y="120"/>
                      <a:pt x="94" y="120"/>
                    </a:cubicBezTo>
                    <a:cubicBezTo>
                      <a:pt x="98" y="120"/>
                      <a:pt x="96" y="121"/>
                      <a:pt x="98" y="121"/>
                    </a:cubicBezTo>
                    <a:cubicBezTo>
                      <a:pt x="101" y="120"/>
                      <a:pt x="100" y="119"/>
                      <a:pt x="101" y="119"/>
                    </a:cubicBezTo>
                    <a:cubicBezTo>
                      <a:pt x="102" y="120"/>
                      <a:pt x="104" y="120"/>
                      <a:pt x="106" y="122"/>
                    </a:cubicBezTo>
                    <a:cubicBezTo>
                      <a:pt x="106" y="121"/>
                      <a:pt x="107" y="122"/>
                      <a:pt x="107" y="120"/>
                    </a:cubicBezTo>
                    <a:cubicBezTo>
                      <a:pt x="108" y="118"/>
                      <a:pt x="112" y="119"/>
                      <a:pt x="110" y="117"/>
                    </a:cubicBezTo>
                    <a:cubicBezTo>
                      <a:pt x="109" y="115"/>
                      <a:pt x="111" y="115"/>
                      <a:pt x="111" y="113"/>
                    </a:cubicBezTo>
                    <a:cubicBezTo>
                      <a:pt x="111" y="112"/>
                      <a:pt x="112" y="110"/>
                      <a:pt x="114" y="109"/>
                    </a:cubicBezTo>
                    <a:cubicBezTo>
                      <a:pt x="116" y="108"/>
                      <a:pt x="115" y="110"/>
                      <a:pt x="119" y="108"/>
                    </a:cubicBezTo>
                    <a:cubicBezTo>
                      <a:pt x="121" y="107"/>
                      <a:pt x="121" y="107"/>
                      <a:pt x="122" y="109"/>
                    </a:cubicBezTo>
                    <a:cubicBezTo>
                      <a:pt x="123" y="110"/>
                      <a:pt x="128" y="111"/>
                      <a:pt x="129" y="113"/>
                    </a:cubicBezTo>
                    <a:cubicBezTo>
                      <a:pt x="129" y="114"/>
                      <a:pt x="124" y="116"/>
                      <a:pt x="127" y="117"/>
                    </a:cubicBezTo>
                    <a:cubicBezTo>
                      <a:pt x="128" y="118"/>
                      <a:pt x="128" y="117"/>
                      <a:pt x="129" y="115"/>
                    </a:cubicBezTo>
                    <a:close/>
                    <a:moveTo>
                      <a:pt x="101" y="103"/>
                    </a:moveTo>
                    <a:cubicBezTo>
                      <a:pt x="102" y="103"/>
                      <a:pt x="103" y="102"/>
                      <a:pt x="101" y="101"/>
                    </a:cubicBezTo>
                    <a:cubicBezTo>
                      <a:pt x="99" y="101"/>
                      <a:pt x="100" y="104"/>
                      <a:pt x="101" y="103"/>
                    </a:cubicBezTo>
                    <a:close/>
                    <a:moveTo>
                      <a:pt x="98" y="105"/>
                    </a:moveTo>
                    <a:cubicBezTo>
                      <a:pt x="99" y="104"/>
                      <a:pt x="101" y="103"/>
                      <a:pt x="99" y="102"/>
                    </a:cubicBezTo>
                    <a:cubicBezTo>
                      <a:pt x="98" y="102"/>
                      <a:pt x="99" y="103"/>
                      <a:pt x="98" y="103"/>
                    </a:cubicBezTo>
                    <a:cubicBezTo>
                      <a:pt x="96" y="104"/>
                      <a:pt x="95" y="104"/>
                      <a:pt x="97" y="105"/>
                    </a:cubicBezTo>
                    <a:cubicBezTo>
                      <a:pt x="97" y="105"/>
                      <a:pt x="98" y="106"/>
                      <a:pt x="98" y="105"/>
                    </a:cubicBezTo>
                    <a:close/>
                    <a:moveTo>
                      <a:pt x="96" y="105"/>
                    </a:moveTo>
                    <a:cubicBezTo>
                      <a:pt x="96" y="105"/>
                      <a:pt x="95" y="104"/>
                      <a:pt x="93" y="105"/>
                    </a:cubicBezTo>
                    <a:cubicBezTo>
                      <a:pt x="92" y="106"/>
                      <a:pt x="97" y="106"/>
                      <a:pt x="96" y="105"/>
                    </a:cubicBezTo>
                    <a:close/>
                    <a:moveTo>
                      <a:pt x="95" y="103"/>
                    </a:moveTo>
                    <a:cubicBezTo>
                      <a:pt x="96" y="103"/>
                      <a:pt x="96" y="103"/>
                      <a:pt x="98" y="102"/>
                    </a:cubicBezTo>
                    <a:cubicBezTo>
                      <a:pt x="100" y="100"/>
                      <a:pt x="99" y="100"/>
                      <a:pt x="97" y="100"/>
                    </a:cubicBezTo>
                    <a:cubicBezTo>
                      <a:pt x="96" y="101"/>
                      <a:pt x="98" y="101"/>
                      <a:pt x="97" y="101"/>
                    </a:cubicBezTo>
                    <a:cubicBezTo>
                      <a:pt x="96" y="102"/>
                      <a:pt x="95" y="101"/>
                      <a:pt x="95" y="102"/>
                    </a:cubicBezTo>
                    <a:cubicBezTo>
                      <a:pt x="95" y="103"/>
                      <a:pt x="95" y="101"/>
                      <a:pt x="94" y="102"/>
                    </a:cubicBezTo>
                    <a:cubicBezTo>
                      <a:pt x="92" y="102"/>
                      <a:pt x="90" y="103"/>
                      <a:pt x="92" y="103"/>
                    </a:cubicBezTo>
                    <a:cubicBezTo>
                      <a:pt x="93" y="103"/>
                      <a:pt x="91" y="104"/>
                      <a:pt x="93" y="104"/>
                    </a:cubicBezTo>
                    <a:cubicBezTo>
                      <a:pt x="94" y="103"/>
                      <a:pt x="94" y="103"/>
                      <a:pt x="95" y="103"/>
                    </a:cubicBezTo>
                    <a:close/>
                    <a:moveTo>
                      <a:pt x="84" y="108"/>
                    </a:moveTo>
                    <a:cubicBezTo>
                      <a:pt x="85" y="108"/>
                      <a:pt x="85" y="108"/>
                      <a:pt x="85" y="107"/>
                    </a:cubicBezTo>
                    <a:cubicBezTo>
                      <a:pt x="85" y="106"/>
                      <a:pt x="85" y="105"/>
                      <a:pt x="83" y="106"/>
                    </a:cubicBezTo>
                    <a:cubicBezTo>
                      <a:pt x="82" y="107"/>
                      <a:pt x="82" y="107"/>
                      <a:pt x="84" y="108"/>
                    </a:cubicBezTo>
                    <a:close/>
                    <a:moveTo>
                      <a:pt x="80" y="106"/>
                    </a:moveTo>
                    <a:cubicBezTo>
                      <a:pt x="79" y="106"/>
                      <a:pt x="79" y="105"/>
                      <a:pt x="79" y="106"/>
                    </a:cubicBezTo>
                    <a:cubicBezTo>
                      <a:pt x="78" y="107"/>
                      <a:pt x="80" y="108"/>
                      <a:pt x="81" y="107"/>
                    </a:cubicBezTo>
                    <a:cubicBezTo>
                      <a:pt x="82" y="107"/>
                      <a:pt x="81" y="107"/>
                      <a:pt x="80" y="106"/>
                    </a:cubicBezTo>
                    <a:close/>
                    <a:moveTo>
                      <a:pt x="102" y="99"/>
                    </a:moveTo>
                    <a:cubicBezTo>
                      <a:pt x="102" y="99"/>
                      <a:pt x="101" y="99"/>
                      <a:pt x="101" y="99"/>
                    </a:cubicBezTo>
                    <a:cubicBezTo>
                      <a:pt x="102" y="100"/>
                      <a:pt x="103" y="100"/>
                      <a:pt x="102" y="99"/>
                    </a:cubicBezTo>
                    <a:close/>
                    <a:moveTo>
                      <a:pt x="84" y="110"/>
                    </a:moveTo>
                    <a:cubicBezTo>
                      <a:pt x="84" y="110"/>
                      <a:pt x="85" y="109"/>
                      <a:pt x="84" y="109"/>
                    </a:cubicBezTo>
                    <a:cubicBezTo>
                      <a:pt x="84" y="108"/>
                      <a:pt x="83" y="110"/>
                      <a:pt x="84" y="110"/>
                    </a:cubicBezTo>
                    <a:close/>
                    <a:moveTo>
                      <a:pt x="86" y="109"/>
                    </a:moveTo>
                    <a:cubicBezTo>
                      <a:pt x="87" y="108"/>
                      <a:pt x="85" y="107"/>
                      <a:pt x="85" y="108"/>
                    </a:cubicBezTo>
                    <a:cubicBezTo>
                      <a:pt x="85" y="109"/>
                      <a:pt x="85" y="109"/>
                      <a:pt x="86" y="109"/>
                    </a:cubicBezTo>
                    <a:close/>
                    <a:moveTo>
                      <a:pt x="80" y="108"/>
                    </a:moveTo>
                    <a:cubicBezTo>
                      <a:pt x="80" y="108"/>
                      <a:pt x="79" y="108"/>
                      <a:pt x="78" y="109"/>
                    </a:cubicBezTo>
                    <a:cubicBezTo>
                      <a:pt x="78" y="110"/>
                      <a:pt x="80" y="109"/>
                      <a:pt x="80" y="108"/>
                    </a:cubicBezTo>
                    <a:close/>
                    <a:moveTo>
                      <a:pt x="78" y="109"/>
                    </a:moveTo>
                    <a:cubicBezTo>
                      <a:pt x="79" y="108"/>
                      <a:pt x="79" y="108"/>
                      <a:pt x="79" y="108"/>
                    </a:cubicBezTo>
                    <a:cubicBezTo>
                      <a:pt x="78" y="108"/>
                      <a:pt x="78" y="108"/>
                      <a:pt x="77" y="108"/>
                    </a:cubicBezTo>
                    <a:cubicBezTo>
                      <a:pt x="76" y="107"/>
                      <a:pt x="76" y="108"/>
                      <a:pt x="76" y="108"/>
                    </a:cubicBezTo>
                    <a:cubicBezTo>
                      <a:pt x="75" y="108"/>
                      <a:pt x="75" y="108"/>
                      <a:pt x="74" y="109"/>
                    </a:cubicBezTo>
                    <a:cubicBezTo>
                      <a:pt x="74" y="109"/>
                      <a:pt x="75" y="109"/>
                      <a:pt x="76" y="110"/>
                    </a:cubicBezTo>
                    <a:cubicBezTo>
                      <a:pt x="77" y="110"/>
                      <a:pt x="77" y="110"/>
                      <a:pt x="78" y="109"/>
                    </a:cubicBezTo>
                    <a:close/>
                    <a:moveTo>
                      <a:pt x="77" y="106"/>
                    </a:moveTo>
                    <a:cubicBezTo>
                      <a:pt x="76" y="106"/>
                      <a:pt x="75" y="107"/>
                      <a:pt x="76" y="107"/>
                    </a:cubicBezTo>
                    <a:cubicBezTo>
                      <a:pt x="77" y="107"/>
                      <a:pt x="77" y="106"/>
                      <a:pt x="77" y="106"/>
                    </a:cubicBezTo>
                    <a:close/>
                    <a:moveTo>
                      <a:pt x="75" y="107"/>
                    </a:moveTo>
                    <a:cubicBezTo>
                      <a:pt x="75" y="107"/>
                      <a:pt x="75" y="107"/>
                      <a:pt x="74" y="107"/>
                    </a:cubicBezTo>
                    <a:cubicBezTo>
                      <a:pt x="74" y="107"/>
                      <a:pt x="74" y="107"/>
                      <a:pt x="74" y="108"/>
                    </a:cubicBezTo>
                    <a:cubicBezTo>
                      <a:pt x="74" y="109"/>
                      <a:pt x="75" y="107"/>
                      <a:pt x="75" y="107"/>
                    </a:cubicBezTo>
                    <a:close/>
                    <a:moveTo>
                      <a:pt x="74" y="112"/>
                    </a:moveTo>
                    <a:cubicBezTo>
                      <a:pt x="74" y="111"/>
                      <a:pt x="77" y="111"/>
                      <a:pt x="75" y="110"/>
                    </a:cubicBezTo>
                    <a:cubicBezTo>
                      <a:pt x="73" y="109"/>
                      <a:pt x="74" y="110"/>
                      <a:pt x="74" y="110"/>
                    </a:cubicBezTo>
                    <a:cubicBezTo>
                      <a:pt x="73" y="110"/>
                      <a:pt x="73" y="111"/>
                      <a:pt x="73" y="110"/>
                    </a:cubicBezTo>
                    <a:cubicBezTo>
                      <a:pt x="72" y="110"/>
                      <a:pt x="72" y="110"/>
                      <a:pt x="72" y="111"/>
                    </a:cubicBezTo>
                    <a:cubicBezTo>
                      <a:pt x="71" y="112"/>
                      <a:pt x="71" y="111"/>
                      <a:pt x="70" y="112"/>
                    </a:cubicBezTo>
                    <a:cubicBezTo>
                      <a:pt x="70" y="112"/>
                      <a:pt x="70" y="112"/>
                      <a:pt x="73" y="112"/>
                    </a:cubicBezTo>
                    <a:cubicBezTo>
                      <a:pt x="73" y="112"/>
                      <a:pt x="74" y="112"/>
                      <a:pt x="74" y="112"/>
                    </a:cubicBezTo>
                    <a:close/>
                    <a:moveTo>
                      <a:pt x="70" y="115"/>
                    </a:moveTo>
                    <a:cubicBezTo>
                      <a:pt x="69" y="114"/>
                      <a:pt x="70" y="114"/>
                      <a:pt x="70" y="114"/>
                    </a:cubicBezTo>
                    <a:cubicBezTo>
                      <a:pt x="70" y="113"/>
                      <a:pt x="71" y="112"/>
                      <a:pt x="70" y="113"/>
                    </a:cubicBezTo>
                    <a:cubicBezTo>
                      <a:pt x="70" y="113"/>
                      <a:pt x="70" y="112"/>
                      <a:pt x="69" y="112"/>
                    </a:cubicBezTo>
                    <a:cubicBezTo>
                      <a:pt x="69" y="113"/>
                      <a:pt x="69" y="111"/>
                      <a:pt x="68" y="112"/>
                    </a:cubicBezTo>
                    <a:cubicBezTo>
                      <a:pt x="68" y="113"/>
                      <a:pt x="67" y="112"/>
                      <a:pt x="67" y="112"/>
                    </a:cubicBezTo>
                    <a:cubicBezTo>
                      <a:pt x="67" y="113"/>
                      <a:pt x="67" y="112"/>
                      <a:pt x="66" y="113"/>
                    </a:cubicBezTo>
                    <a:cubicBezTo>
                      <a:pt x="65" y="113"/>
                      <a:pt x="67" y="113"/>
                      <a:pt x="67" y="114"/>
                    </a:cubicBezTo>
                    <a:cubicBezTo>
                      <a:pt x="67" y="114"/>
                      <a:pt x="64" y="114"/>
                      <a:pt x="65" y="114"/>
                    </a:cubicBezTo>
                    <a:cubicBezTo>
                      <a:pt x="66" y="115"/>
                      <a:pt x="64" y="114"/>
                      <a:pt x="65" y="115"/>
                    </a:cubicBezTo>
                    <a:cubicBezTo>
                      <a:pt x="65" y="115"/>
                      <a:pt x="64" y="115"/>
                      <a:pt x="65" y="116"/>
                    </a:cubicBezTo>
                    <a:cubicBezTo>
                      <a:pt x="65" y="116"/>
                      <a:pt x="63" y="117"/>
                      <a:pt x="65" y="117"/>
                    </a:cubicBezTo>
                    <a:cubicBezTo>
                      <a:pt x="66" y="117"/>
                      <a:pt x="65" y="118"/>
                      <a:pt x="66" y="117"/>
                    </a:cubicBezTo>
                    <a:cubicBezTo>
                      <a:pt x="67" y="117"/>
                      <a:pt x="67" y="116"/>
                      <a:pt x="67" y="116"/>
                    </a:cubicBezTo>
                    <a:cubicBezTo>
                      <a:pt x="68" y="116"/>
                      <a:pt x="67" y="117"/>
                      <a:pt x="69" y="116"/>
                    </a:cubicBezTo>
                    <a:cubicBezTo>
                      <a:pt x="70" y="116"/>
                      <a:pt x="70" y="116"/>
                      <a:pt x="70" y="115"/>
                    </a:cubicBezTo>
                    <a:close/>
                    <a:moveTo>
                      <a:pt x="67" y="118"/>
                    </a:moveTo>
                    <a:cubicBezTo>
                      <a:pt x="66" y="118"/>
                      <a:pt x="65" y="118"/>
                      <a:pt x="66" y="119"/>
                    </a:cubicBezTo>
                    <a:cubicBezTo>
                      <a:pt x="66" y="119"/>
                      <a:pt x="67" y="119"/>
                      <a:pt x="67" y="118"/>
                    </a:cubicBezTo>
                    <a:close/>
                    <a:moveTo>
                      <a:pt x="65" y="120"/>
                    </a:moveTo>
                    <a:cubicBezTo>
                      <a:pt x="66" y="120"/>
                      <a:pt x="64" y="119"/>
                      <a:pt x="64" y="120"/>
                    </a:cubicBezTo>
                    <a:cubicBezTo>
                      <a:pt x="63" y="120"/>
                      <a:pt x="64" y="120"/>
                      <a:pt x="65" y="120"/>
                    </a:cubicBezTo>
                    <a:close/>
                    <a:moveTo>
                      <a:pt x="55" y="127"/>
                    </a:moveTo>
                    <a:cubicBezTo>
                      <a:pt x="54" y="127"/>
                      <a:pt x="54" y="128"/>
                      <a:pt x="54" y="128"/>
                    </a:cubicBezTo>
                    <a:cubicBezTo>
                      <a:pt x="55" y="127"/>
                      <a:pt x="55" y="127"/>
                      <a:pt x="55" y="127"/>
                    </a:cubicBezTo>
                    <a:close/>
                    <a:moveTo>
                      <a:pt x="54" y="124"/>
                    </a:moveTo>
                    <a:cubicBezTo>
                      <a:pt x="55" y="123"/>
                      <a:pt x="54" y="123"/>
                      <a:pt x="54" y="123"/>
                    </a:cubicBezTo>
                    <a:cubicBezTo>
                      <a:pt x="54" y="123"/>
                      <a:pt x="53" y="123"/>
                      <a:pt x="52" y="123"/>
                    </a:cubicBezTo>
                    <a:cubicBezTo>
                      <a:pt x="51" y="123"/>
                      <a:pt x="52" y="124"/>
                      <a:pt x="51" y="124"/>
                    </a:cubicBezTo>
                    <a:cubicBezTo>
                      <a:pt x="50" y="124"/>
                      <a:pt x="51" y="124"/>
                      <a:pt x="50" y="125"/>
                    </a:cubicBezTo>
                    <a:cubicBezTo>
                      <a:pt x="50" y="125"/>
                      <a:pt x="50" y="126"/>
                      <a:pt x="52" y="125"/>
                    </a:cubicBezTo>
                    <a:cubicBezTo>
                      <a:pt x="52" y="125"/>
                      <a:pt x="53" y="125"/>
                      <a:pt x="54" y="124"/>
                    </a:cubicBezTo>
                    <a:close/>
                    <a:moveTo>
                      <a:pt x="56" y="121"/>
                    </a:moveTo>
                    <a:cubicBezTo>
                      <a:pt x="57" y="121"/>
                      <a:pt x="55" y="120"/>
                      <a:pt x="56" y="120"/>
                    </a:cubicBezTo>
                    <a:cubicBezTo>
                      <a:pt x="57" y="119"/>
                      <a:pt x="55" y="117"/>
                      <a:pt x="55" y="118"/>
                    </a:cubicBezTo>
                    <a:cubicBezTo>
                      <a:pt x="54" y="118"/>
                      <a:pt x="55" y="119"/>
                      <a:pt x="54" y="119"/>
                    </a:cubicBezTo>
                    <a:cubicBezTo>
                      <a:pt x="53" y="119"/>
                      <a:pt x="54" y="120"/>
                      <a:pt x="53" y="120"/>
                    </a:cubicBezTo>
                    <a:cubicBezTo>
                      <a:pt x="52" y="120"/>
                      <a:pt x="53" y="119"/>
                      <a:pt x="52" y="119"/>
                    </a:cubicBezTo>
                    <a:cubicBezTo>
                      <a:pt x="52" y="120"/>
                      <a:pt x="51" y="119"/>
                      <a:pt x="51" y="120"/>
                    </a:cubicBezTo>
                    <a:cubicBezTo>
                      <a:pt x="51" y="120"/>
                      <a:pt x="50" y="121"/>
                      <a:pt x="51" y="121"/>
                    </a:cubicBezTo>
                    <a:cubicBezTo>
                      <a:pt x="52" y="122"/>
                      <a:pt x="52" y="121"/>
                      <a:pt x="54" y="120"/>
                    </a:cubicBezTo>
                    <a:cubicBezTo>
                      <a:pt x="56" y="120"/>
                      <a:pt x="52" y="121"/>
                      <a:pt x="53" y="122"/>
                    </a:cubicBezTo>
                    <a:cubicBezTo>
                      <a:pt x="54" y="122"/>
                      <a:pt x="55" y="121"/>
                      <a:pt x="56" y="121"/>
                    </a:cubicBezTo>
                    <a:close/>
                    <a:moveTo>
                      <a:pt x="57" y="119"/>
                    </a:moveTo>
                    <a:cubicBezTo>
                      <a:pt x="57" y="119"/>
                      <a:pt x="57" y="118"/>
                      <a:pt x="58" y="118"/>
                    </a:cubicBezTo>
                    <a:cubicBezTo>
                      <a:pt x="59" y="118"/>
                      <a:pt x="59" y="117"/>
                      <a:pt x="60" y="116"/>
                    </a:cubicBezTo>
                    <a:cubicBezTo>
                      <a:pt x="60" y="115"/>
                      <a:pt x="60" y="114"/>
                      <a:pt x="59" y="115"/>
                    </a:cubicBezTo>
                    <a:cubicBezTo>
                      <a:pt x="58" y="116"/>
                      <a:pt x="57" y="116"/>
                      <a:pt x="57" y="118"/>
                    </a:cubicBezTo>
                    <a:cubicBezTo>
                      <a:pt x="56" y="118"/>
                      <a:pt x="56" y="118"/>
                      <a:pt x="57" y="119"/>
                    </a:cubicBezTo>
                    <a:close/>
                    <a:moveTo>
                      <a:pt x="63" y="118"/>
                    </a:moveTo>
                    <a:cubicBezTo>
                      <a:pt x="63" y="118"/>
                      <a:pt x="61" y="118"/>
                      <a:pt x="61" y="118"/>
                    </a:cubicBezTo>
                    <a:cubicBezTo>
                      <a:pt x="61" y="118"/>
                      <a:pt x="62" y="119"/>
                      <a:pt x="63" y="118"/>
                    </a:cubicBezTo>
                    <a:close/>
                    <a:moveTo>
                      <a:pt x="60" y="119"/>
                    </a:moveTo>
                    <a:cubicBezTo>
                      <a:pt x="60" y="119"/>
                      <a:pt x="61" y="120"/>
                      <a:pt x="59" y="121"/>
                    </a:cubicBezTo>
                    <a:cubicBezTo>
                      <a:pt x="58" y="122"/>
                      <a:pt x="60" y="120"/>
                      <a:pt x="59" y="120"/>
                    </a:cubicBezTo>
                    <a:cubicBezTo>
                      <a:pt x="58" y="120"/>
                      <a:pt x="60" y="119"/>
                      <a:pt x="59" y="118"/>
                    </a:cubicBezTo>
                    <a:cubicBezTo>
                      <a:pt x="58" y="118"/>
                      <a:pt x="57" y="119"/>
                      <a:pt x="57" y="120"/>
                    </a:cubicBezTo>
                    <a:cubicBezTo>
                      <a:pt x="56" y="121"/>
                      <a:pt x="58" y="122"/>
                      <a:pt x="56" y="122"/>
                    </a:cubicBezTo>
                    <a:cubicBezTo>
                      <a:pt x="55" y="122"/>
                      <a:pt x="56" y="122"/>
                      <a:pt x="55" y="124"/>
                    </a:cubicBezTo>
                    <a:cubicBezTo>
                      <a:pt x="54" y="125"/>
                      <a:pt x="56" y="123"/>
                      <a:pt x="57" y="124"/>
                    </a:cubicBezTo>
                    <a:cubicBezTo>
                      <a:pt x="58" y="125"/>
                      <a:pt x="58" y="123"/>
                      <a:pt x="58" y="123"/>
                    </a:cubicBezTo>
                    <a:cubicBezTo>
                      <a:pt x="59" y="124"/>
                      <a:pt x="59" y="124"/>
                      <a:pt x="59" y="123"/>
                    </a:cubicBezTo>
                    <a:cubicBezTo>
                      <a:pt x="60" y="122"/>
                      <a:pt x="60" y="122"/>
                      <a:pt x="61" y="122"/>
                    </a:cubicBezTo>
                    <a:cubicBezTo>
                      <a:pt x="63" y="121"/>
                      <a:pt x="62" y="119"/>
                      <a:pt x="61" y="119"/>
                    </a:cubicBezTo>
                    <a:cubicBezTo>
                      <a:pt x="61" y="118"/>
                      <a:pt x="61" y="118"/>
                      <a:pt x="60" y="119"/>
                    </a:cubicBezTo>
                    <a:close/>
                    <a:moveTo>
                      <a:pt x="62" y="122"/>
                    </a:moveTo>
                    <a:cubicBezTo>
                      <a:pt x="62" y="122"/>
                      <a:pt x="61" y="122"/>
                      <a:pt x="60" y="123"/>
                    </a:cubicBezTo>
                    <a:cubicBezTo>
                      <a:pt x="60" y="124"/>
                      <a:pt x="61" y="123"/>
                      <a:pt x="62" y="122"/>
                    </a:cubicBezTo>
                    <a:close/>
                    <a:moveTo>
                      <a:pt x="79" y="107"/>
                    </a:moveTo>
                    <a:cubicBezTo>
                      <a:pt x="79" y="107"/>
                      <a:pt x="78" y="106"/>
                      <a:pt x="77" y="107"/>
                    </a:cubicBezTo>
                    <a:cubicBezTo>
                      <a:pt x="77" y="107"/>
                      <a:pt x="78" y="107"/>
                      <a:pt x="79" y="107"/>
                    </a:cubicBezTo>
                    <a:close/>
                    <a:moveTo>
                      <a:pt x="50" y="124"/>
                    </a:moveTo>
                    <a:cubicBezTo>
                      <a:pt x="50" y="124"/>
                      <a:pt x="50" y="124"/>
                      <a:pt x="49" y="124"/>
                    </a:cubicBezTo>
                    <a:cubicBezTo>
                      <a:pt x="49" y="124"/>
                      <a:pt x="50" y="125"/>
                      <a:pt x="50" y="124"/>
                    </a:cubicBezTo>
                    <a:close/>
                    <a:moveTo>
                      <a:pt x="46" y="126"/>
                    </a:moveTo>
                    <a:cubicBezTo>
                      <a:pt x="46" y="126"/>
                      <a:pt x="46" y="127"/>
                      <a:pt x="47" y="126"/>
                    </a:cubicBezTo>
                    <a:cubicBezTo>
                      <a:pt x="47" y="126"/>
                      <a:pt x="47" y="126"/>
                      <a:pt x="48" y="126"/>
                    </a:cubicBezTo>
                    <a:cubicBezTo>
                      <a:pt x="48" y="126"/>
                      <a:pt x="48" y="125"/>
                      <a:pt x="49" y="125"/>
                    </a:cubicBezTo>
                    <a:cubicBezTo>
                      <a:pt x="50" y="125"/>
                      <a:pt x="49" y="125"/>
                      <a:pt x="48" y="124"/>
                    </a:cubicBezTo>
                    <a:cubicBezTo>
                      <a:pt x="47" y="124"/>
                      <a:pt x="47" y="124"/>
                      <a:pt x="46" y="125"/>
                    </a:cubicBezTo>
                    <a:cubicBezTo>
                      <a:pt x="46" y="126"/>
                      <a:pt x="47" y="126"/>
                      <a:pt x="46" y="126"/>
                    </a:cubicBezTo>
                    <a:close/>
                    <a:moveTo>
                      <a:pt x="46" y="126"/>
                    </a:moveTo>
                    <a:cubicBezTo>
                      <a:pt x="47" y="126"/>
                      <a:pt x="45" y="125"/>
                      <a:pt x="45" y="126"/>
                    </a:cubicBezTo>
                    <a:cubicBezTo>
                      <a:pt x="45" y="127"/>
                      <a:pt x="45" y="126"/>
                      <a:pt x="45" y="127"/>
                    </a:cubicBezTo>
                    <a:cubicBezTo>
                      <a:pt x="45" y="127"/>
                      <a:pt x="45" y="127"/>
                      <a:pt x="46" y="126"/>
                    </a:cubicBezTo>
                    <a:close/>
                    <a:moveTo>
                      <a:pt x="43" y="127"/>
                    </a:moveTo>
                    <a:cubicBezTo>
                      <a:pt x="43" y="129"/>
                      <a:pt x="43" y="129"/>
                      <a:pt x="44" y="128"/>
                    </a:cubicBezTo>
                    <a:cubicBezTo>
                      <a:pt x="44" y="127"/>
                      <a:pt x="44" y="127"/>
                      <a:pt x="44" y="126"/>
                    </a:cubicBezTo>
                    <a:cubicBezTo>
                      <a:pt x="44" y="126"/>
                      <a:pt x="44" y="126"/>
                      <a:pt x="43" y="127"/>
                    </a:cubicBezTo>
                    <a:close/>
                    <a:moveTo>
                      <a:pt x="58" y="127"/>
                    </a:moveTo>
                    <a:cubicBezTo>
                      <a:pt x="58" y="127"/>
                      <a:pt x="57" y="127"/>
                      <a:pt x="57" y="127"/>
                    </a:cubicBezTo>
                    <a:cubicBezTo>
                      <a:pt x="57" y="127"/>
                      <a:pt x="59" y="127"/>
                      <a:pt x="58" y="127"/>
                    </a:cubicBezTo>
                    <a:close/>
                    <a:moveTo>
                      <a:pt x="42" y="144"/>
                    </a:moveTo>
                    <a:cubicBezTo>
                      <a:pt x="42" y="143"/>
                      <a:pt x="41" y="143"/>
                      <a:pt x="41" y="143"/>
                    </a:cubicBezTo>
                    <a:cubicBezTo>
                      <a:pt x="41" y="144"/>
                      <a:pt x="40" y="145"/>
                      <a:pt x="41" y="145"/>
                    </a:cubicBezTo>
                    <a:cubicBezTo>
                      <a:pt x="41" y="144"/>
                      <a:pt x="42" y="145"/>
                      <a:pt x="42" y="144"/>
                    </a:cubicBezTo>
                    <a:close/>
                    <a:moveTo>
                      <a:pt x="42" y="146"/>
                    </a:moveTo>
                    <a:cubicBezTo>
                      <a:pt x="43" y="145"/>
                      <a:pt x="43" y="145"/>
                      <a:pt x="42" y="145"/>
                    </a:cubicBezTo>
                    <a:cubicBezTo>
                      <a:pt x="42" y="145"/>
                      <a:pt x="41" y="145"/>
                      <a:pt x="41" y="146"/>
                    </a:cubicBezTo>
                    <a:cubicBezTo>
                      <a:pt x="41" y="146"/>
                      <a:pt x="41" y="146"/>
                      <a:pt x="42" y="146"/>
                    </a:cubicBezTo>
                    <a:close/>
                    <a:moveTo>
                      <a:pt x="39" y="151"/>
                    </a:moveTo>
                    <a:cubicBezTo>
                      <a:pt x="39" y="152"/>
                      <a:pt x="38" y="152"/>
                      <a:pt x="39" y="152"/>
                    </a:cubicBezTo>
                    <a:cubicBezTo>
                      <a:pt x="40" y="152"/>
                      <a:pt x="39" y="151"/>
                      <a:pt x="40" y="151"/>
                    </a:cubicBezTo>
                    <a:cubicBezTo>
                      <a:pt x="41" y="151"/>
                      <a:pt x="41" y="151"/>
                      <a:pt x="41" y="150"/>
                    </a:cubicBezTo>
                    <a:cubicBezTo>
                      <a:pt x="40" y="149"/>
                      <a:pt x="40" y="149"/>
                      <a:pt x="40" y="150"/>
                    </a:cubicBezTo>
                    <a:cubicBezTo>
                      <a:pt x="40" y="150"/>
                      <a:pt x="39" y="150"/>
                      <a:pt x="39" y="151"/>
                    </a:cubicBezTo>
                    <a:close/>
                    <a:moveTo>
                      <a:pt x="39" y="148"/>
                    </a:moveTo>
                    <a:cubicBezTo>
                      <a:pt x="38" y="147"/>
                      <a:pt x="37" y="148"/>
                      <a:pt x="37" y="148"/>
                    </a:cubicBezTo>
                    <a:cubicBezTo>
                      <a:pt x="37" y="149"/>
                      <a:pt x="39" y="148"/>
                      <a:pt x="39" y="148"/>
                    </a:cubicBezTo>
                    <a:close/>
                    <a:moveTo>
                      <a:pt x="39" y="153"/>
                    </a:moveTo>
                    <a:cubicBezTo>
                      <a:pt x="38" y="153"/>
                      <a:pt x="39" y="153"/>
                      <a:pt x="40" y="153"/>
                    </a:cubicBezTo>
                    <a:cubicBezTo>
                      <a:pt x="41" y="152"/>
                      <a:pt x="40" y="152"/>
                      <a:pt x="39" y="152"/>
                    </a:cubicBezTo>
                    <a:cubicBezTo>
                      <a:pt x="39" y="153"/>
                      <a:pt x="39" y="152"/>
                      <a:pt x="39" y="153"/>
                    </a:cubicBezTo>
                    <a:close/>
                    <a:moveTo>
                      <a:pt x="38" y="153"/>
                    </a:moveTo>
                    <a:cubicBezTo>
                      <a:pt x="38" y="153"/>
                      <a:pt x="37" y="153"/>
                      <a:pt x="36" y="153"/>
                    </a:cubicBezTo>
                    <a:cubicBezTo>
                      <a:pt x="36" y="153"/>
                      <a:pt x="37" y="153"/>
                      <a:pt x="38" y="153"/>
                    </a:cubicBezTo>
                    <a:close/>
                    <a:moveTo>
                      <a:pt x="35" y="158"/>
                    </a:moveTo>
                    <a:cubicBezTo>
                      <a:pt x="36" y="158"/>
                      <a:pt x="36" y="158"/>
                      <a:pt x="35" y="158"/>
                    </a:cubicBezTo>
                    <a:cubicBezTo>
                      <a:pt x="35" y="158"/>
                      <a:pt x="35" y="157"/>
                      <a:pt x="34" y="157"/>
                    </a:cubicBezTo>
                    <a:cubicBezTo>
                      <a:pt x="34" y="158"/>
                      <a:pt x="34" y="158"/>
                      <a:pt x="35" y="158"/>
                    </a:cubicBezTo>
                    <a:close/>
                    <a:moveTo>
                      <a:pt x="35" y="157"/>
                    </a:moveTo>
                    <a:cubicBezTo>
                      <a:pt x="36" y="157"/>
                      <a:pt x="35" y="157"/>
                      <a:pt x="35" y="157"/>
                    </a:cubicBezTo>
                    <a:cubicBezTo>
                      <a:pt x="34" y="156"/>
                      <a:pt x="35" y="157"/>
                      <a:pt x="35" y="157"/>
                    </a:cubicBezTo>
                    <a:close/>
                    <a:moveTo>
                      <a:pt x="34" y="157"/>
                    </a:moveTo>
                    <a:cubicBezTo>
                      <a:pt x="34" y="157"/>
                      <a:pt x="34" y="156"/>
                      <a:pt x="33" y="157"/>
                    </a:cubicBezTo>
                    <a:cubicBezTo>
                      <a:pt x="33" y="157"/>
                      <a:pt x="34" y="157"/>
                      <a:pt x="34" y="157"/>
                    </a:cubicBezTo>
                    <a:close/>
                    <a:moveTo>
                      <a:pt x="43" y="142"/>
                    </a:moveTo>
                    <a:cubicBezTo>
                      <a:pt x="43" y="142"/>
                      <a:pt x="42" y="143"/>
                      <a:pt x="42" y="143"/>
                    </a:cubicBezTo>
                    <a:cubicBezTo>
                      <a:pt x="43" y="143"/>
                      <a:pt x="44" y="143"/>
                      <a:pt x="43" y="142"/>
                    </a:cubicBezTo>
                    <a:close/>
                    <a:moveTo>
                      <a:pt x="19" y="168"/>
                    </a:moveTo>
                    <a:cubicBezTo>
                      <a:pt x="19" y="167"/>
                      <a:pt x="16" y="168"/>
                      <a:pt x="17" y="168"/>
                    </a:cubicBezTo>
                    <a:cubicBezTo>
                      <a:pt x="18" y="169"/>
                      <a:pt x="19" y="168"/>
                      <a:pt x="19" y="168"/>
                    </a:cubicBezTo>
                    <a:close/>
                    <a:moveTo>
                      <a:pt x="22" y="165"/>
                    </a:moveTo>
                    <a:cubicBezTo>
                      <a:pt x="23" y="165"/>
                      <a:pt x="22" y="164"/>
                      <a:pt x="22" y="164"/>
                    </a:cubicBezTo>
                    <a:cubicBezTo>
                      <a:pt x="21" y="165"/>
                      <a:pt x="19" y="165"/>
                      <a:pt x="19" y="166"/>
                    </a:cubicBezTo>
                    <a:cubicBezTo>
                      <a:pt x="20" y="166"/>
                      <a:pt x="21" y="166"/>
                      <a:pt x="22" y="165"/>
                    </a:cubicBezTo>
                    <a:close/>
                    <a:moveTo>
                      <a:pt x="21" y="167"/>
                    </a:moveTo>
                    <a:cubicBezTo>
                      <a:pt x="23" y="167"/>
                      <a:pt x="24" y="167"/>
                      <a:pt x="24" y="167"/>
                    </a:cubicBezTo>
                    <a:cubicBezTo>
                      <a:pt x="24" y="166"/>
                      <a:pt x="23" y="167"/>
                      <a:pt x="23" y="166"/>
                    </a:cubicBezTo>
                    <a:cubicBezTo>
                      <a:pt x="23" y="165"/>
                      <a:pt x="21" y="166"/>
                      <a:pt x="21" y="166"/>
                    </a:cubicBezTo>
                    <a:cubicBezTo>
                      <a:pt x="20" y="167"/>
                      <a:pt x="19" y="167"/>
                      <a:pt x="19" y="167"/>
                    </a:cubicBezTo>
                    <a:cubicBezTo>
                      <a:pt x="19" y="168"/>
                      <a:pt x="20" y="168"/>
                      <a:pt x="21" y="167"/>
                    </a:cubicBezTo>
                    <a:close/>
                    <a:moveTo>
                      <a:pt x="19" y="170"/>
                    </a:moveTo>
                    <a:cubicBezTo>
                      <a:pt x="18" y="169"/>
                      <a:pt x="17" y="169"/>
                      <a:pt x="18" y="170"/>
                    </a:cubicBezTo>
                    <a:cubicBezTo>
                      <a:pt x="18" y="170"/>
                      <a:pt x="19" y="170"/>
                      <a:pt x="19" y="170"/>
                    </a:cubicBezTo>
                    <a:close/>
                    <a:moveTo>
                      <a:pt x="16" y="171"/>
                    </a:moveTo>
                    <a:cubicBezTo>
                      <a:pt x="17" y="171"/>
                      <a:pt x="16" y="170"/>
                      <a:pt x="16" y="171"/>
                    </a:cubicBezTo>
                    <a:cubicBezTo>
                      <a:pt x="15" y="171"/>
                      <a:pt x="15" y="170"/>
                      <a:pt x="15" y="171"/>
                    </a:cubicBezTo>
                    <a:cubicBezTo>
                      <a:pt x="14" y="172"/>
                      <a:pt x="16" y="172"/>
                      <a:pt x="16" y="171"/>
                    </a:cubicBezTo>
                    <a:close/>
                    <a:moveTo>
                      <a:pt x="12" y="174"/>
                    </a:moveTo>
                    <a:cubicBezTo>
                      <a:pt x="12" y="173"/>
                      <a:pt x="10" y="174"/>
                      <a:pt x="11" y="174"/>
                    </a:cubicBezTo>
                    <a:cubicBezTo>
                      <a:pt x="11" y="174"/>
                      <a:pt x="12" y="174"/>
                      <a:pt x="12" y="174"/>
                    </a:cubicBezTo>
                    <a:close/>
                    <a:moveTo>
                      <a:pt x="6" y="178"/>
                    </a:moveTo>
                    <a:cubicBezTo>
                      <a:pt x="7" y="178"/>
                      <a:pt x="8" y="177"/>
                      <a:pt x="7" y="176"/>
                    </a:cubicBezTo>
                    <a:cubicBezTo>
                      <a:pt x="7" y="176"/>
                      <a:pt x="6" y="177"/>
                      <a:pt x="6" y="178"/>
                    </a:cubicBezTo>
                    <a:close/>
                    <a:moveTo>
                      <a:pt x="6" y="178"/>
                    </a:moveTo>
                    <a:cubicBezTo>
                      <a:pt x="6" y="177"/>
                      <a:pt x="5" y="177"/>
                      <a:pt x="5" y="178"/>
                    </a:cubicBezTo>
                    <a:cubicBezTo>
                      <a:pt x="5" y="178"/>
                      <a:pt x="6" y="178"/>
                      <a:pt x="6" y="178"/>
                    </a:cubicBezTo>
                    <a:close/>
                    <a:moveTo>
                      <a:pt x="3" y="181"/>
                    </a:moveTo>
                    <a:cubicBezTo>
                      <a:pt x="2" y="181"/>
                      <a:pt x="1" y="181"/>
                      <a:pt x="1" y="182"/>
                    </a:cubicBezTo>
                    <a:cubicBezTo>
                      <a:pt x="2" y="182"/>
                      <a:pt x="3" y="181"/>
                      <a:pt x="3" y="181"/>
                    </a:cubicBezTo>
                    <a:close/>
                    <a:moveTo>
                      <a:pt x="2" y="187"/>
                    </a:moveTo>
                    <a:cubicBezTo>
                      <a:pt x="1" y="187"/>
                      <a:pt x="1" y="188"/>
                      <a:pt x="1" y="188"/>
                    </a:cubicBezTo>
                    <a:cubicBezTo>
                      <a:pt x="2" y="188"/>
                      <a:pt x="2" y="187"/>
                      <a:pt x="2" y="187"/>
                    </a:cubicBezTo>
                    <a:close/>
                    <a:moveTo>
                      <a:pt x="4" y="198"/>
                    </a:moveTo>
                    <a:cubicBezTo>
                      <a:pt x="4" y="197"/>
                      <a:pt x="4" y="197"/>
                      <a:pt x="5" y="198"/>
                    </a:cubicBezTo>
                    <a:cubicBezTo>
                      <a:pt x="5" y="198"/>
                      <a:pt x="5" y="197"/>
                      <a:pt x="6" y="197"/>
                    </a:cubicBezTo>
                    <a:cubicBezTo>
                      <a:pt x="6" y="196"/>
                      <a:pt x="4" y="196"/>
                      <a:pt x="4" y="197"/>
                    </a:cubicBezTo>
                    <a:cubicBezTo>
                      <a:pt x="3" y="198"/>
                      <a:pt x="4" y="199"/>
                      <a:pt x="5" y="199"/>
                    </a:cubicBezTo>
                    <a:cubicBezTo>
                      <a:pt x="5" y="199"/>
                      <a:pt x="5" y="198"/>
                      <a:pt x="4" y="198"/>
                    </a:cubicBezTo>
                    <a:close/>
                    <a:moveTo>
                      <a:pt x="3" y="204"/>
                    </a:moveTo>
                    <a:cubicBezTo>
                      <a:pt x="4" y="204"/>
                      <a:pt x="3" y="201"/>
                      <a:pt x="3" y="202"/>
                    </a:cubicBezTo>
                    <a:cubicBezTo>
                      <a:pt x="3" y="203"/>
                      <a:pt x="2" y="204"/>
                      <a:pt x="3" y="204"/>
                    </a:cubicBezTo>
                    <a:close/>
                    <a:moveTo>
                      <a:pt x="3" y="200"/>
                    </a:moveTo>
                    <a:cubicBezTo>
                      <a:pt x="3" y="201"/>
                      <a:pt x="3" y="199"/>
                      <a:pt x="3" y="199"/>
                    </a:cubicBezTo>
                    <a:cubicBezTo>
                      <a:pt x="4" y="199"/>
                      <a:pt x="4" y="200"/>
                      <a:pt x="4" y="199"/>
                    </a:cubicBezTo>
                    <a:cubicBezTo>
                      <a:pt x="4" y="199"/>
                      <a:pt x="4" y="199"/>
                      <a:pt x="3" y="198"/>
                    </a:cubicBezTo>
                    <a:cubicBezTo>
                      <a:pt x="3" y="198"/>
                      <a:pt x="3" y="199"/>
                      <a:pt x="3" y="200"/>
                    </a:cubicBezTo>
                    <a:close/>
                    <a:moveTo>
                      <a:pt x="2" y="193"/>
                    </a:moveTo>
                    <a:cubicBezTo>
                      <a:pt x="2" y="193"/>
                      <a:pt x="2" y="195"/>
                      <a:pt x="2" y="195"/>
                    </a:cubicBezTo>
                    <a:cubicBezTo>
                      <a:pt x="3" y="196"/>
                      <a:pt x="2" y="194"/>
                      <a:pt x="2" y="193"/>
                    </a:cubicBezTo>
                    <a:close/>
                    <a:moveTo>
                      <a:pt x="2" y="192"/>
                    </a:moveTo>
                    <a:cubicBezTo>
                      <a:pt x="2" y="193"/>
                      <a:pt x="3" y="194"/>
                      <a:pt x="3" y="193"/>
                    </a:cubicBezTo>
                    <a:cubicBezTo>
                      <a:pt x="3" y="193"/>
                      <a:pt x="2" y="192"/>
                      <a:pt x="2" y="192"/>
                    </a:cubicBezTo>
                    <a:close/>
                    <a:moveTo>
                      <a:pt x="2" y="192"/>
                    </a:moveTo>
                    <a:cubicBezTo>
                      <a:pt x="3" y="192"/>
                      <a:pt x="2" y="191"/>
                      <a:pt x="2" y="191"/>
                    </a:cubicBezTo>
                    <a:cubicBezTo>
                      <a:pt x="1" y="190"/>
                      <a:pt x="1" y="191"/>
                      <a:pt x="2" y="192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5" name="Freeform 20248">
                <a:extLst>
                  <a:ext uri="{FF2B5EF4-FFF2-40B4-BE49-F238E27FC236}">
                    <a16:creationId xmlns:a16="http://schemas.microsoft.com/office/drawing/2014/main" id="{BD8FC329-0B1B-D941-B36B-054596583FB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077384" y="2289187"/>
                <a:ext cx="536213" cy="297684"/>
              </a:xfrm>
              <a:custGeom>
                <a:avLst/>
                <a:gdLst/>
                <a:ahLst/>
                <a:cxnLst>
                  <a:cxn ang="0">
                    <a:pos x="84" y="60"/>
                  </a:cxn>
                  <a:cxn ang="0">
                    <a:pos x="82" y="58"/>
                  </a:cxn>
                  <a:cxn ang="0">
                    <a:pos x="81" y="51"/>
                  </a:cxn>
                  <a:cxn ang="0">
                    <a:pos x="92" y="41"/>
                  </a:cxn>
                  <a:cxn ang="0">
                    <a:pos x="94" y="42"/>
                  </a:cxn>
                  <a:cxn ang="0">
                    <a:pos x="93" y="46"/>
                  </a:cxn>
                  <a:cxn ang="0">
                    <a:pos x="94" y="50"/>
                  </a:cxn>
                  <a:cxn ang="0">
                    <a:pos x="95" y="52"/>
                  </a:cxn>
                  <a:cxn ang="0">
                    <a:pos x="93" y="51"/>
                  </a:cxn>
                  <a:cxn ang="0">
                    <a:pos x="91" y="55"/>
                  </a:cxn>
                  <a:cxn ang="0">
                    <a:pos x="89" y="58"/>
                  </a:cxn>
                  <a:cxn ang="0">
                    <a:pos x="89" y="61"/>
                  </a:cxn>
                  <a:cxn ang="0">
                    <a:pos x="91" y="63"/>
                  </a:cxn>
                  <a:cxn ang="0">
                    <a:pos x="88" y="63"/>
                  </a:cxn>
                  <a:cxn ang="0">
                    <a:pos x="84" y="63"/>
                  </a:cxn>
                  <a:cxn ang="0">
                    <a:pos x="118" y="62"/>
                  </a:cxn>
                  <a:cxn ang="0">
                    <a:pos x="118" y="62"/>
                  </a:cxn>
                  <a:cxn ang="0">
                    <a:pos x="96" y="43"/>
                  </a:cxn>
                  <a:cxn ang="0">
                    <a:pos x="95" y="58"/>
                  </a:cxn>
                  <a:cxn ang="0">
                    <a:pos x="93" y="57"/>
                  </a:cxn>
                  <a:cxn ang="0">
                    <a:pos x="90" y="58"/>
                  </a:cxn>
                  <a:cxn ang="0">
                    <a:pos x="92" y="60"/>
                  </a:cxn>
                  <a:cxn ang="0">
                    <a:pos x="95" y="61"/>
                  </a:cxn>
                  <a:cxn ang="0">
                    <a:pos x="94" y="54"/>
                  </a:cxn>
                  <a:cxn ang="0">
                    <a:pos x="94" y="54"/>
                  </a:cxn>
                  <a:cxn ang="0">
                    <a:pos x="95" y="62"/>
                  </a:cxn>
                  <a:cxn ang="0">
                    <a:pos x="96" y="61"/>
                  </a:cxn>
                  <a:cxn ang="0">
                    <a:pos x="101" y="64"/>
                  </a:cxn>
                  <a:cxn ang="0">
                    <a:pos x="98" y="62"/>
                  </a:cxn>
                  <a:cxn ang="0">
                    <a:pos x="100" y="65"/>
                  </a:cxn>
                  <a:cxn ang="0">
                    <a:pos x="102" y="63"/>
                  </a:cxn>
                  <a:cxn ang="0">
                    <a:pos x="102" y="61"/>
                  </a:cxn>
                  <a:cxn ang="0">
                    <a:pos x="103" y="59"/>
                  </a:cxn>
                  <a:cxn ang="0">
                    <a:pos x="105" y="54"/>
                  </a:cxn>
                  <a:cxn ang="0">
                    <a:pos x="101" y="54"/>
                  </a:cxn>
                  <a:cxn ang="0">
                    <a:pos x="100" y="55"/>
                  </a:cxn>
                  <a:cxn ang="0">
                    <a:pos x="98" y="54"/>
                  </a:cxn>
                  <a:cxn ang="0">
                    <a:pos x="96" y="56"/>
                  </a:cxn>
                  <a:cxn ang="0">
                    <a:pos x="97" y="59"/>
                  </a:cxn>
                  <a:cxn ang="0">
                    <a:pos x="99" y="60"/>
                  </a:cxn>
                  <a:cxn ang="0">
                    <a:pos x="100" y="61"/>
                  </a:cxn>
                  <a:cxn ang="0">
                    <a:pos x="101" y="63"/>
                  </a:cxn>
                  <a:cxn ang="0">
                    <a:pos x="102" y="64"/>
                  </a:cxn>
                  <a:cxn ang="0">
                    <a:pos x="103" y="62"/>
                  </a:cxn>
                  <a:cxn ang="0">
                    <a:pos x="2" y="3"/>
                  </a:cxn>
                  <a:cxn ang="0">
                    <a:pos x="1" y="4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4" y="3"/>
                  </a:cxn>
                  <a:cxn ang="0">
                    <a:pos x="2" y="1"/>
                  </a:cxn>
                  <a:cxn ang="0">
                    <a:pos x="4" y="4"/>
                  </a:cxn>
                  <a:cxn ang="0">
                    <a:pos x="5" y="2"/>
                  </a:cxn>
                  <a:cxn ang="0">
                    <a:pos x="3" y="1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6" y="1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</a:cxnLst>
                <a:rect l="0" t="0" r="r" b="b"/>
                <a:pathLst>
                  <a:path w="119" h="66">
                    <a:moveTo>
                      <a:pt x="83" y="61"/>
                    </a:moveTo>
                    <a:cubicBezTo>
                      <a:pt x="83" y="59"/>
                      <a:pt x="84" y="62"/>
                      <a:pt x="84" y="60"/>
                    </a:cubicBezTo>
                    <a:cubicBezTo>
                      <a:pt x="84" y="58"/>
                      <a:pt x="83" y="59"/>
                      <a:pt x="83" y="58"/>
                    </a:cubicBezTo>
                    <a:cubicBezTo>
                      <a:pt x="82" y="57"/>
                      <a:pt x="83" y="59"/>
                      <a:pt x="82" y="58"/>
                    </a:cubicBezTo>
                    <a:cubicBezTo>
                      <a:pt x="81" y="57"/>
                      <a:pt x="81" y="58"/>
                      <a:pt x="81" y="57"/>
                    </a:cubicBezTo>
                    <a:cubicBezTo>
                      <a:pt x="82" y="55"/>
                      <a:pt x="81" y="54"/>
                      <a:pt x="81" y="51"/>
                    </a:cubicBezTo>
                    <a:cubicBezTo>
                      <a:pt x="82" y="48"/>
                      <a:pt x="82" y="44"/>
                      <a:pt x="86" y="44"/>
                    </a:cubicBezTo>
                    <a:cubicBezTo>
                      <a:pt x="90" y="45"/>
                      <a:pt x="90" y="41"/>
                      <a:pt x="92" y="41"/>
                    </a:cubicBezTo>
                    <a:cubicBezTo>
                      <a:pt x="94" y="41"/>
                      <a:pt x="94" y="39"/>
                      <a:pt x="94" y="39"/>
                    </a:cubicBezTo>
                    <a:cubicBezTo>
                      <a:pt x="95" y="40"/>
                      <a:pt x="93" y="40"/>
                      <a:pt x="94" y="42"/>
                    </a:cubicBezTo>
                    <a:cubicBezTo>
                      <a:pt x="94" y="43"/>
                      <a:pt x="94" y="44"/>
                      <a:pt x="94" y="44"/>
                    </a:cubicBezTo>
                    <a:cubicBezTo>
                      <a:pt x="93" y="45"/>
                      <a:pt x="93" y="45"/>
                      <a:pt x="93" y="46"/>
                    </a:cubicBezTo>
                    <a:cubicBezTo>
                      <a:pt x="92" y="47"/>
                      <a:pt x="94" y="48"/>
                      <a:pt x="93" y="49"/>
                    </a:cubicBezTo>
                    <a:cubicBezTo>
                      <a:pt x="92" y="50"/>
                      <a:pt x="93" y="49"/>
                      <a:pt x="94" y="50"/>
                    </a:cubicBezTo>
                    <a:cubicBezTo>
                      <a:pt x="94" y="50"/>
                      <a:pt x="97" y="49"/>
                      <a:pt x="96" y="51"/>
                    </a:cubicBezTo>
                    <a:cubicBezTo>
                      <a:pt x="96" y="52"/>
                      <a:pt x="95" y="53"/>
                      <a:pt x="95" y="52"/>
                    </a:cubicBezTo>
                    <a:cubicBezTo>
                      <a:pt x="94" y="52"/>
                      <a:pt x="94" y="53"/>
                      <a:pt x="94" y="53"/>
                    </a:cubicBezTo>
                    <a:cubicBezTo>
                      <a:pt x="93" y="52"/>
                      <a:pt x="94" y="51"/>
                      <a:pt x="93" y="51"/>
                    </a:cubicBezTo>
                    <a:cubicBezTo>
                      <a:pt x="92" y="51"/>
                      <a:pt x="93" y="54"/>
                      <a:pt x="92" y="55"/>
                    </a:cubicBezTo>
                    <a:cubicBezTo>
                      <a:pt x="92" y="56"/>
                      <a:pt x="90" y="54"/>
                      <a:pt x="91" y="55"/>
                    </a:cubicBezTo>
                    <a:cubicBezTo>
                      <a:pt x="92" y="56"/>
                      <a:pt x="90" y="56"/>
                      <a:pt x="90" y="57"/>
                    </a:cubicBezTo>
                    <a:cubicBezTo>
                      <a:pt x="91" y="57"/>
                      <a:pt x="88" y="57"/>
                      <a:pt x="89" y="58"/>
                    </a:cubicBezTo>
                    <a:cubicBezTo>
                      <a:pt x="89" y="58"/>
                      <a:pt x="89" y="59"/>
                      <a:pt x="89" y="59"/>
                    </a:cubicBezTo>
                    <a:cubicBezTo>
                      <a:pt x="90" y="60"/>
                      <a:pt x="88" y="60"/>
                      <a:pt x="89" y="61"/>
                    </a:cubicBezTo>
                    <a:cubicBezTo>
                      <a:pt x="89" y="62"/>
                      <a:pt x="89" y="61"/>
                      <a:pt x="91" y="62"/>
                    </a:cubicBezTo>
                    <a:cubicBezTo>
                      <a:pt x="92" y="63"/>
                      <a:pt x="91" y="63"/>
                      <a:pt x="91" y="63"/>
                    </a:cubicBezTo>
                    <a:cubicBezTo>
                      <a:pt x="90" y="62"/>
                      <a:pt x="90" y="63"/>
                      <a:pt x="90" y="63"/>
                    </a:cubicBezTo>
                    <a:cubicBezTo>
                      <a:pt x="89" y="63"/>
                      <a:pt x="89" y="62"/>
                      <a:pt x="88" y="63"/>
                    </a:cubicBezTo>
                    <a:cubicBezTo>
                      <a:pt x="88" y="63"/>
                      <a:pt x="87" y="63"/>
                      <a:pt x="86" y="63"/>
                    </a:cubicBezTo>
                    <a:cubicBezTo>
                      <a:pt x="85" y="62"/>
                      <a:pt x="85" y="63"/>
                      <a:pt x="84" y="63"/>
                    </a:cubicBezTo>
                    <a:cubicBezTo>
                      <a:pt x="84" y="59"/>
                      <a:pt x="83" y="62"/>
                      <a:pt x="83" y="61"/>
                    </a:cubicBezTo>
                    <a:close/>
                    <a:moveTo>
                      <a:pt x="118" y="62"/>
                    </a:moveTo>
                    <a:cubicBezTo>
                      <a:pt x="119" y="61"/>
                      <a:pt x="117" y="59"/>
                      <a:pt x="116" y="59"/>
                    </a:cubicBezTo>
                    <a:cubicBezTo>
                      <a:pt x="115" y="60"/>
                      <a:pt x="116" y="62"/>
                      <a:pt x="118" y="62"/>
                    </a:cubicBezTo>
                    <a:close/>
                    <a:moveTo>
                      <a:pt x="97" y="43"/>
                    </a:moveTo>
                    <a:cubicBezTo>
                      <a:pt x="98" y="43"/>
                      <a:pt x="96" y="43"/>
                      <a:pt x="96" y="43"/>
                    </a:cubicBezTo>
                    <a:cubicBezTo>
                      <a:pt x="96" y="44"/>
                      <a:pt x="97" y="44"/>
                      <a:pt x="97" y="43"/>
                    </a:cubicBezTo>
                    <a:close/>
                    <a:moveTo>
                      <a:pt x="95" y="58"/>
                    </a:moveTo>
                    <a:cubicBezTo>
                      <a:pt x="95" y="58"/>
                      <a:pt x="94" y="57"/>
                      <a:pt x="94" y="57"/>
                    </a:cubicBezTo>
                    <a:cubicBezTo>
                      <a:pt x="94" y="58"/>
                      <a:pt x="94" y="58"/>
                      <a:pt x="93" y="57"/>
                    </a:cubicBezTo>
                    <a:cubicBezTo>
                      <a:pt x="93" y="57"/>
                      <a:pt x="91" y="58"/>
                      <a:pt x="90" y="58"/>
                    </a:cubicBezTo>
                    <a:cubicBezTo>
                      <a:pt x="90" y="57"/>
                      <a:pt x="89" y="58"/>
                      <a:pt x="90" y="58"/>
                    </a:cubicBezTo>
                    <a:cubicBezTo>
                      <a:pt x="91" y="59"/>
                      <a:pt x="91" y="59"/>
                      <a:pt x="91" y="60"/>
                    </a:cubicBezTo>
                    <a:cubicBezTo>
                      <a:pt x="91" y="61"/>
                      <a:pt x="91" y="60"/>
                      <a:pt x="92" y="60"/>
                    </a:cubicBezTo>
                    <a:cubicBezTo>
                      <a:pt x="92" y="61"/>
                      <a:pt x="91" y="61"/>
                      <a:pt x="92" y="61"/>
                    </a:cubicBezTo>
                    <a:cubicBezTo>
                      <a:pt x="94" y="61"/>
                      <a:pt x="94" y="62"/>
                      <a:pt x="95" y="61"/>
                    </a:cubicBezTo>
                    <a:cubicBezTo>
                      <a:pt x="96" y="60"/>
                      <a:pt x="95" y="59"/>
                      <a:pt x="95" y="58"/>
                    </a:cubicBezTo>
                    <a:close/>
                    <a:moveTo>
                      <a:pt x="94" y="54"/>
                    </a:moveTo>
                    <a:cubicBezTo>
                      <a:pt x="94" y="54"/>
                      <a:pt x="94" y="55"/>
                      <a:pt x="94" y="56"/>
                    </a:cubicBezTo>
                    <a:cubicBezTo>
                      <a:pt x="94" y="56"/>
                      <a:pt x="95" y="55"/>
                      <a:pt x="94" y="54"/>
                    </a:cubicBezTo>
                    <a:close/>
                    <a:moveTo>
                      <a:pt x="96" y="61"/>
                    </a:moveTo>
                    <a:cubicBezTo>
                      <a:pt x="96" y="61"/>
                      <a:pt x="95" y="61"/>
                      <a:pt x="95" y="62"/>
                    </a:cubicBezTo>
                    <a:cubicBezTo>
                      <a:pt x="95" y="62"/>
                      <a:pt x="94" y="63"/>
                      <a:pt x="94" y="64"/>
                    </a:cubicBezTo>
                    <a:cubicBezTo>
                      <a:pt x="95" y="65"/>
                      <a:pt x="95" y="62"/>
                      <a:pt x="96" y="61"/>
                    </a:cubicBezTo>
                    <a:close/>
                    <a:moveTo>
                      <a:pt x="100" y="65"/>
                    </a:moveTo>
                    <a:cubicBezTo>
                      <a:pt x="101" y="65"/>
                      <a:pt x="101" y="64"/>
                      <a:pt x="101" y="64"/>
                    </a:cubicBezTo>
                    <a:cubicBezTo>
                      <a:pt x="100" y="63"/>
                      <a:pt x="100" y="62"/>
                      <a:pt x="100" y="63"/>
                    </a:cubicBezTo>
                    <a:cubicBezTo>
                      <a:pt x="100" y="63"/>
                      <a:pt x="99" y="63"/>
                      <a:pt x="98" y="62"/>
                    </a:cubicBezTo>
                    <a:cubicBezTo>
                      <a:pt x="97" y="62"/>
                      <a:pt x="97" y="63"/>
                      <a:pt x="97" y="63"/>
                    </a:cubicBezTo>
                    <a:cubicBezTo>
                      <a:pt x="96" y="64"/>
                      <a:pt x="99" y="65"/>
                      <a:pt x="100" y="65"/>
                    </a:cubicBezTo>
                    <a:close/>
                    <a:moveTo>
                      <a:pt x="102" y="64"/>
                    </a:moveTo>
                    <a:cubicBezTo>
                      <a:pt x="103" y="63"/>
                      <a:pt x="102" y="63"/>
                      <a:pt x="102" y="63"/>
                    </a:cubicBezTo>
                    <a:cubicBezTo>
                      <a:pt x="101" y="62"/>
                      <a:pt x="101" y="62"/>
                      <a:pt x="102" y="62"/>
                    </a:cubicBezTo>
                    <a:cubicBezTo>
                      <a:pt x="102" y="62"/>
                      <a:pt x="103" y="62"/>
                      <a:pt x="102" y="61"/>
                    </a:cubicBezTo>
                    <a:cubicBezTo>
                      <a:pt x="102" y="60"/>
                      <a:pt x="102" y="60"/>
                      <a:pt x="103" y="60"/>
                    </a:cubicBezTo>
                    <a:cubicBezTo>
                      <a:pt x="104" y="60"/>
                      <a:pt x="104" y="59"/>
                      <a:pt x="103" y="59"/>
                    </a:cubicBezTo>
                    <a:cubicBezTo>
                      <a:pt x="102" y="58"/>
                      <a:pt x="103" y="57"/>
                      <a:pt x="104" y="57"/>
                    </a:cubicBezTo>
                    <a:cubicBezTo>
                      <a:pt x="105" y="57"/>
                      <a:pt x="104" y="55"/>
                      <a:pt x="105" y="54"/>
                    </a:cubicBezTo>
                    <a:cubicBezTo>
                      <a:pt x="105" y="53"/>
                      <a:pt x="104" y="53"/>
                      <a:pt x="103" y="53"/>
                    </a:cubicBezTo>
                    <a:cubicBezTo>
                      <a:pt x="102" y="52"/>
                      <a:pt x="101" y="54"/>
                      <a:pt x="101" y="54"/>
                    </a:cubicBezTo>
                    <a:cubicBezTo>
                      <a:pt x="101" y="55"/>
                      <a:pt x="101" y="55"/>
                      <a:pt x="101" y="56"/>
                    </a:cubicBezTo>
                    <a:cubicBezTo>
                      <a:pt x="101" y="57"/>
                      <a:pt x="100" y="56"/>
                      <a:pt x="100" y="55"/>
                    </a:cubicBezTo>
                    <a:cubicBezTo>
                      <a:pt x="100" y="55"/>
                      <a:pt x="101" y="54"/>
                      <a:pt x="100" y="54"/>
                    </a:cubicBezTo>
                    <a:cubicBezTo>
                      <a:pt x="99" y="55"/>
                      <a:pt x="98" y="54"/>
                      <a:pt x="98" y="54"/>
                    </a:cubicBezTo>
                    <a:cubicBezTo>
                      <a:pt x="97" y="54"/>
                      <a:pt x="100" y="54"/>
                      <a:pt x="98" y="56"/>
                    </a:cubicBezTo>
                    <a:cubicBezTo>
                      <a:pt x="97" y="56"/>
                      <a:pt x="96" y="56"/>
                      <a:pt x="96" y="56"/>
                    </a:cubicBezTo>
                    <a:cubicBezTo>
                      <a:pt x="95" y="56"/>
                      <a:pt x="97" y="57"/>
                      <a:pt x="97" y="57"/>
                    </a:cubicBezTo>
                    <a:cubicBezTo>
                      <a:pt x="97" y="58"/>
                      <a:pt x="98" y="58"/>
                      <a:pt x="97" y="59"/>
                    </a:cubicBezTo>
                    <a:cubicBezTo>
                      <a:pt x="96" y="59"/>
                      <a:pt x="98" y="59"/>
                      <a:pt x="98" y="60"/>
                    </a:cubicBezTo>
                    <a:cubicBezTo>
                      <a:pt x="98" y="61"/>
                      <a:pt x="98" y="60"/>
                      <a:pt x="99" y="60"/>
                    </a:cubicBezTo>
                    <a:cubicBezTo>
                      <a:pt x="100" y="61"/>
                      <a:pt x="100" y="60"/>
                      <a:pt x="100" y="61"/>
                    </a:cubicBezTo>
                    <a:cubicBezTo>
                      <a:pt x="100" y="62"/>
                      <a:pt x="100" y="61"/>
                      <a:pt x="100" y="61"/>
                    </a:cubicBezTo>
                    <a:cubicBezTo>
                      <a:pt x="99" y="62"/>
                      <a:pt x="101" y="62"/>
                      <a:pt x="100" y="62"/>
                    </a:cubicBezTo>
                    <a:cubicBezTo>
                      <a:pt x="100" y="62"/>
                      <a:pt x="100" y="63"/>
                      <a:pt x="101" y="63"/>
                    </a:cubicBezTo>
                    <a:cubicBezTo>
                      <a:pt x="101" y="64"/>
                      <a:pt x="101" y="65"/>
                      <a:pt x="102" y="65"/>
                    </a:cubicBezTo>
                    <a:cubicBezTo>
                      <a:pt x="102" y="66"/>
                      <a:pt x="102" y="64"/>
                      <a:pt x="102" y="64"/>
                    </a:cubicBezTo>
                    <a:close/>
                    <a:moveTo>
                      <a:pt x="104" y="62"/>
                    </a:moveTo>
                    <a:cubicBezTo>
                      <a:pt x="103" y="61"/>
                      <a:pt x="103" y="62"/>
                      <a:pt x="103" y="62"/>
                    </a:cubicBezTo>
                    <a:cubicBezTo>
                      <a:pt x="102" y="63"/>
                      <a:pt x="105" y="62"/>
                      <a:pt x="104" y="62"/>
                    </a:cubicBezTo>
                    <a:close/>
                    <a:moveTo>
                      <a:pt x="2" y="3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1" y="3"/>
                      <a:pt x="1" y="4"/>
                    </a:cubicBezTo>
                    <a:cubicBezTo>
                      <a:pt x="2" y="4"/>
                      <a:pt x="3" y="3"/>
                      <a:pt x="2" y="3"/>
                    </a:cubicBezTo>
                    <a:close/>
                    <a:moveTo>
                      <a:pt x="4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4" y="4"/>
                      <a:pt x="4" y="5"/>
                    </a:cubicBezTo>
                    <a:cubicBezTo>
                      <a:pt x="4" y="5"/>
                      <a:pt x="4" y="5"/>
                      <a:pt x="4" y="6"/>
                    </a:cubicBezTo>
                    <a:close/>
                    <a:moveTo>
                      <a:pt x="4" y="9"/>
                    </a:moveTo>
                    <a:cubicBezTo>
                      <a:pt x="5" y="10"/>
                      <a:pt x="5" y="9"/>
                      <a:pt x="5" y="9"/>
                    </a:cubicBezTo>
                    <a:cubicBezTo>
                      <a:pt x="4" y="9"/>
                      <a:pt x="5" y="8"/>
                      <a:pt x="4" y="7"/>
                    </a:cubicBezTo>
                    <a:cubicBezTo>
                      <a:pt x="3" y="7"/>
                      <a:pt x="4" y="7"/>
                      <a:pt x="3" y="7"/>
                    </a:cubicBezTo>
                    <a:cubicBezTo>
                      <a:pt x="3" y="7"/>
                      <a:pt x="4" y="8"/>
                      <a:pt x="4" y="9"/>
                    </a:cubicBezTo>
                    <a:close/>
                    <a:moveTo>
                      <a:pt x="4" y="4"/>
                    </a:moveTo>
                    <a:cubicBezTo>
                      <a:pt x="5" y="5"/>
                      <a:pt x="5" y="4"/>
                      <a:pt x="4" y="3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2"/>
                      <a:pt x="4" y="4"/>
                    </a:cubicBezTo>
                    <a:close/>
                    <a:moveTo>
                      <a:pt x="5" y="2"/>
                    </a:moveTo>
                    <a:cubicBezTo>
                      <a:pt x="5" y="2"/>
                      <a:pt x="6" y="2"/>
                      <a:pt x="5" y="2"/>
                    </a:cubicBezTo>
                    <a:cubicBezTo>
                      <a:pt x="4" y="2"/>
                      <a:pt x="5" y="1"/>
                      <a:pt x="4" y="1"/>
                    </a:cubicBezTo>
                    <a:cubicBezTo>
                      <a:pt x="3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4" y="2"/>
                      <a:pt x="4" y="3"/>
                    </a:cubicBezTo>
                    <a:cubicBezTo>
                      <a:pt x="5" y="3"/>
                      <a:pt x="6" y="3"/>
                      <a:pt x="5" y="2"/>
                    </a:cubicBezTo>
                    <a:close/>
                    <a:moveTo>
                      <a:pt x="6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6" y="2"/>
                      <a:pt x="6" y="1"/>
                    </a:cubicBezTo>
                    <a:cubicBezTo>
                      <a:pt x="6" y="1"/>
                      <a:pt x="5" y="0"/>
                      <a:pt x="6" y="1"/>
                    </a:cubicBezTo>
                    <a:cubicBezTo>
                      <a:pt x="6" y="1"/>
                      <a:pt x="5" y="2"/>
                      <a:pt x="6" y="2"/>
                    </a:cubicBezTo>
                    <a:close/>
                    <a:moveTo>
                      <a:pt x="5" y="0"/>
                    </a:moveTo>
                    <a:cubicBezTo>
                      <a:pt x="5" y="1"/>
                      <a:pt x="5" y="2"/>
                      <a:pt x="5" y="1"/>
                    </a:cubicBezTo>
                    <a:cubicBezTo>
                      <a:pt x="6" y="1"/>
                      <a:pt x="5" y="0"/>
                      <a:pt x="5" y="0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 w="1905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291" name="Rectangle 290">
            <a:extLst>
              <a:ext uri="{FF2B5EF4-FFF2-40B4-BE49-F238E27FC236}">
                <a16:creationId xmlns:a16="http://schemas.microsoft.com/office/drawing/2014/main" id="{BFC04177-8AF4-5643-8B4F-91A2B9EC17EE}"/>
              </a:ext>
            </a:extLst>
          </p:cNvPr>
          <p:cNvSpPr/>
          <p:nvPr/>
        </p:nvSpPr>
        <p:spPr>
          <a:xfrm>
            <a:off x="1144246" y="643008"/>
            <a:ext cx="6868580" cy="40261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06119F6-BA88-B641-A836-721EE14C7492}"/>
              </a:ext>
            </a:extLst>
          </p:cNvPr>
          <p:cNvGrpSpPr/>
          <p:nvPr/>
        </p:nvGrpSpPr>
        <p:grpSpPr>
          <a:xfrm>
            <a:off x="5774954" y="1971938"/>
            <a:ext cx="2201655" cy="2305083"/>
            <a:chOff x="5684112" y="2619311"/>
            <a:chExt cx="2807006" cy="3049348"/>
          </a:xfrm>
          <a:solidFill>
            <a:schemeClr val="tx2"/>
          </a:solidFill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5F09265-F0C9-1240-964A-25F23712BBFD}"/>
                </a:ext>
              </a:extLst>
            </p:cNvPr>
            <p:cNvGrpSpPr/>
            <p:nvPr userDrawn="1"/>
          </p:nvGrpSpPr>
          <p:grpSpPr>
            <a:xfrm>
              <a:off x="7178256" y="2979965"/>
              <a:ext cx="148842" cy="316766"/>
              <a:chOff x="7178256" y="2979965"/>
              <a:chExt cx="148842" cy="316766"/>
            </a:xfrm>
            <a:grpFill/>
          </p:grpSpPr>
          <p:sp>
            <p:nvSpPr>
              <p:cNvPr id="42" name="Freeform 20145">
                <a:extLst>
                  <a:ext uri="{FF2B5EF4-FFF2-40B4-BE49-F238E27FC236}">
                    <a16:creationId xmlns:a16="http://schemas.microsoft.com/office/drawing/2014/main" id="{D310FE07-2989-8749-9433-2984B6A706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78256" y="2979965"/>
                <a:ext cx="148842" cy="175557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2" y="24"/>
                  </a:cxn>
                  <a:cxn ang="0">
                    <a:pos x="5" y="27"/>
                  </a:cxn>
                  <a:cxn ang="0">
                    <a:pos x="4" y="31"/>
                  </a:cxn>
                  <a:cxn ang="0">
                    <a:pos x="3" y="33"/>
                  </a:cxn>
                  <a:cxn ang="0">
                    <a:pos x="3" y="35"/>
                  </a:cxn>
                  <a:cxn ang="0">
                    <a:pos x="4" y="37"/>
                  </a:cxn>
                  <a:cxn ang="0">
                    <a:pos x="6" y="38"/>
                  </a:cxn>
                  <a:cxn ang="0">
                    <a:pos x="8" y="37"/>
                  </a:cxn>
                  <a:cxn ang="0">
                    <a:pos x="9" y="37"/>
                  </a:cxn>
                  <a:cxn ang="0">
                    <a:pos x="12" y="37"/>
                  </a:cxn>
                  <a:cxn ang="0">
                    <a:pos x="14" y="34"/>
                  </a:cxn>
                  <a:cxn ang="0">
                    <a:pos x="20" y="33"/>
                  </a:cxn>
                  <a:cxn ang="0">
                    <a:pos x="21" y="31"/>
                  </a:cxn>
                  <a:cxn ang="0">
                    <a:pos x="18" y="29"/>
                  </a:cxn>
                  <a:cxn ang="0">
                    <a:pos x="16" y="27"/>
                  </a:cxn>
                  <a:cxn ang="0">
                    <a:pos x="16" y="25"/>
                  </a:cxn>
                  <a:cxn ang="0">
                    <a:pos x="18" y="22"/>
                  </a:cxn>
                  <a:cxn ang="0">
                    <a:pos x="22" y="20"/>
                  </a:cxn>
                  <a:cxn ang="0">
                    <a:pos x="27" y="16"/>
                  </a:cxn>
                  <a:cxn ang="0">
                    <a:pos x="28" y="12"/>
                  </a:cxn>
                  <a:cxn ang="0">
                    <a:pos x="28" y="9"/>
                  </a:cxn>
                  <a:cxn ang="0">
                    <a:pos x="31" y="5"/>
                  </a:cxn>
                  <a:cxn ang="0">
                    <a:pos x="33" y="5"/>
                  </a:cxn>
                  <a:cxn ang="0">
                    <a:pos x="32" y="4"/>
                  </a:cxn>
                  <a:cxn ang="0">
                    <a:pos x="31" y="3"/>
                  </a:cxn>
                  <a:cxn ang="0">
                    <a:pos x="29" y="0"/>
                  </a:cxn>
                  <a:cxn ang="0">
                    <a:pos x="27" y="4"/>
                  </a:cxn>
                  <a:cxn ang="0">
                    <a:pos x="24" y="7"/>
                  </a:cxn>
                  <a:cxn ang="0">
                    <a:pos x="22" y="7"/>
                  </a:cxn>
                  <a:cxn ang="0">
                    <a:pos x="19" y="8"/>
                  </a:cxn>
                  <a:cxn ang="0">
                    <a:pos x="20" y="11"/>
                  </a:cxn>
                  <a:cxn ang="0">
                    <a:pos x="18" y="11"/>
                  </a:cxn>
                  <a:cxn ang="0">
                    <a:pos x="15" y="11"/>
                  </a:cxn>
                  <a:cxn ang="0">
                    <a:pos x="13" y="9"/>
                  </a:cxn>
                  <a:cxn ang="0">
                    <a:pos x="12" y="10"/>
                  </a:cxn>
                  <a:cxn ang="0">
                    <a:pos x="11" y="12"/>
                  </a:cxn>
                  <a:cxn ang="0">
                    <a:pos x="8" y="15"/>
                  </a:cxn>
                  <a:cxn ang="0">
                    <a:pos x="6" y="16"/>
                  </a:cxn>
                  <a:cxn ang="0">
                    <a:pos x="5" y="17"/>
                  </a:cxn>
                  <a:cxn ang="0">
                    <a:pos x="3" y="18"/>
                  </a:cxn>
                  <a:cxn ang="0">
                    <a:pos x="0" y="21"/>
                  </a:cxn>
                  <a:cxn ang="0">
                    <a:pos x="0" y="22"/>
                  </a:cxn>
                </a:cxnLst>
                <a:rect l="0" t="0" r="r" b="b"/>
                <a:pathLst>
                  <a:path w="33" h="39">
                    <a:moveTo>
                      <a:pt x="0" y="22"/>
                    </a:moveTo>
                    <a:cubicBezTo>
                      <a:pt x="0" y="23"/>
                      <a:pt x="1" y="25"/>
                      <a:pt x="2" y="24"/>
                    </a:cubicBezTo>
                    <a:cubicBezTo>
                      <a:pt x="3" y="23"/>
                      <a:pt x="6" y="25"/>
                      <a:pt x="5" y="27"/>
                    </a:cubicBezTo>
                    <a:cubicBezTo>
                      <a:pt x="5" y="29"/>
                      <a:pt x="3" y="30"/>
                      <a:pt x="4" y="31"/>
                    </a:cubicBezTo>
                    <a:cubicBezTo>
                      <a:pt x="5" y="32"/>
                      <a:pt x="3" y="31"/>
                      <a:pt x="3" y="33"/>
                    </a:cubicBezTo>
                    <a:cubicBezTo>
                      <a:pt x="2" y="35"/>
                      <a:pt x="0" y="35"/>
                      <a:pt x="3" y="35"/>
                    </a:cubicBezTo>
                    <a:cubicBezTo>
                      <a:pt x="5" y="36"/>
                      <a:pt x="1" y="36"/>
                      <a:pt x="4" y="37"/>
                    </a:cubicBezTo>
                    <a:cubicBezTo>
                      <a:pt x="6" y="37"/>
                      <a:pt x="4" y="39"/>
                      <a:pt x="6" y="38"/>
                    </a:cubicBezTo>
                    <a:cubicBezTo>
                      <a:pt x="7" y="37"/>
                      <a:pt x="6" y="35"/>
                      <a:pt x="8" y="37"/>
                    </a:cubicBezTo>
                    <a:cubicBezTo>
                      <a:pt x="9" y="38"/>
                      <a:pt x="9" y="38"/>
                      <a:pt x="9" y="37"/>
                    </a:cubicBezTo>
                    <a:cubicBezTo>
                      <a:pt x="10" y="36"/>
                      <a:pt x="11" y="37"/>
                      <a:pt x="12" y="37"/>
                    </a:cubicBezTo>
                    <a:cubicBezTo>
                      <a:pt x="12" y="36"/>
                      <a:pt x="12" y="35"/>
                      <a:pt x="14" y="34"/>
                    </a:cubicBezTo>
                    <a:cubicBezTo>
                      <a:pt x="17" y="33"/>
                      <a:pt x="18" y="34"/>
                      <a:pt x="20" y="33"/>
                    </a:cubicBezTo>
                    <a:cubicBezTo>
                      <a:pt x="21" y="33"/>
                      <a:pt x="19" y="32"/>
                      <a:pt x="21" y="31"/>
                    </a:cubicBezTo>
                    <a:cubicBezTo>
                      <a:pt x="20" y="30"/>
                      <a:pt x="20" y="31"/>
                      <a:pt x="18" y="29"/>
                    </a:cubicBezTo>
                    <a:cubicBezTo>
                      <a:pt x="17" y="27"/>
                      <a:pt x="16" y="28"/>
                      <a:pt x="16" y="27"/>
                    </a:cubicBezTo>
                    <a:cubicBezTo>
                      <a:pt x="15" y="26"/>
                      <a:pt x="17" y="28"/>
                      <a:pt x="16" y="25"/>
                    </a:cubicBezTo>
                    <a:cubicBezTo>
                      <a:pt x="16" y="22"/>
                      <a:pt x="17" y="24"/>
                      <a:pt x="18" y="22"/>
                    </a:cubicBezTo>
                    <a:cubicBezTo>
                      <a:pt x="19" y="20"/>
                      <a:pt x="19" y="23"/>
                      <a:pt x="22" y="20"/>
                    </a:cubicBezTo>
                    <a:cubicBezTo>
                      <a:pt x="25" y="18"/>
                      <a:pt x="26" y="16"/>
                      <a:pt x="27" y="16"/>
                    </a:cubicBezTo>
                    <a:cubicBezTo>
                      <a:pt x="28" y="16"/>
                      <a:pt x="28" y="13"/>
                      <a:pt x="28" y="12"/>
                    </a:cubicBezTo>
                    <a:cubicBezTo>
                      <a:pt x="28" y="11"/>
                      <a:pt x="27" y="11"/>
                      <a:pt x="28" y="9"/>
                    </a:cubicBezTo>
                    <a:cubicBezTo>
                      <a:pt x="30" y="7"/>
                      <a:pt x="30" y="6"/>
                      <a:pt x="31" y="5"/>
                    </a:cubicBezTo>
                    <a:cubicBezTo>
                      <a:pt x="32" y="5"/>
                      <a:pt x="32" y="6"/>
                      <a:pt x="33" y="5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2" y="2"/>
                      <a:pt x="32" y="4"/>
                      <a:pt x="31" y="3"/>
                    </a:cubicBezTo>
                    <a:cubicBezTo>
                      <a:pt x="30" y="2"/>
                      <a:pt x="31" y="1"/>
                      <a:pt x="29" y="0"/>
                    </a:cubicBezTo>
                    <a:cubicBezTo>
                      <a:pt x="27" y="0"/>
                      <a:pt x="29" y="5"/>
                      <a:pt x="27" y="4"/>
                    </a:cubicBezTo>
                    <a:cubicBezTo>
                      <a:pt x="25" y="4"/>
                      <a:pt x="26" y="6"/>
                      <a:pt x="24" y="7"/>
                    </a:cubicBezTo>
                    <a:cubicBezTo>
                      <a:pt x="23" y="8"/>
                      <a:pt x="24" y="7"/>
                      <a:pt x="22" y="7"/>
                    </a:cubicBezTo>
                    <a:cubicBezTo>
                      <a:pt x="21" y="8"/>
                      <a:pt x="19" y="6"/>
                      <a:pt x="19" y="8"/>
                    </a:cubicBezTo>
                    <a:cubicBezTo>
                      <a:pt x="19" y="10"/>
                      <a:pt x="21" y="10"/>
                      <a:pt x="20" y="11"/>
                    </a:cubicBezTo>
                    <a:cubicBezTo>
                      <a:pt x="19" y="12"/>
                      <a:pt x="19" y="11"/>
                      <a:pt x="18" y="11"/>
                    </a:cubicBezTo>
                    <a:cubicBezTo>
                      <a:pt x="17" y="12"/>
                      <a:pt x="16" y="11"/>
                      <a:pt x="15" y="11"/>
                    </a:cubicBezTo>
                    <a:cubicBezTo>
                      <a:pt x="14" y="11"/>
                      <a:pt x="14" y="8"/>
                      <a:pt x="13" y="9"/>
                    </a:cubicBezTo>
                    <a:cubicBezTo>
                      <a:pt x="12" y="10"/>
                      <a:pt x="13" y="9"/>
                      <a:pt x="12" y="10"/>
                    </a:cubicBezTo>
                    <a:cubicBezTo>
                      <a:pt x="11" y="11"/>
                      <a:pt x="12" y="11"/>
                      <a:pt x="11" y="12"/>
                    </a:cubicBezTo>
                    <a:cubicBezTo>
                      <a:pt x="10" y="13"/>
                      <a:pt x="9" y="15"/>
                      <a:pt x="8" y="15"/>
                    </a:cubicBezTo>
                    <a:cubicBezTo>
                      <a:pt x="6" y="15"/>
                      <a:pt x="7" y="16"/>
                      <a:pt x="6" y="16"/>
                    </a:cubicBezTo>
                    <a:cubicBezTo>
                      <a:pt x="5" y="16"/>
                      <a:pt x="6" y="17"/>
                      <a:pt x="5" y="17"/>
                    </a:cubicBezTo>
                    <a:cubicBezTo>
                      <a:pt x="3" y="18"/>
                      <a:pt x="4" y="18"/>
                      <a:pt x="3" y="18"/>
                    </a:cubicBezTo>
                    <a:cubicBezTo>
                      <a:pt x="2" y="18"/>
                      <a:pt x="1" y="20"/>
                      <a:pt x="0" y="21"/>
                    </a:cubicBezTo>
                    <a:lnTo>
                      <a:pt x="0" y="22"/>
                    </a:ln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43" name="Freeform 20146">
                <a:extLst>
                  <a:ext uri="{FF2B5EF4-FFF2-40B4-BE49-F238E27FC236}">
                    <a16:creationId xmlns:a16="http://schemas.microsoft.com/office/drawing/2014/main" id="{C16338B6-E103-E74D-B5A6-B606DEE73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214512" y="3119266"/>
                <a:ext cx="85871" cy="177465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15" y="5"/>
                  </a:cxn>
                  <a:cxn ang="0">
                    <a:pos x="18" y="18"/>
                  </a:cxn>
                  <a:cxn ang="0">
                    <a:pos x="17" y="25"/>
                  </a:cxn>
                  <a:cxn ang="0">
                    <a:pos x="13" y="27"/>
                  </a:cxn>
                  <a:cxn ang="0">
                    <a:pos x="9" y="28"/>
                  </a:cxn>
                  <a:cxn ang="0">
                    <a:pos x="8" y="28"/>
                  </a:cxn>
                  <a:cxn ang="0">
                    <a:pos x="7" y="28"/>
                  </a:cxn>
                  <a:cxn ang="0">
                    <a:pos x="5" y="30"/>
                  </a:cxn>
                  <a:cxn ang="0">
                    <a:pos x="3" y="29"/>
                  </a:cxn>
                  <a:cxn ang="0">
                    <a:pos x="2" y="27"/>
                  </a:cxn>
                  <a:cxn ang="0">
                    <a:pos x="3" y="22"/>
                  </a:cxn>
                  <a:cxn ang="0">
                    <a:pos x="3" y="18"/>
                  </a:cxn>
                  <a:cxn ang="0">
                    <a:pos x="1" y="14"/>
                  </a:cxn>
                  <a:cxn ang="0">
                    <a:pos x="2" y="12"/>
                  </a:cxn>
                  <a:cxn ang="0">
                    <a:pos x="5" y="13"/>
                  </a:cxn>
                  <a:cxn ang="0">
                    <a:pos x="3" y="7"/>
                  </a:cxn>
                  <a:cxn ang="0">
                    <a:pos x="6" y="3"/>
                  </a:cxn>
                  <a:cxn ang="0">
                    <a:pos x="1" y="38"/>
                  </a:cxn>
                  <a:cxn ang="0">
                    <a:pos x="18" y="30"/>
                  </a:cxn>
                  <a:cxn ang="0">
                    <a:pos x="17" y="30"/>
                  </a:cxn>
                  <a:cxn ang="0">
                    <a:pos x="18" y="30"/>
                  </a:cxn>
                  <a:cxn ang="0">
                    <a:pos x="1" y="30"/>
                  </a:cxn>
                  <a:cxn ang="0">
                    <a:pos x="0" y="27"/>
                  </a:cxn>
                  <a:cxn ang="0">
                    <a:pos x="0" y="27"/>
                  </a:cxn>
                  <a:cxn ang="0">
                    <a:pos x="1" y="26"/>
                  </a:cxn>
                  <a:cxn ang="0">
                    <a:pos x="1" y="27"/>
                  </a:cxn>
                  <a:cxn ang="0">
                    <a:pos x="2" y="1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0" y="26"/>
                  </a:cxn>
                  <a:cxn ang="0">
                    <a:pos x="11" y="27"/>
                  </a:cxn>
                  <a:cxn ang="0">
                    <a:pos x="4" y="32"/>
                  </a:cxn>
                  <a:cxn ang="0">
                    <a:pos x="2" y="6"/>
                  </a:cxn>
                  <a:cxn ang="0">
                    <a:pos x="2" y="6"/>
                  </a:cxn>
                </a:cxnLst>
                <a:rect l="0" t="0" r="r" b="b"/>
                <a:pathLst>
                  <a:path w="19" h="39">
                    <a:moveTo>
                      <a:pt x="6" y="3"/>
                    </a:moveTo>
                    <a:cubicBezTo>
                      <a:pt x="9" y="2"/>
                      <a:pt x="10" y="3"/>
                      <a:pt x="12" y="2"/>
                    </a:cubicBezTo>
                    <a:cubicBezTo>
                      <a:pt x="13" y="2"/>
                      <a:pt x="11" y="1"/>
                      <a:pt x="13" y="0"/>
                    </a:cubicBezTo>
                    <a:cubicBezTo>
                      <a:pt x="13" y="1"/>
                      <a:pt x="14" y="3"/>
                      <a:pt x="15" y="5"/>
                    </a:cubicBezTo>
                    <a:cubicBezTo>
                      <a:pt x="16" y="7"/>
                      <a:pt x="18" y="10"/>
                      <a:pt x="18" y="13"/>
                    </a:cubicBezTo>
                    <a:cubicBezTo>
                      <a:pt x="19" y="15"/>
                      <a:pt x="18" y="15"/>
                      <a:pt x="18" y="18"/>
                    </a:cubicBezTo>
                    <a:cubicBezTo>
                      <a:pt x="18" y="20"/>
                      <a:pt x="19" y="17"/>
                      <a:pt x="19" y="19"/>
                    </a:cubicBezTo>
                    <a:cubicBezTo>
                      <a:pt x="19" y="21"/>
                      <a:pt x="17" y="24"/>
                      <a:pt x="17" y="25"/>
                    </a:cubicBezTo>
                    <a:cubicBezTo>
                      <a:pt x="16" y="26"/>
                      <a:pt x="15" y="25"/>
                      <a:pt x="14" y="25"/>
                    </a:cubicBezTo>
                    <a:cubicBezTo>
                      <a:pt x="13" y="26"/>
                      <a:pt x="14" y="26"/>
                      <a:pt x="13" y="27"/>
                    </a:cubicBezTo>
                    <a:cubicBezTo>
                      <a:pt x="12" y="27"/>
                      <a:pt x="11" y="26"/>
                      <a:pt x="9" y="26"/>
                    </a:cubicBezTo>
                    <a:cubicBezTo>
                      <a:pt x="8" y="27"/>
                      <a:pt x="10" y="27"/>
                      <a:pt x="9" y="28"/>
                    </a:cubicBezTo>
                    <a:cubicBezTo>
                      <a:pt x="9" y="28"/>
                      <a:pt x="9" y="28"/>
                      <a:pt x="8" y="27"/>
                    </a:cubicBezTo>
                    <a:cubicBezTo>
                      <a:pt x="8" y="26"/>
                      <a:pt x="8" y="27"/>
                      <a:pt x="8" y="28"/>
                    </a:cubicBezTo>
                    <a:cubicBezTo>
                      <a:pt x="8" y="28"/>
                      <a:pt x="8" y="29"/>
                      <a:pt x="8" y="29"/>
                    </a:cubicBezTo>
                    <a:cubicBezTo>
                      <a:pt x="7" y="30"/>
                      <a:pt x="6" y="29"/>
                      <a:pt x="7" y="28"/>
                    </a:cubicBezTo>
                    <a:cubicBezTo>
                      <a:pt x="8" y="27"/>
                      <a:pt x="7" y="27"/>
                      <a:pt x="6" y="28"/>
                    </a:cubicBezTo>
                    <a:cubicBezTo>
                      <a:pt x="5" y="29"/>
                      <a:pt x="5" y="30"/>
                      <a:pt x="5" y="30"/>
                    </a:cubicBezTo>
                    <a:cubicBezTo>
                      <a:pt x="4" y="30"/>
                      <a:pt x="5" y="27"/>
                      <a:pt x="4" y="29"/>
                    </a:cubicBezTo>
                    <a:cubicBezTo>
                      <a:pt x="3" y="31"/>
                      <a:pt x="3" y="31"/>
                      <a:pt x="3" y="29"/>
                    </a:cubicBezTo>
                    <a:cubicBezTo>
                      <a:pt x="3" y="28"/>
                      <a:pt x="2" y="29"/>
                      <a:pt x="2" y="28"/>
                    </a:cubicBezTo>
                    <a:cubicBezTo>
                      <a:pt x="2" y="27"/>
                      <a:pt x="3" y="28"/>
                      <a:pt x="2" y="27"/>
                    </a:cubicBezTo>
                    <a:cubicBezTo>
                      <a:pt x="2" y="26"/>
                      <a:pt x="2" y="26"/>
                      <a:pt x="2" y="25"/>
                    </a:cubicBezTo>
                    <a:cubicBezTo>
                      <a:pt x="1" y="25"/>
                      <a:pt x="2" y="24"/>
                      <a:pt x="3" y="22"/>
                    </a:cubicBezTo>
                    <a:cubicBezTo>
                      <a:pt x="3" y="20"/>
                      <a:pt x="5" y="21"/>
                      <a:pt x="4" y="20"/>
                    </a:cubicBezTo>
                    <a:cubicBezTo>
                      <a:pt x="3" y="19"/>
                      <a:pt x="4" y="19"/>
                      <a:pt x="3" y="18"/>
                    </a:cubicBezTo>
                    <a:cubicBezTo>
                      <a:pt x="3" y="18"/>
                      <a:pt x="3" y="16"/>
                      <a:pt x="3" y="15"/>
                    </a:cubicBezTo>
                    <a:cubicBezTo>
                      <a:pt x="3" y="13"/>
                      <a:pt x="2" y="15"/>
                      <a:pt x="1" y="14"/>
                    </a:cubicBezTo>
                    <a:cubicBezTo>
                      <a:pt x="1" y="14"/>
                      <a:pt x="1" y="12"/>
                      <a:pt x="2" y="13"/>
                    </a:cubicBezTo>
                    <a:cubicBezTo>
                      <a:pt x="2" y="13"/>
                      <a:pt x="3" y="13"/>
                      <a:pt x="2" y="12"/>
                    </a:cubicBezTo>
                    <a:cubicBezTo>
                      <a:pt x="2" y="12"/>
                      <a:pt x="2" y="12"/>
                      <a:pt x="4" y="12"/>
                    </a:cubicBezTo>
                    <a:cubicBezTo>
                      <a:pt x="5" y="12"/>
                      <a:pt x="5" y="14"/>
                      <a:pt x="5" y="13"/>
                    </a:cubicBezTo>
                    <a:cubicBezTo>
                      <a:pt x="6" y="11"/>
                      <a:pt x="3" y="11"/>
                      <a:pt x="4" y="10"/>
                    </a:cubicBezTo>
                    <a:cubicBezTo>
                      <a:pt x="5" y="9"/>
                      <a:pt x="3" y="8"/>
                      <a:pt x="3" y="7"/>
                    </a:cubicBezTo>
                    <a:cubicBezTo>
                      <a:pt x="4" y="6"/>
                      <a:pt x="4" y="7"/>
                      <a:pt x="4" y="6"/>
                    </a:cubicBezTo>
                    <a:cubicBezTo>
                      <a:pt x="4" y="5"/>
                      <a:pt x="4" y="4"/>
                      <a:pt x="6" y="3"/>
                    </a:cubicBezTo>
                    <a:close/>
                    <a:moveTo>
                      <a:pt x="5" y="36"/>
                    </a:moveTo>
                    <a:cubicBezTo>
                      <a:pt x="5" y="35"/>
                      <a:pt x="0" y="36"/>
                      <a:pt x="1" y="38"/>
                    </a:cubicBezTo>
                    <a:cubicBezTo>
                      <a:pt x="2" y="39"/>
                      <a:pt x="6" y="37"/>
                      <a:pt x="5" y="36"/>
                    </a:cubicBezTo>
                    <a:close/>
                    <a:moveTo>
                      <a:pt x="18" y="30"/>
                    </a:moveTo>
                    <a:cubicBezTo>
                      <a:pt x="19" y="29"/>
                      <a:pt x="19" y="28"/>
                      <a:pt x="18" y="28"/>
                    </a:cubicBezTo>
                    <a:cubicBezTo>
                      <a:pt x="17" y="28"/>
                      <a:pt x="18" y="29"/>
                      <a:pt x="17" y="30"/>
                    </a:cubicBezTo>
                    <a:cubicBezTo>
                      <a:pt x="17" y="31"/>
                      <a:pt x="17" y="32"/>
                      <a:pt x="17" y="32"/>
                    </a:cubicBezTo>
                    <a:cubicBezTo>
                      <a:pt x="18" y="32"/>
                      <a:pt x="17" y="31"/>
                      <a:pt x="18" y="30"/>
                    </a:cubicBezTo>
                    <a:close/>
                    <a:moveTo>
                      <a:pt x="2" y="29"/>
                    </a:moveTo>
                    <a:cubicBezTo>
                      <a:pt x="2" y="29"/>
                      <a:pt x="0" y="30"/>
                      <a:pt x="1" y="30"/>
                    </a:cubicBezTo>
                    <a:cubicBezTo>
                      <a:pt x="1" y="30"/>
                      <a:pt x="3" y="30"/>
                      <a:pt x="2" y="29"/>
                    </a:cubicBezTo>
                    <a:close/>
                    <a:moveTo>
                      <a:pt x="0" y="27"/>
                    </a:moveTo>
                    <a:cubicBezTo>
                      <a:pt x="0" y="27"/>
                      <a:pt x="0" y="27"/>
                      <a:pt x="0" y="28"/>
                    </a:cubicBezTo>
                    <a:cubicBezTo>
                      <a:pt x="0" y="28"/>
                      <a:pt x="0" y="28"/>
                      <a:pt x="0" y="27"/>
                    </a:cubicBezTo>
                    <a:close/>
                    <a:moveTo>
                      <a:pt x="1" y="27"/>
                    </a:moveTo>
                    <a:cubicBezTo>
                      <a:pt x="1" y="27"/>
                      <a:pt x="1" y="26"/>
                      <a:pt x="1" y="26"/>
                    </a:cubicBezTo>
                    <a:cubicBezTo>
                      <a:pt x="0" y="27"/>
                      <a:pt x="1" y="27"/>
                      <a:pt x="1" y="28"/>
                    </a:cubicBezTo>
                    <a:cubicBezTo>
                      <a:pt x="1" y="28"/>
                      <a:pt x="1" y="28"/>
                      <a:pt x="1" y="27"/>
                    </a:cubicBezTo>
                    <a:close/>
                    <a:moveTo>
                      <a:pt x="2" y="15"/>
                    </a:moveTo>
                    <a:cubicBezTo>
                      <a:pt x="2" y="15"/>
                      <a:pt x="2" y="16"/>
                      <a:pt x="2" y="16"/>
                    </a:cubicBezTo>
                    <a:cubicBezTo>
                      <a:pt x="3" y="16"/>
                      <a:pt x="3" y="15"/>
                      <a:pt x="2" y="15"/>
                    </a:cubicBezTo>
                    <a:close/>
                    <a:moveTo>
                      <a:pt x="14" y="26"/>
                    </a:moveTo>
                    <a:cubicBezTo>
                      <a:pt x="13" y="26"/>
                      <a:pt x="13" y="28"/>
                      <a:pt x="14" y="28"/>
                    </a:cubicBezTo>
                    <a:cubicBezTo>
                      <a:pt x="15" y="27"/>
                      <a:pt x="15" y="26"/>
                      <a:pt x="14" y="26"/>
                    </a:cubicBezTo>
                    <a:close/>
                    <a:moveTo>
                      <a:pt x="11" y="27"/>
                    </a:moveTo>
                    <a:cubicBezTo>
                      <a:pt x="11" y="26"/>
                      <a:pt x="10" y="26"/>
                      <a:pt x="10" y="26"/>
                    </a:cubicBezTo>
                    <a:cubicBezTo>
                      <a:pt x="10" y="27"/>
                      <a:pt x="10" y="27"/>
                      <a:pt x="11" y="28"/>
                    </a:cubicBezTo>
                    <a:cubicBezTo>
                      <a:pt x="11" y="28"/>
                      <a:pt x="11" y="27"/>
                      <a:pt x="11" y="27"/>
                    </a:cubicBezTo>
                    <a:close/>
                    <a:moveTo>
                      <a:pt x="3" y="31"/>
                    </a:moveTo>
                    <a:cubicBezTo>
                      <a:pt x="3" y="32"/>
                      <a:pt x="3" y="32"/>
                      <a:pt x="4" y="32"/>
                    </a:cubicBezTo>
                    <a:cubicBezTo>
                      <a:pt x="4" y="32"/>
                      <a:pt x="4" y="31"/>
                      <a:pt x="3" y="31"/>
                    </a:cubicBezTo>
                    <a:close/>
                    <a:moveTo>
                      <a:pt x="2" y="6"/>
                    </a:moveTo>
                    <a:cubicBezTo>
                      <a:pt x="2" y="6"/>
                      <a:pt x="2" y="8"/>
                      <a:pt x="3" y="8"/>
                    </a:cubicBezTo>
                    <a:cubicBezTo>
                      <a:pt x="3" y="8"/>
                      <a:pt x="3" y="6"/>
                      <a:pt x="2" y="6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6946596-8D9B-014D-9850-53F485A49ADD}"/>
                </a:ext>
              </a:extLst>
            </p:cNvPr>
            <p:cNvGrpSpPr/>
            <p:nvPr userDrawn="1"/>
          </p:nvGrpSpPr>
          <p:grpSpPr>
            <a:xfrm>
              <a:off x="5977980" y="2619311"/>
              <a:ext cx="1452163" cy="1123946"/>
              <a:chOff x="5977980" y="2619311"/>
              <a:chExt cx="1452163" cy="1123946"/>
            </a:xfrm>
            <a:grpFill/>
          </p:grpSpPr>
          <p:sp>
            <p:nvSpPr>
              <p:cNvPr id="40" name="Freeform 20144">
                <a:extLst>
                  <a:ext uri="{FF2B5EF4-FFF2-40B4-BE49-F238E27FC236}">
                    <a16:creationId xmlns:a16="http://schemas.microsoft.com/office/drawing/2014/main" id="{2920F9E5-B22E-1D49-A770-9024D34339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75212" y="3527627"/>
                <a:ext cx="49613" cy="116402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0" y="6"/>
                  </a:cxn>
                  <a:cxn ang="0">
                    <a:pos x="8" y="14"/>
                  </a:cxn>
                  <a:cxn ang="0">
                    <a:pos x="5" y="22"/>
                  </a:cxn>
                  <a:cxn ang="0">
                    <a:pos x="3" y="21"/>
                  </a:cxn>
                  <a:cxn ang="0">
                    <a:pos x="1" y="17"/>
                  </a:cxn>
                  <a:cxn ang="0">
                    <a:pos x="2" y="8"/>
                  </a:cxn>
                </a:cxnLst>
                <a:rect l="0" t="0" r="r" b="b"/>
                <a:pathLst>
                  <a:path w="11" h="26">
                    <a:moveTo>
                      <a:pt x="2" y="8"/>
                    </a:moveTo>
                    <a:cubicBezTo>
                      <a:pt x="5" y="4"/>
                      <a:pt x="6" y="3"/>
                      <a:pt x="7" y="2"/>
                    </a:cubicBezTo>
                    <a:cubicBezTo>
                      <a:pt x="8" y="2"/>
                      <a:pt x="8" y="0"/>
                      <a:pt x="9" y="2"/>
                    </a:cubicBezTo>
                    <a:cubicBezTo>
                      <a:pt x="11" y="4"/>
                      <a:pt x="9" y="4"/>
                      <a:pt x="10" y="6"/>
                    </a:cubicBezTo>
                    <a:cubicBezTo>
                      <a:pt x="10" y="7"/>
                      <a:pt x="9" y="9"/>
                      <a:pt x="8" y="14"/>
                    </a:cubicBezTo>
                    <a:cubicBezTo>
                      <a:pt x="7" y="20"/>
                      <a:pt x="5" y="18"/>
                      <a:pt x="5" y="22"/>
                    </a:cubicBezTo>
                    <a:cubicBezTo>
                      <a:pt x="5" y="26"/>
                      <a:pt x="4" y="23"/>
                      <a:pt x="3" y="21"/>
                    </a:cubicBezTo>
                    <a:cubicBezTo>
                      <a:pt x="3" y="19"/>
                      <a:pt x="2" y="21"/>
                      <a:pt x="1" y="17"/>
                    </a:cubicBezTo>
                    <a:cubicBezTo>
                      <a:pt x="0" y="14"/>
                      <a:pt x="0" y="12"/>
                      <a:pt x="2" y="8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lvl="0"/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41" name="Freeform 20147">
                <a:extLst>
                  <a:ext uri="{FF2B5EF4-FFF2-40B4-BE49-F238E27FC236}">
                    <a16:creationId xmlns:a16="http://schemas.microsoft.com/office/drawing/2014/main" id="{378E78FF-35A8-FF46-83B6-3B897988F18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977980" y="2619311"/>
                <a:ext cx="1452163" cy="1123946"/>
              </a:xfrm>
              <a:custGeom>
                <a:avLst/>
                <a:gdLst/>
                <a:ahLst/>
                <a:cxnLst>
                  <a:cxn ang="0">
                    <a:pos x="288" y="87"/>
                  </a:cxn>
                  <a:cxn ang="0">
                    <a:pos x="278" y="90"/>
                  </a:cxn>
                  <a:cxn ang="0">
                    <a:pos x="266" y="101"/>
                  </a:cxn>
                  <a:cxn ang="0">
                    <a:pos x="252" y="109"/>
                  </a:cxn>
                  <a:cxn ang="0">
                    <a:pos x="251" y="103"/>
                  </a:cxn>
                  <a:cxn ang="0">
                    <a:pos x="245" y="100"/>
                  </a:cxn>
                  <a:cxn ang="0">
                    <a:pos x="233" y="114"/>
                  </a:cxn>
                  <a:cxn ang="0">
                    <a:pos x="249" y="118"/>
                  </a:cxn>
                  <a:cxn ang="0">
                    <a:pos x="254" y="123"/>
                  </a:cxn>
                  <a:cxn ang="0">
                    <a:pos x="244" y="131"/>
                  </a:cxn>
                  <a:cxn ang="0">
                    <a:pos x="251" y="157"/>
                  </a:cxn>
                  <a:cxn ang="0">
                    <a:pos x="246" y="157"/>
                  </a:cxn>
                  <a:cxn ang="0">
                    <a:pos x="246" y="169"/>
                  </a:cxn>
                  <a:cxn ang="0">
                    <a:pos x="251" y="181"/>
                  </a:cxn>
                  <a:cxn ang="0">
                    <a:pos x="242" y="193"/>
                  </a:cxn>
                  <a:cxn ang="0">
                    <a:pos x="239" y="202"/>
                  </a:cxn>
                  <a:cxn ang="0">
                    <a:pos x="233" y="208"/>
                  </a:cxn>
                  <a:cxn ang="0">
                    <a:pos x="222" y="219"/>
                  </a:cxn>
                  <a:cxn ang="0">
                    <a:pos x="214" y="220"/>
                  </a:cxn>
                  <a:cxn ang="0">
                    <a:pos x="208" y="223"/>
                  </a:cxn>
                  <a:cxn ang="0">
                    <a:pos x="195" y="228"/>
                  </a:cxn>
                  <a:cxn ang="0">
                    <a:pos x="189" y="230"/>
                  </a:cxn>
                  <a:cxn ang="0">
                    <a:pos x="183" y="225"/>
                  </a:cxn>
                  <a:cxn ang="0">
                    <a:pos x="174" y="223"/>
                  </a:cxn>
                  <a:cxn ang="0">
                    <a:pos x="161" y="219"/>
                  </a:cxn>
                  <a:cxn ang="0">
                    <a:pos x="150" y="221"/>
                  </a:cxn>
                  <a:cxn ang="0">
                    <a:pos x="140" y="227"/>
                  </a:cxn>
                  <a:cxn ang="0">
                    <a:pos x="132" y="213"/>
                  </a:cxn>
                  <a:cxn ang="0">
                    <a:pos x="130" y="200"/>
                  </a:cxn>
                  <a:cxn ang="0">
                    <a:pos x="125" y="183"/>
                  </a:cxn>
                  <a:cxn ang="0">
                    <a:pos x="112" y="176"/>
                  </a:cxn>
                  <a:cxn ang="0">
                    <a:pos x="92" y="184"/>
                  </a:cxn>
                  <a:cxn ang="0">
                    <a:pos x="75" y="185"/>
                  </a:cxn>
                  <a:cxn ang="0">
                    <a:pos x="62" y="181"/>
                  </a:cxn>
                  <a:cxn ang="0">
                    <a:pos x="44" y="168"/>
                  </a:cxn>
                  <a:cxn ang="0">
                    <a:pos x="29" y="154"/>
                  </a:cxn>
                  <a:cxn ang="0">
                    <a:pos x="36" y="135"/>
                  </a:cxn>
                  <a:cxn ang="0">
                    <a:pos x="17" y="131"/>
                  </a:cxn>
                  <a:cxn ang="0">
                    <a:pos x="9" y="119"/>
                  </a:cxn>
                  <a:cxn ang="0">
                    <a:pos x="5" y="101"/>
                  </a:cxn>
                  <a:cxn ang="0">
                    <a:pos x="34" y="88"/>
                  </a:cxn>
                  <a:cxn ang="0">
                    <a:pos x="44" y="63"/>
                  </a:cxn>
                  <a:cxn ang="0">
                    <a:pos x="64" y="47"/>
                  </a:cxn>
                  <a:cxn ang="0">
                    <a:pos x="87" y="44"/>
                  </a:cxn>
                  <a:cxn ang="0">
                    <a:pos x="117" y="75"/>
                  </a:cxn>
                  <a:cxn ang="0">
                    <a:pos x="163" y="90"/>
                  </a:cxn>
                  <a:cxn ang="0">
                    <a:pos x="194" y="80"/>
                  </a:cxn>
                  <a:cxn ang="0">
                    <a:pos x="223" y="60"/>
                  </a:cxn>
                  <a:cxn ang="0">
                    <a:pos x="233" y="43"/>
                  </a:cxn>
                  <a:cxn ang="0">
                    <a:pos x="245" y="15"/>
                  </a:cxn>
                  <a:cxn ang="0">
                    <a:pos x="297" y="36"/>
                  </a:cxn>
                  <a:cxn ang="0">
                    <a:pos x="310" y="65"/>
                  </a:cxn>
                  <a:cxn ang="0">
                    <a:pos x="184" y="244"/>
                  </a:cxn>
                  <a:cxn ang="0">
                    <a:pos x="196" y="240"/>
                  </a:cxn>
                  <a:cxn ang="0">
                    <a:pos x="185" y="240"/>
                  </a:cxn>
                </a:cxnLst>
                <a:rect l="0" t="0" r="r" b="b"/>
                <a:pathLst>
                  <a:path w="322" h="249">
                    <a:moveTo>
                      <a:pt x="298" y="84"/>
                    </a:moveTo>
                    <a:cubicBezTo>
                      <a:pt x="298" y="82"/>
                      <a:pt x="298" y="84"/>
                      <a:pt x="297" y="83"/>
                    </a:cubicBezTo>
                    <a:cubicBezTo>
                      <a:pt x="296" y="82"/>
                      <a:pt x="297" y="81"/>
                      <a:pt x="295" y="80"/>
                    </a:cubicBezTo>
                    <a:cubicBezTo>
                      <a:pt x="293" y="80"/>
                      <a:pt x="295" y="85"/>
                      <a:pt x="293" y="84"/>
                    </a:cubicBezTo>
                    <a:cubicBezTo>
                      <a:pt x="291" y="84"/>
                      <a:pt x="292" y="86"/>
                      <a:pt x="290" y="87"/>
                    </a:cubicBezTo>
                    <a:cubicBezTo>
                      <a:pt x="289" y="88"/>
                      <a:pt x="290" y="87"/>
                      <a:pt x="288" y="87"/>
                    </a:cubicBezTo>
                    <a:cubicBezTo>
                      <a:pt x="287" y="88"/>
                      <a:pt x="285" y="86"/>
                      <a:pt x="285" y="88"/>
                    </a:cubicBezTo>
                    <a:cubicBezTo>
                      <a:pt x="285" y="90"/>
                      <a:pt x="287" y="90"/>
                      <a:pt x="286" y="91"/>
                    </a:cubicBezTo>
                    <a:cubicBezTo>
                      <a:pt x="285" y="92"/>
                      <a:pt x="285" y="91"/>
                      <a:pt x="284" y="91"/>
                    </a:cubicBezTo>
                    <a:cubicBezTo>
                      <a:pt x="283" y="92"/>
                      <a:pt x="282" y="91"/>
                      <a:pt x="281" y="91"/>
                    </a:cubicBezTo>
                    <a:cubicBezTo>
                      <a:pt x="280" y="91"/>
                      <a:pt x="280" y="88"/>
                      <a:pt x="279" y="89"/>
                    </a:cubicBezTo>
                    <a:cubicBezTo>
                      <a:pt x="278" y="90"/>
                      <a:pt x="279" y="89"/>
                      <a:pt x="278" y="90"/>
                    </a:cubicBezTo>
                    <a:cubicBezTo>
                      <a:pt x="277" y="91"/>
                      <a:pt x="278" y="91"/>
                      <a:pt x="277" y="92"/>
                    </a:cubicBezTo>
                    <a:cubicBezTo>
                      <a:pt x="276" y="93"/>
                      <a:pt x="275" y="95"/>
                      <a:pt x="274" y="95"/>
                    </a:cubicBezTo>
                    <a:cubicBezTo>
                      <a:pt x="272" y="95"/>
                      <a:pt x="273" y="96"/>
                      <a:pt x="272" y="96"/>
                    </a:cubicBezTo>
                    <a:cubicBezTo>
                      <a:pt x="271" y="96"/>
                      <a:pt x="272" y="97"/>
                      <a:pt x="271" y="97"/>
                    </a:cubicBezTo>
                    <a:cubicBezTo>
                      <a:pt x="269" y="98"/>
                      <a:pt x="270" y="98"/>
                      <a:pt x="269" y="98"/>
                    </a:cubicBezTo>
                    <a:cubicBezTo>
                      <a:pt x="268" y="98"/>
                      <a:pt x="267" y="100"/>
                      <a:pt x="266" y="101"/>
                    </a:cubicBezTo>
                    <a:cubicBezTo>
                      <a:pt x="266" y="102"/>
                      <a:pt x="266" y="102"/>
                      <a:pt x="266" y="102"/>
                    </a:cubicBezTo>
                    <a:cubicBezTo>
                      <a:pt x="264" y="104"/>
                      <a:pt x="263" y="102"/>
                      <a:pt x="262" y="103"/>
                    </a:cubicBezTo>
                    <a:cubicBezTo>
                      <a:pt x="261" y="104"/>
                      <a:pt x="261" y="102"/>
                      <a:pt x="260" y="104"/>
                    </a:cubicBezTo>
                    <a:cubicBezTo>
                      <a:pt x="260" y="105"/>
                      <a:pt x="258" y="104"/>
                      <a:pt x="257" y="105"/>
                    </a:cubicBezTo>
                    <a:cubicBezTo>
                      <a:pt x="256" y="106"/>
                      <a:pt x="255" y="106"/>
                      <a:pt x="254" y="108"/>
                    </a:cubicBezTo>
                    <a:cubicBezTo>
                      <a:pt x="254" y="110"/>
                      <a:pt x="252" y="109"/>
                      <a:pt x="252" y="109"/>
                    </a:cubicBezTo>
                    <a:cubicBezTo>
                      <a:pt x="252" y="109"/>
                      <a:pt x="253" y="110"/>
                      <a:pt x="252" y="110"/>
                    </a:cubicBezTo>
                    <a:cubicBezTo>
                      <a:pt x="250" y="110"/>
                      <a:pt x="249" y="112"/>
                      <a:pt x="249" y="110"/>
                    </a:cubicBezTo>
                    <a:cubicBezTo>
                      <a:pt x="249" y="108"/>
                      <a:pt x="249" y="110"/>
                      <a:pt x="250" y="109"/>
                    </a:cubicBezTo>
                    <a:cubicBezTo>
                      <a:pt x="251" y="107"/>
                      <a:pt x="251" y="109"/>
                      <a:pt x="252" y="108"/>
                    </a:cubicBezTo>
                    <a:cubicBezTo>
                      <a:pt x="252" y="106"/>
                      <a:pt x="250" y="105"/>
                      <a:pt x="250" y="105"/>
                    </a:cubicBezTo>
                    <a:cubicBezTo>
                      <a:pt x="249" y="105"/>
                      <a:pt x="251" y="104"/>
                      <a:pt x="251" y="103"/>
                    </a:cubicBezTo>
                    <a:cubicBezTo>
                      <a:pt x="250" y="103"/>
                      <a:pt x="252" y="103"/>
                      <a:pt x="254" y="100"/>
                    </a:cubicBezTo>
                    <a:cubicBezTo>
                      <a:pt x="255" y="98"/>
                      <a:pt x="255" y="98"/>
                      <a:pt x="254" y="97"/>
                    </a:cubicBezTo>
                    <a:cubicBezTo>
                      <a:pt x="252" y="95"/>
                      <a:pt x="253" y="95"/>
                      <a:pt x="252" y="95"/>
                    </a:cubicBezTo>
                    <a:cubicBezTo>
                      <a:pt x="251" y="96"/>
                      <a:pt x="250" y="94"/>
                      <a:pt x="249" y="95"/>
                    </a:cubicBezTo>
                    <a:cubicBezTo>
                      <a:pt x="247" y="96"/>
                      <a:pt x="249" y="96"/>
                      <a:pt x="247" y="97"/>
                    </a:cubicBezTo>
                    <a:cubicBezTo>
                      <a:pt x="246" y="99"/>
                      <a:pt x="247" y="100"/>
                      <a:pt x="245" y="100"/>
                    </a:cubicBezTo>
                    <a:cubicBezTo>
                      <a:pt x="244" y="101"/>
                      <a:pt x="239" y="103"/>
                      <a:pt x="239" y="105"/>
                    </a:cubicBezTo>
                    <a:cubicBezTo>
                      <a:pt x="239" y="107"/>
                      <a:pt x="238" y="108"/>
                      <a:pt x="236" y="108"/>
                    </a:cubicBezTo>
                    <a:cubicBezTo>
                      <a:pt x="235" y="107"/>
                      <a:pt x="235" y="110"/>
                      <a:pt x="234" y="108"/>
                    </a:cubicBezTo>
                    <a:cubicBezTo>
                      <a:pt x="233" y="107"/>
                      <a:pt x="231" y="107"/>
                      <a:pt x="231" y="108"/>
                    </a:cubicBezTo>
                    <a:cubicBezTo>
                      <a:pt x="231" y="109"/>
                      <a:pt x="230" y="110"/>
                      <a:pt x="231" y="112"/>
                    </a:cubicBezTo>
                    <a:cubicBezTo>
                      <a:pt x="231" y="114"/>
                      <a:pt x="232" y="114"/>
                      <a:pt x="233" y="114"/>
                    </a:cubicBezTo>
                    <a:cubicBezTo>
                      <a:pt x="233" y="115"/>
                      <a:pt x="235" y="115"/>
                      <a:pt x="236" y="115"/>
                    </a:cubicBezTo>
                    <a:cubicBezTo>
                      <a:pt x="237" y="114"/>
                      <a:pt x="239" y="117"/>
                      <a:pt x="238" y="118"/>
                    </a:cubicBezTo>
                    <a:cubicBezTo>
                      <a:pt x="237" y="119"/>
                      <a:pt x="238" y="122"/>
                      <a:pt x="240" y="122"/>
                    </a:cubicBezTo>
                    <a:cubicBezTo>
                      <a:pt x="243" y="122"/>
                      <a:pt x="243" y="122"/>
                      <a:pt x="243" y="121"/>
                    </a:cubicBezTo>
                    <a:cubicBezTo>
                      <a:pt x="242" y="120"/>
                      <a:pt x="244" y="120"/>
                      <a:pt x="245" y="119"/>
                    </a:cubicBezTo>
                    <a:cubicBezTo>
                      <a:pt x="245" y="117"/>
                      <a:pt x="248" y="117"/>
                      <a:pt x="249" y="118"/>
                    </a:cubicBezTo>
                    <a:cubicBezTo>
                      <a:pt x="249" y="118"/>
                      <a:pt x="249" y="119"/>
                      <a:pt x="250" y="119"/>
                    </a:cubicBezTo>
                    <a:cubicBezTo>
                      <a:pt x="251" y="118"/>
                      <a:pt x="250" y="119"/>
                      <a:pt x="252" y="120"/>
                    </a:cubicBezTo>
                    <a:cubicBezTo>
                      <a:pt x="255" y="120"/>
                      <a:pt x="253" y="118"/>
                      <a:pt x="255" y="119"/>
                    </a:cubicBezTo>
                    <a:cubicBezTo>
                      <a:pt x="255" y="120"/>
                      <a:pt x="258" y="120"/>
                      <a:pt x="257" y="121"/>
                    </a:cubicBezTo>
                    <a:cubicBezTo>
                      <a:pt x="255" y="123"/>
                      <a:pt x="258" y="123"/>
                      <a:pt x="256" y="124"/>
                    </a:cubicBezTo>
                    <a:cubicBezTo>
                      <a:pt x="254" y="125"/>
                      <a:pt x="255" y="123"/>
                      <a:pt x="254" y="123"/>
                    </a:cubicBezTo>
                    <a:cubicBezTo>
                      <a:pt x="253" y="124"/>
                      <a:pt x="254" y="122"/>
                      <a:pt x="253" y="124"/>
                    </a:cubicBezTo>
                    <a:cubicBezTo>
                      <a:pt x="251" y="125"/>
                      <a:pt x="251" y="124"/>
                      <a:pt x="250" y="125"/>
                    </a:cubicBezTo>
                    <a:cubicBezTo>
                      <a:pt x="248" y="126"/>
                      <a:pt x="248" y="127"/>
                      <a:pt x="248" y="127"/>
                    </a:cubicBezTo>
                    <a:cubicBezTo>
                      <a:pt x="247" y="127"/>
                      <a:pt x="247" y="129"/>
                      <a:pt x="246" y="129"/>
                    </a:cubicBezTo>
                    <a:cubicBezTo>
                      <a:pt x="244" y="130"/>
                      <a:pt x="245" y="128"/>
                      <a:pt x="244" y="128"/>
                    </a:cubicBezTo>
                    <a:cubicBezTo>
                      <a:pt x="243" y="129"/>
                      <a:pt x="245" y="130"/>
                      <a:pt x="244" y="131"/>
                    </a:cubicBezTo>
                    <a:cubicBezTo>
                      <a:pt x="243" y="131"/>
                      <a:pt x="244" y="132"/>
                      <a:pt x="242" y="132"/>
                    </a:cubicBezTo>
                    <a:cubicBezTo>
                      <a:pt x="241" y="133"/>
                      <a:pt x="237" y="139"/>
                      <a:pt x="239" y="138"/>
                    </a:cubicBezTo>
                    <a:cubicBezTo>
                      <a:pt x="242" y="138"/>
                      <a:pt x="240" y="140"/>
                      <a:pt x="243" y="141"/>
                    </a:cubicBezTo>
                    <a:cubicBezTo>
                      <a:pt x="246" y="142"/>
                      <a:pt x="245" y="146"/>
                      <a:pt x="247" y="149"/>
                    </a:cubicBezTo>
                    <a:cubicBezTo>
                      <a:pt x="249" y="152"/>
                      <a:pt x="247" y="152"/>
                      <a:pt x="249" y="154"/>
                    </a:cubicBezTo>
                    <a:cubicBezTo>
                      <a:pt x="251" y="155"/>
                      <a:pt x="250" y="155"/>
                      <a:pt x="251" y="157"/>
                    </a:cubicBezTo>
                    <a:cubicBezTo>
                      <a:pt x="253" y="158"/>
                      <a:pt x="254" y="160"/>
                      <a:pt x="252" y="159"/>
                    </a:cubicBezTo>
                    <a:cubicBezTo>
                      <a:pt x="249" y="158"/>
                      <a:pt x="249" y="159"/>
                      <a:pt x="248" y="158"/>
                    </a:cubicBezTo>
                    <a:cubicBezTo>
                      <a:pt x="247" y="158"/>
                      <a:pt x="248" y="157"/>
                      <a:pt x="247" y="157"/>
                    </a:cubicBezTo>
                    <a:cubicBezTo>
                      <a:pt x="246" y="156"/>
                      <a:pt x="245" y="158"/>
                      <a:pt x="244" y="158"/>
                    </a:cubicBezTo>
                    <a:cubicBezTo>
                      <a:pt x="243" y="157"/>
                      <a:pt x="242" y="154"/>
                      <a:pt x="242" y="155"/>
                    </a:cubicBezTo>
                    <a:cubicBezTo>
                      <a:pt x="241" y="156"/>
                      <a:pt x="244" y="159"/>
                      <a:pt x="246" y="157"/>
                    </a:cubicBezTo>
                    <a:cubicBezTo>
                      <a:pt x="246" y="157"/>
                      <a:pt x="248" y="158"/>
                      <a:pt x="247" y="158"/>
                    </a:cubicBezTo>
                    <a:cubicBezTo>
                      <a:pt x="247" y="159"/>
                      <a:pt x="248" y="159"/>
                      <a:pt x="250" y="161"/>
                    </a:cubicBezTo>
                    <a:cubicBezTo>
                      <a:pt x="252" y="163"/>
                      <a:pt x="254" y="165"/>
                      <a:pt x="252" y="165"/>
                    </a:cubicBezTo>
                    <a:cubicBezTo>
                      <a:pt x="251" y="165"/>
                      <a:pt x="248" y="167"/>
                      <a:pt x="248" y="168"/>
                    </a:cubicBezTo>
                    <a:cubicBezTo>
                      <a:pt x="248" y="169"/>
                      <a:pt x="246" y="167"/>
                      <a:pt x="245" y="169"/>
                    </a:cubicBezTo>
                    <a:cubicBezTo>
                      <a:pt x="245" y="170"/>
                      <a:pt x="246" y="168"/>
                      <a:pt x="246" y="169"/>
                    </a:cubicBezTo>
                    <a:cubicBezTo>
                      <a:pt x="247" y="172"/>
                      <a:pt x="249" y="167"/>
                      <a:pt x="251" y="170"/>
                    </a:cubicBezTo>
                    <a:cubicBezTo>
                      <a:pt x="253" y="172"/>
                      <a:pt x="255" y="171"/>
                      <a:pt x="254" y="172"/>
                    </a:cubicBezTo>
                    <a:cubicBezTo>
                      <a:pt x="251" y="174"/>
                      <a:pt x="253" y="172"/>
                      <a:pt x="253" y="175"/>
                    </a:cubicBezTo>
                    <a:cubicBezTo>
                      <a:pt x="254" y="178"/>
                      <a:pt x="250" y="176"/>
                      <a:pt x="252" y="177"/>
                    </a:cubicBezTo>
                    <a:cubicBezTo>
                      <a:pt x="253" y="178"/>
                      <a:pt x="251" y="178"/>
                      <a:pt x="252" y="179"/>
                    </a:cubicBezTo>
                    <a:cubicBezTo>
                      <a:pt x="252" y="180"/>
                      <a:pt x="250" y="179"/>
                      <a:pt x="251" y="181"/>
                    </a:cubicBezTo>
                    <a:cubicBezTo>
                      <a:pt x="252" y="183"/>
                      <a:pt x="251" y="182"/>
                      <a:pt x="250" y="183"/>
                    </a:cubicBezTo>
                    <a:cubicBezTo>
                      <a:pt x="250" y="184"/>
                      <a:pt x="250" y="180"/>
                      <a:pt x="249" y="183"/>
                    </a:cubicBezTo>
                    <a:cubicBezTo>
                      <a:pt x="248" y="186"/>
                      <a:pt x="246" y="186"/>
                      <a:pt x="246" y="187"/>
                    </a:cubicBezTo>
                    <a:cubicBezTo>
                      <a:pt x="247" y="188"/>
                      <a:pt x="245" y="191"/>
                      <a:pt x="244" y="192"/>
                    </a:cubicBezTo>
                    <a:cubicBezTo>
                      <a:pt x="243" y="192"/>
                      <a:pt x="245" y="193"/>
                      <a:pt x="243" y="194"/>
                    </a:cubicBezTo>
                    <a:cubicBezTo>
                      <a:pt x="242" y="194"/>
                      <a:pt x="243" y="192"/>
                      <a:pt x="242" y="193"/>
                    </a:cubicBezTo>
                    <a:cubicBezTo>
                      <a:pt x="240" y="193"/>
                      <a:pt x="242" y="193"/>
                      <a:pt x="242" y="194"/>
                    </a:cubicBezTo>
                    <a:cubicBezTo>
                      <a:pt x="243" y="196"/>
                      <a:pt x="244" y="195"/>
                      <a:pt x="242" y="195"/>
                    </a:cubicBezTo>
                    <a:cubicBezTo>
                      <a:pt x="241" y="196"/>
                      <a:pt x="240" y="198"/>
                      <a:pt x="241" y="197"/>
                    </a:cubicBezTo>
                    <a:cubicBezTo>
                      <a:pt x="243" y="197"/>
                      <a:pt x="240" y="199"/>
                      <a:pt x="241" y="201"/>
                    </a:cubicBezTo>
                    <a:cubicBezTo>
                      <a:pt x="242" y="202"/>
                      <a:pt x="241" y="203"/>
                      <a:pt x="240" y="201"/>
                    </a:cubicBezTo>
                    <a:cubicBezTo>
                      <a:pt x="239" y="200"/>
                      <a:pt x="238" y="201"/>
                      <a:pt x="239" y="202"/>
                    </a:cubicBezTo>
                    <a:cubicBezTo>
                      <a:pt x="239" y="202"/>
                      <a:pt x="241" y="202"/>
                      <a:pt x="239" y="203"/>
                    </a:cubicBezTo>
                    <a:cubicBezTo>
                      <a:pt x="238" y="204"/>
                      <a:pt x="238" y="202"/>
                      <a:pt x="237" y="203"/>
                    </a:cubicBezTo>
                    <a:cubicBezTo>
                      <a:pt x="237" y="204"/>
                      <a:pt x="239" y="204"/>
                      <a:pt x="238" y="205"/>
                    </a:cubicBezTo>
                    <a:cubicBezTo>
                      <a:pt x="236" y="206"/>
                      <a:pt x="236" y="208"/>
                      <a:pt x="235" y="207"/>
                    </a:cubicBezTo>
                    <a:cubicBezTo>
                      <a:pt x="234" y="206"/>
                      <a:pt x="234" y="208"/>
                      <a:pt x="234" y="207"/>
                    </a:cubicBezTo>
                    <a:cubicBezTo>
                      <a:pt x="233" y="206"/>
                      <a:pt x="233" y="208"/>
                      <a:pt x="233" y="208"/>
                    </a:cubicBezTo>
                    <a:cubicBezTo>
                      <a:pt x="234" y="209"/>
                      <a:pt x="232" y="211"/>
                      <a:pt x="231" y="212"/>
                    </a:cubicBezTo>
                    <a:cubicBezTo>
                      <a:pt x="230" y="213"/>
                      <a:pt x="231" y="211"/>
                      <a:pt x="229" y="212"/>
                    </a:cubicBezTo>
                    <a:cubicBezTo>
                      <a:pt x="228" y="214"/>
                      <a:pt x="228" y="212"/>
                      <a:pt x="227" y="214"/>
                    </a:cubicBezTo>
                    <a:cubicBezTo>
                      <a:pt x="226" y="215"/>
                      <a:pt x="225" y="215"/>
                      <a:pt x="226" y="215"/>
                    </a:cubicBezTo>
                    <a:cubicBezTo>
                      <a:pt x="227" y="216"/>
                      <a:pt x="225" y="216"/>
                      <a:pt x="225" y="217"/>
                    </a:cubicBezTo>
                    <a:cubicBezTo>
                      <a:pt x="225" y="218"/>
                      <a:pt x="224" y="218"/>
                      <a:pt x="222" y="219"/>
                    </a:cubicBezTo>
                    <a:cubicBezTo>
                      <a:pt x="221" y="220"/>
                      <a:pt x="221" y="218"/>
                      <a:pt x="220" y="218"/>
                    </a:cubicBezTo>
                    <a:cubicBezTo>
                      <a:pt x="220" y="218"/>
                      <a:pt x="221" y="220"/>
                      <a:pt x="220" y="220"/>
                    </a:cubicBezTo>
                    <a:cubicBezTo>
                      <a:pt x="219" y="219"/>
                      <a:pt x="218" y="218"/>
                      <a:pt x="217" y="220"/>
                    </a:cubicBezTo>
                    <a:cubicBezTo>
                      <a:pt x="216" y="221"/>
                      <a:pt x="216" y="218"/>
                      <a:pt x="215" y="219"/>
                    </a:cubicBezTo>
                    <a:cubicBezTo>
                      <a:pt x="214" y="219"/>
                      <a:pt x="216" y="220"/>
                      <a:pt x="215" y="221"/>
                    </a:cubicBezTo>
                    <a:cubicBezTo>
                      <a:pt x="214" y="221"/>
                      <a:pt x="214" y="219"/>
                      <a:pt x="214" y="220"/>
                    </a:cubicBezTo>
                    <a:cubicBezTo>
                      <a:pt x="213" y="221"/>
                      <a:pt x="214" y="221"/>
                      <a:pt x="214" y="222"/>
                    </a:cubicBezTo>
                    <a:cubicBezTo>
                      <a:pt x="213" y="222"/>
                      <a:pt x="213" y="222"/>
                      <a:pt x="212" y="222"/>
                    </a:cubicBezTo>
                    <a:cubicBezTo>
                      <a:pt x="211" y="221"/>
                      <a:pt x="212" y="221"/>
                      <a:pt x="211" y="220"/>
                    </a:cubicBezTo>
                    <a:cubicBezTo>
                      <a:pt x="210" y="219"/>
                      <a:pt x="210" y="217"/>
                      <a:pt x="209" y="218"/>
                    </a:cubicBezTo>
                    <a:cubicBezTo>
                      <a:pt x="209" y="218"/>
                      <a:pt x="210" y="221"/>
                      <a:pt x="210" y="222"/>
                    </a:cubicBezTo>
                    <a:cubicBezTo>
                      <a:pt x="209" y="224"/>
                      <a:pt x="209" y="222"/>
                      <a:pt x="208" y="223"/>
                    </a:cubicBezTo>
                    <a:cubicBezTo>
                      <a:pt x="208" y="224"/>
                      <a:pt x="207" y="222"/>
                      <a:pt x="207" y="224"/>
                    </a:cubicBezTo>
                    <a:cubicBezTo>
                      <a:pt x="207" y="226"/>
                      <a:pt x="206" y="223"/>
                      <a:pt x="205" y="225"/>
                    </a:cubicBezTo>
                    <a:cubicBezTo>
                      <a:pt x="204" y="226"/>
                      <a:pt x="204" y="224"/>
                      <a:pt x="203" y="225"/>
                    </a:cubicBezTo>
                    <a:cubicBezTo>
                      <a:pt x="202" y="227"/>
                      <a:pt x="203" y="226"/>
                      <a:pt x="202" y="225"/>
                    </a:cubicBezTo>
                    <a:cubicBezTo>
                      <a:pt x="200" y="225"/>
                      <a:pt x="202" y="226"/>
                      <a:pt x="199" y="227"/>
                    </a:cubicBezTo>
                    <a:cubicBezTo>
                      <a:pt x="196" y="228"/>
                      <a:pt x="197" y="227"/>
                      <a:pt x="195" y="228"/>
                    </a:cubicBezTo>
                    <a:cubicBezTo>
                      <a:pt x="193" y="229"/>
                      <a:pt x="192" y="230"/>
                      <a:pt x="192" y="231"/>
                    </a:cubicBezTo>
                    <a:cubicBezTo>
                      <a:pt x="192" y="232"/>
                      <a:pt x="193" y="230"/>
                      <a:pt x="193" y="232"/>
                    </a:cubicBezTo>
                    <a:cubicBezTo>
                      <a:pt x="193" y="234"/>
                      <a:pt x="195" y="234"/>
                      <a:pt x="192" y="235"/>
                    </a:cubicBezTo>
                    <a:cubicBezTo>
                      <a:pt x="190" y="236"/>
                      <a:pt x="191" y="235"/>
                      <a:pt x="191" y="234"/>
                    </a:cubicBezTo>
                    <a:cubicBezTo>
                      <a:pt x="190" y="233"/>
                      <a:pt x="189" y="233"/>
                      <a:pt x="190" y="232"/>
                    </a:cubicBezTo>
                    <a:cubicBezTo>
                      <a:pt x="190" y="231"/>
                      <a:pt x="189" y="232"/>
                      <a:pt x="189" y="230"/>
                    </a:cubicBezTo>
                    <a:cubicBezTo>
                      <a:pt x="190" y="228"/>
                      <a:pt x="191" y="228"/>
                      <a:pt x="190" y="227"/>
                    </a:cubicBezTo>
                    <a:cubicBezTo>
                      <a:pt x="190" y="227"/>
                      <a:pt x="190" y="228"/>
                      <a:pt x="189" y="227"/>
                    </a:cubicBezTo>
                    <a:cubicBezTo>
                      <a:pt x="188" y="225"/>
                      <a:pt x="188" y="226"/>
                      <a:pt x="189" y="227"/>
                    </a:cubicBezTo>
                    <a:cubicBezTo>
                      <a:pt x="189" y="228"/>
                      <a:pt x="188" y="227"/>
                      <a:pt x="187" y="228"/>
                    </a:cubicBezTo>
                    <a:cubicBezTo>
                      <a:pt x="185" y="228"/>
                      <a:pt x="188" y="226"/>
                      <a:pt x="186" y="226"/>
                    </a:cubicBezTo>
                    <a:cubicBezTo>
                      <a:pt x="184" y="226"/>
                      <a:pt x="184" y="224"/>
                      <a:pt x="183" y="225"/>
                    </a:cubicBezTo>
                    <a:cubicBezTo>
                      <a:pt x="183" y="226"/>
                      <a:pt x="184" y="226"/>
                      <a:pt x="183" y="227"/>
                    </a:cubicBezTo>
                    <a:cubicBezTo>
                      <a:pt x="183" y="227"/>
                      <a:pt x="182" y="225"/>
                      <a:pt x="182" y="227"/>
                    </a:cubicBezTo>
                    <a:cubicBezTo>
                      <a:pt x="182" y="228"/>
                      <a:pt x="181" y="227"/>
                      <a:pt x="181" y="227"/>
                    </a:cubicBezTo>
                    <a:cubicBezTo>
                      <a:pt x="179" y="226"/>
                      <a:pt x="178" y="227"/>
                      <a:pt x="177" y="226"/>
                    </a:cubicBezTo>
                    <a:cubicBezTo>
                      <a:pt x="177" y="225"/>
                      <a:pt x="176" y="226"/>
                      <a:pt x="176" y="225"/>
                    </a:cubicBezTo>
                    <a:cubicBezTo>
                      <a:pt x="175" y="223"/>
                      <a:pt x="174" y="224"/>
                      <a:pt x="174" y="223"/>
                    </a:cubicBezTo>
                    <a:cubicBezTo>
                      <a:pt x="174" y="221"/>
                      <a:pt x="172" y="222"/>
                      <a:pt x="174" y="220"/>
                    </a:cubicBezTo>
                    <a:cubicBezTo>
                      <a:pt x="175" y="218"/>
                      <a:pt x="174" y="218"/>
                      <a:pt x="173" y="218"/>
                    </a:cubicBezTo>
                    <a:cubicBezTo>
                      <a:pt x="171" y="219"/>
                      <a:pt x="172" y="217"/>
                      <a:pt x="170" y="218"/>
                    </a:cubicBezTo>
                    <a:cubicBezTo>
                      <a:pt x="168" y="218"/>
                      <a:pt x="167" y="214"/>
                      <a:pt x="166" y="215"/>
                    </a:cubicBezTo>
                    <a:cubicBezTo>
                      <a:pt x="165" y="217"/>
                      <a:pt x="164" y="216"/>
                      <a:pt x="164" y="217"/>
                    </a:cubicBezTo>
                    <a:cubicBezTo>
                      <a:pt x="165" y="218"/>
                      <a:pt x="162" y="220"/>
                      <a:pt x="161" y="219"/>
                    </a:cubicBezTo>
                    <a:cubicBezTo>
                      <a:pt x="161" y="218"/>
                      <a:pt x="160" y="218"/>
                      <a:pt x="160" y="220"/>
                    </a:cubicBezTo>
                    <a:cubicBezTo>
                      <a:pt x="160" y="222"/>
                      <a:pt x="159" y="220"/>
                      <a:pt x="158" y="219"/>
                    </a:cubicBezTo>
                    <a:cubicBezTo>
                      <a:pt x="158" y="219"/>
                      <a:pt x="158" y="220"/>
                      <a:pt x="157" y="219"/>
                    </a:cubicBezTo>
                    <a:cubicBezTo>
                      <a:pt x="156" y="217"/>
                      <a:pt x="156" y="221"/>
                      <a:pt x="155" y="221"/>
                    </a:cubicBezTo>
                    <a:cubicBezTo>
                      <a:pt x="154" y="221"/>
                      <a:pt x="155" y="220"/>
                      <a:pt x="153" y="219"/>
                    </a:cubicBezTo>
                    <a:cubicBezTo>
                      <a:pt x="151" y="218"/>
                      <a:pt x="152" y="221"/>
                      <a:pt x="150" y="221"/>
                    </a:cubicBezTo>
                    <a:cubicBezTo>
                      <a:pt x="149" y="221"/>
                      <a:pt x="146" y="221"/>
                      <a:pt x="148" y="224"/>
                    </a:cubicBezTo>
                    <a:cubicBezTo>
                      <a:pt x="149" y="228"/>
                      <a:pt x="148" y="227"/>
                      <a:pt x="148" y="228"/>
                    </a:cubicBezTo>
                    <a:cubicBezTo>
                      <a:pt x="149" y="229"/>
                      <a:pt x="148" y="230"/>
                      <a:pt x="148" y="229"/>
                    </a:cubicBezTo>
                    <a:cubicBezTo>
                      <a:pt x="147" y="228"/>
                      <a:pt x="146" y="231"/>
                      <a:pt x="145" y="227"/>
                    </a:cubicBezTo>
                    <a:cubicBezTo>
                      <a:pt x="145" y="226"/>
                      <a:pt x="145" y="224"/>
                      <a:pt x="143" y="226"/>
                    </a:cubicBezTo>
                    <a:cubicBezTo>
                      <a:pt x="141" y="229"/>
                      <a:pt x="141" y="227"/>
                      <a:pt x="140" y="227"/>
                    </a:cubicBezTo>
                    <a:cubicBezTo>
                      <a:pt x="139" y="228"/>
                      <a:pt x="140" y="226"/>
                      <a:pt x="139" y="226"/>
                    </a:cubicBezTo>
                    <a:cubicBezTo>
                      <a:pt x="138" y="225"/>
                      <a:pt x="139" y="224"/>
                      <a:pt x="138" y="223"/>
                    </a:cubicBezTo>
                    <a:cubicBezTo>
                      <a:pt x="137" y="223"/>
                      <a:pt x="134" y="224"/>
                      <a:pt x="135" y="222"/>
                    </a:cubicBezTo>
                    <a:cubicBezTo>
                      <a:pt x="136" y="219"/>
                      <a:pt x="135" y="220"/>
                      <a:pt x="135" y="218"/>
                    </a:cubicBezTo>
                    <a:cubicBezTo>
                      <a:pt x="136" y="217"/>
                      <a:pt x="138" y="217"/>
                      <a:pt x="135" y="217"/>
                    </a:cubicBezTo>
                    <a:cubicBezTo>
                      <a:pt x="132" y="217"/>
                      <a:pt x="133" y="215"/>
                      <a:pt x="132" y="213"/>
                    </a:cubicBezTo>
                    <a:cubicBezTo>
                      <a:pt x="131" y="211"/>
                      <a:pt x="134" y="209"/>
                      <a:pt x="132" y="210"/>
                    </a:cubicBezTo>
                    <a:cubicBezTo>
                      <a:pt x="131" y="211"/>
                      <a:pt x="130" y="209"/>
                      <a:pt x="128" y="211"/>
                    </a:cubicBezTo>
                    <a:cubicBezTo>
                      <a:pt x="126" y="212"/>
                      <a:pt x="126" y="211"/>
                      <a:pt x="127" y="210"/>
                    </a:cubicBezTo>
                    <a:cubicBezTo>
                      <a:pt x="128" y="209"/>
                      <a:pt x="124" y="207"/>
                      <a:pt x="127" y="206"/>
                    </a:cubicBezTo>
                    <a:cubicBezTo>
                      <a:pt x="128" y="205"/>
                      <a:pt x="126" y="203"/>
                      <a:pt x="128" y="202"/>
                    </a:cubicBezTo>
                    <a:cubicBezTo>
                      <a:pt x="130" y="202"/>
                      <a:pt x="129" y="200"/>
                      <a:pt x="130" y="200"/>
                    </a:cubicBezTo>
                    <a:cubicBezTo>
                      <a:pt x="131" y="201"/>
                      <a:pt x="130" y="199"/>
                      <a:pt x="132" y="199"/>
                    </a:cubicBezTo>
                    <a:cubicBezTo>
                      <a:pt x="133" y="199"/>
                      <a:pt x="131" y="197"/>
                      <a:pt x="132" y="194"/>
                    </a:cubicBezTo>
                    <a:cubicBezTo>
                      <a:pt x="133" y="191"/>
                      <a:pt x="131" y="190"/>
                      <a:pt x="132" y="189"/>
                    </a:cubicBezTo>
                    <a:cubicBezTo>
                      <a:pt x="133" y="188"/>
                      <a:pt x="132" y="186"/>
                      <a:pt x="131" y="187"/>
                    </a:cubicBezTo>
                    <a:cubicBezTo>
                      <a:pt x="129" y="188"/>
                      <a:pt x="131" y="184"/>
                      <a:pt x="128" y="182"/>
                    </a:cubicBezTo>
                    <a:cubicBezTo>
                      <a:pt x="125" y="179"/>
                      <a:pt x="126" y="182"/>
                      <a:pt x="125" y="183"/>
                    </a:cubicBezTo>
                    <a:cubicBezTo>
                      <a:pt x="124" y="182"/>
                      <a:pt x="124" y="181"/>
                      <a:pt x="121" y="182"/>
                    </a:cubicBezTo>
                    <a:cubicBezTo>
                      <a:pt x="117" y="182"/>
                      <a:pt x="122" y="181"/>
                      <a:pt x="121" y="178"/>
                    </a:cubicBezTo>
                    <a:cubicBezTo>
                      <a:pt x="121" y="176"/>
                      <a:pt x="118" y="179"/>
                      <a:pt x="120" y="177"/>
                    </a:cubicBezTo>
                    <a:cubicBezTo>
                      <a:pt x="121" y="175"/>
                      <a:pt x="120" y="177"/>
                      <a:pt x="119" y="175"/>
                    </a:cubicBezTo>
                    <a:cubicBezTo>
                      <a:pt x="119" y="174"/>
                      <a:pt x="116" y="175"/>
                      <a:pt x="116" y="176"/>
                    </a:cubicBezTo>
                    <a:cubicBezTo>
                      <a:pt x="115" y="177"/>
                      <a:pt x="114" y="177"/>
                      <a:pt x="112" y="176"/>
                    </a:cubicBezTo>
                    <a:cubicBezTo>
                      <a:pt x="111" y="175"/>
                      <a:pt x="110" y="176"/>
                      <a:pt x="108" y="178"/>
                    </a:cubicBezTo>
                    <a:cubicBezTo>
                      <a:pt x="106" y="180"/>
                      <a:pt x="104" y="179"/>
                      <a:pt x="103" y="181"/>
                    </a:cubicBezTo>
                    <a:cubicBezTo>
                      <a:pt x="103" y="183"/>
                      <a:pt x="101" y="182"/>
                      <a:pt x="101" y="184"/>
                    </a:cubicBezTo>
                    <a:cubicBezTo>
                      <a:pt x="101" y="185"/>
                      <a:pt x="99" y="186"/>
                      <a:pt x="95" y="186"/>
                    </a:cubicBezTo>
                    <a:cubicBezTo>
                      <a:pt x="96" y="184"/>
                      <a:pt x="95" y="184"/>
                      <a:pt x="94" y="184"/>
                    </a:cubicBezTo>
                    <a:cubicBezTo>
                      <a:pt x="93" y="183"/>
                      <a:pt x="93" y="185"/>
                      <a:pt x="92" y="184"/>
                    </a:cubicBezTo>
                    <a:cubicBezTo>
                      <a:pt x="91" y="183"/>
                      <a:pt x="88" y="184"/>
                      <a:pt x="89" y="183"/>
                    </a:cubicBezTo>
                    <a:cubicBezTo>
                      <a:pt x="90" y="182"/>
                      <a:pt x="86" y="181"/>
                      <a:pt x="85" y="184"/>
                    </a:cubicBezTo>
                    <a:cubicBezTo>
                      <a:pt x="84" y="186"/>
                      <a:pt x="83" y="184"/>
                      <a:pt x="83" y="186"/>
                    </a:cubicBezTo>
                    <a:cubicBezTo>
                      <a:pt x="82" y="188"/>
                      <a:pt x="82" y="187"/>
                      <a:pt x="81" y="189"/>
                    </a:cubicBezTo>
                    <a:cubicBezTo>
                      <a:pt x="80" y="186"/>
                      <a:pt x="84" y="181"/>
                      <a:pt x="77" y="185"/>
                    </a:cubicBezTo>
                    <a:cubicBezTo>
                      <a:pt x="77" y="185"/>
                      <a:pt x="76" y="185"/>
                      <a:pt x="75" y="185"/>
                    </a:cubicBezTo>
                    <a:cubicBezTo>
                      <a:pt x="75" y="186"/>
                      <a:pt x="75" y="185"/>
                      <a:pt x="73" y="185"/>
                    </a:cubicBezTo>
                    <a:cubicBezTo>
                      <a:pt x="72" y="186"/>
                      <a:pt x="70" y="182"/>
                      <a:pt x="69" y="184"/>
                    </a:cubicBezTo>
                    <a:cubicBezTo>
                      <a:pt x="69" y="185"/>
                      <a:pt x="68" y="185"/>
                      <a:pt x="67" y="184"/>
                    </a:cubicBezTo>
                    <a:cubicBezTo>
                      <a:pt x="66" y="182"/>
                      <a:pt x="67" y="185"/>
                      <a:pt x="66" y="185"/>
                    </a:cubicBezTo>
                    <a:cubicBezTo>
                      <a:pt x="65" y="185"/>
                      <a:pt x="65" y="182"/>
                      <a:pt x="64" y="182"/>
                    </a:cubicBezTo>
                    <a:cubicBezTo>
                      <a:pt x="62" y="182"/>
                      <a:pt x="61" y="183"/>
                      <a:pt x="62" y="181"/>
                    </a:cubicBezTo>
                    <a:cubicBezTo>
                      <a:pt x="62" y="180"/>
                      <a:pt x="62" y="180"/>
                      <a:pt x="61" y="180"/>
                    </a:cubicBezTo>
                    <a:cubicBezTo>
                      <a:pt x="60" y="181"/>
                      <a:pt x="57" y="179"/>
                      <a:pt x="57" y="177"/>
                    </a:cubicBezTo>
                    <a:cubicBezTo>
                      <a:pt x="57" y="175"/>
                      <a:pt x="56" y="176"/>
                      <a:pt x="54" y="176"/>
                    </a:cubicBezTo>
                    <a:cubicBezTo>
                      <a:pt x="53" y="177"/>
                      <a:pt x="52" y="173"/>
                      <a:pt x="51" y="173"/>
                    </a:cubicBezTo>
                    <a:cubicBezTo>
                      <a:pt x="49" y="173"/>
                      <a:pt x="49" y="171"/>
                      <a:pt x="47" y="171"/>
                    </a:cubicBezTo>
                    <a:cubicBezTo>
                      <a:pt x="45" y="170"/>
                      <a:pt x="48" y="169"/>
                      <a:pt x="44" y="168"/>
                    </a:cubicBezTo>
                    <a:cubicBezTo>
                      <a:pt x="41" y="167"/>
                      <a:pt x="42" y="173"/>
                      <a:pt x="40" y="169"/>
                    </a:cubicBezTo>
                    <a:cubicBezTo>
                      <a:pt x="40" y="168"/>
                      <a:pt x="37" y="167"/>
                      <a:pt x="35" y="165"/>
                    </a:cubicBezTo>
                    <a:cubicBezTo>
                      <a:pt x="33" y="163"/>
                      <a:pt x="33" y="166"/>
                      <a:pt x="31" y="162"/>
                    </a:cubicBezTo>
                    <a:cubicBezTo>
                      <a:pt x="30" y="160"/>
                      <a:pt x="28" y="164"/>
                      <a:pt x="28" y="161"/>
                    </a:cubicBezTo>
                    <a:cubicBezTo>
                      <a:pt x="29" y="158"/>
                      <a:pt x="28" y="156"/>
                      <a:pt x="27" y="155"/>
                    </a:cubicBezTo>
                    <a:cubicBezTo>
                      <a:pt x="26" y="153"/>
                      <a:pt x="28" y="153"/>
                      <a:pt x="29" y="154"/>
                    </a:cubicBezTo>
                    <a:cubicBezTo>
                      <a:pt x="30" y="156"/>
                      <a:pt x="30" y="154"/>
                      <a:pt x="31" y="154"/>
                    </a:cubicBezTo>
                    <a:cubicBezTo>
                      <a:pt x="34" y="153"/>
                      <a:pt x="31" y="151"/>
                      <a:pt x="32" y="150"/>
                    </a:cubicBezTo>
                    <a:cubicBezTo>
                      <a:pt x="32" y="149"/>
                      <a:pt x="28" y="149"/>
                      <a:pt x="29" y="146"/>
                    </a:cubicBezTo>
                    <a:cubicBezTo>
                      <a:pt x="30" y="145"/>
                      <a:pt x="27" y="144"/>
                      <a:pt x="31" y="143"/>
                    </a:cubicBezTo>
                    <a:cubicBezTo>
                      <a:pt x="34" y="143"/>
                      <a:pt x="31" y="142"/>
                      <a:pt x="35" y="139"/>
                    </a:cubicBezTo>
                    <a:cubicBezTo>
                      <a:pt x="37" y="137"/>
                      <a:pt x="35" y="137"/>
                      <a:pt x="36" y="135"/>
                    </a:cubicBezTo>
                    <a:cubicBezTo>
                      <a:pt x="38" y="133"/>
                      <a:pt x="36" y="132"/>
                      <a:pt x="36" y="133"/>
                    </a:cubicBezTo>
                    <a:cubicBezTo>
                      <a:pt x="35" y="135"/>
                      <a:pt x="35" y="132"/>
                      <a:pt x="34" y="133"/>
                    </a:cubicBezTo>
                    <a:cubicBezTo>
                      <a:pt x="33" y="133"/>
                      <a:pt x="34" y="130"/>
                      <a:pt x="30" y="130"/>
                    </a:cubicBezTo>
                    <a:cubicBezTo>
                      <a:pt x="26" y="131"/>
                      <a:pt x="27" y="132"/>
                      <a:pt x="24" y="133"/>
                    </a:cubicBezTo>
                    <a:cubicBezTo>
                      <a:pt x="23" y="133"/>
                      <a:pt x="23" y="133"/>
                      <a:pt x="23" y="133"/>
                    </a:cubicBezTo>
                    <a:cubicBezTo>
                      <a:pt x="21" y="133"/>
                      <a:pt x="18" y="132"/>
                      <a:pt x="17" y="131"/>
                    </a:cubicBezTo>
                    <a:cubicBezTo>
                      <a:pt x="17" y="130"/>
                      <a:pt x="16" y="132"/>
                      <a:pt x="14" y="130"/>
                    </a:cubicBezTo>
                    <a:cubicBezTo>
                      <a:pt x="13" y="128"/>
                      <a:pt x="15" y="129"/>
                      <a:pt x="14" y="126"/>
                    </a:cubicBezTo>
                    <a:cubicBezTo>
                      <a:pt x="12" y="123"/>
                      <a:pt x="11" y="126"/>
                      <a:pt x="11" y="124"/>
                    </a:cubicBezTo>
                    <a:cubicBezTo>
                      <a:pt x="10" y="122"/>
                      <a:pt x="8" y="124"/>
                      <a:pt x="6" y="122"/>
                    </a:cubicBezTo>
                    <a:cubicBezTo>
                      <a:pt x="5" y="122"/>
                      <a:pt x="5" y="121"/>
                      <a:pt x="7" y="121"/>
                    </a:cubicBezTo>
                    <a:cubicBezTo>
                      <a:pt x="9" y="121"/>
                      <a:pt x="10" y="120"/>
                      <a:pt x="9" y="119"/>
                    </a:cubicBezTo>
                    <a:cubicBezTo>
                      <a:pt x="7" y="118"/>
                      <a:pt x="9" y="116"/>
                      <a:pt x="8" y="115"/>
                    </a:cubicBezTo>
                    <a:cubicBezTo>
                      <a:pt x="7" y="114"/>
                      <a:pt x="8" y="113"/>
                      <a:pt x="8" y="112"/>
                    </a:cubicBezTo>
                    <a:cubicBezTo>
                      <a:pt x="7" y="111"/>
                      <a:pt x="4" y="110"/>
                      <a:pt x="4" y="112"/>
                    </a:cubicBezTo>
                    <a:cubicBezTo>
                      <a:pt x="4" y="113"/>
                      <a:pt x="2" y="111"/>
                      <a:pt x="3" y="109"/>
                    </a:cubicBezTo>
                    <a:cubicBezTo>
                      <a:pt x="3" y="108"/>
                      <a:pt x="1" y="108"/>
                      <a:pt x="2" y="106"/>
                    </a:cubicBezTo>
                    <a:cubicBezTo>
                      <a:pt x="6" y="105"/>
                      <a:pt x="0" y="102"/>
                      <a:pt x="5" y="101"/>
                    </a:cubicBezTo>
                    <a:cubicBezTo>
                      <a:pt x="9" y="100"/>
                      <a:pt x="7" y="98"/>
                      <a:pt x="9" y="98"/>
                    </a:cubicBezTo>
                    <a:cubicBezTo>
                      <a:pt x="12" y="99"/>
                      <a:pt x="11" y="95"/>
                      <a:pt x="12" y="98"/>
                    </a:cubicBezTo>
                    <a:cubicBezTo>
                      <a:pt x="13" y="101"/>
                      <a:pt x="14" y="98"/>
                      <a:pt x="15" y="99"/>
                    </a:cubicBezTo>
                    <a:cubicBezTo>
                      <a:pt x="17" y="100"/>
                      <a:pt x="17" y="98"/>
                      <a:pt x="18" y="95"/>
                    </a:cubicBezTo>
                    <a:cubicBezTo>
                      <a:pt x="19" y="93"/>
                      <a:pt x="25" y="96"/>
                      <a:pt x="26" y="92"/>
                    </a:cubicBezTo>
                    <a:cubicBezTo>
                      <a:pt x="27" y="90"/>
                      <a:pt x="32" y="89"/>
                      <a:pt x="34" y="88"/>
                    </a:cubicBezTo>
                    <a:cubicBezTo>
                      <a:pt x="35" y="87"/>
                      <a:pt x="35" y="88"/>
                      <a:pt x="37" y="86"/>
                    </a:cubicBezTo>
                    <a:cubicBezTo>
                      <a:pt x="37" y="85"/>
                      <a:pt x="35" y="82"/>
                      <a:pt x="37" y="81"/>
                    </a:cubicBezTo>
                    <a:cubicBezTo>
                      <a:pt x="39" y="81"/>
                      <a:pt x="36" y="80"/>
                      <a:pt x="38" y="79"/>
                    </a:cubicBezTo>
                    <a:cubicBezTo>
                      <a:pt x="41" y="78"/>
                      <a:pt x="36" y="70"/>
                      <a:pt x="37" y="68"/>
                    </a:cubicBezTo>
                    <a:cubicBezTo>
                      <a:pt x="38" y="66"/>
                      <a:pt x="31" y="66"/>
                      <a:pt x="36" y="65"/>
                    </a:cubicBezTo>
                    <a:cubicBezTo>
                      <a:pt x="39" y="64"/>
                      <a:pt x="43" y="63"/>
                      <a:pt x="44" y="63"/>
                    </a:cubicBezTo>
                    <a:cubicBezTo>
                      <a:pt x="46" y="64"/>
                      <a:pt x="48" y="65"/>
                      <a:pt x="49" y="63"/>
                    </a:cubicBezTo>
                    <a:cubicBezTo>
                      <a:pt x="49" y="61"/>
                      <a:pt x="46" y="62"/>
                      <a:pt x="47" y="60"/>
                    </a:cubicBezTo>
                    <a:cubicBezTo>
                      <a:pt x="49" y="58"/>
                      <a:pt x="50" y="52"/>
                      <a:pt x="50" y="50"/>
                    </a:cubicBezTo>
                    <a:cubicBezTo>
                      <a:pt x="51" y="47"/>
                      <a:pt x="54" y="51"/>
                      <a:pt x="57" y="51"/>
                    </a:cubicBezTo>
                    <a:cubicBezTo>
                      <a:pt x="60" y="50"/>
                      <a:pt x="59" y="52"/>
                      <a:pt x="61" y="51"/>
                    </a:cubicBezTo>
                    <a:cubicBezTo>
                      <a:pt x="64" y="50"/>
                      <a:pt x="65" y="49"/>
                      <a:pt x="64" y="47"/>
                    </a:cubicBezTo>
                    <a:cubicBezTo>
                      <a:pt x="63" y="45"/>
                      <a:pt x="62" y="41"/>
                      <a:pt x="68" y="39"/>
                    </a:cubicBezTo>
                    <a:cubicBezTo>
                      <a:pt x="73" y="38"/>
                      <a:pt x="67" y="34"/>
                      <a:pt x="73" y="35"/>
                    </a:cubicBezTo>
                    <a:cubicBezTo>
                      <a:pt x="76" y="34"/>
                      <a:pt x="76" y="34"/>
                      <a:pt x="76" y="34"/>
                    </a:cubicBezTo>
                    <a:cubicBezTo>
                      <a:pt x="75" y="37"/>
                      <a:pt x="78" y="41"/>
                      <a:pt x="81" y="42"/>
                    </a:cubicBezTo>
                    <a:cubicBezTo>
                      <a:pt x="83" y="44"/>
                      <a:pt x="84" y="41"/>
                      <a:pt x="85" y="43"/>
                    </a:cubicBezTo>
                    <a:cubicBezTo>
                      <a:pt x="86" y="45"/>
                      <a:pt x="87" y="43"/>
                      <a:pt x="87" y="44"/>
                    </a:cubicBezTo>
                    <a:cubicBezTo>
                      <a:pt x="88" y="46"/>
                      <a:pt x="93" y="50"/>
                      <a:pt x="92" y="54"/>
                    </a:cubicBezTo>
                    <a:cubicBezTo>
                      <a:pt x="91" y="58"/>
                      <a:pt x="93" y="57"/>
                      <a:pt x="91" y="60"/>
                    </a:cubicBezTo>
                    <a:cubicBezTo>
                      <a:pt x="90" y="61"/>
                      <a:pt x="90" y="64"/>
                      <a:pt x="93" y="64"/>
                    </a:cubicBezTo>
                    <a:cubicBezTo>
                      <a:pt x="95" y="64"/>
                      <a:pt x="97" y="65"/>
                      <a:pt x="100" y="65"/>
                    </a:cubicBezTo>
                    <a:cubicBezTo>
                      <a:pt x="103" y="65"/>
                      <a:pt x="106" y="65"/>
                      <a:pt x="111" y="70"/>
                    </a:cubicBezTo>
                    <a:cubicBezTo>
                      <a:pt x="117" y="75"/>
                      <a:pt x="116" y="71"/>
                      <a:pt x="117" y="75"/>
                    </a:cubicBezTo>
                    <a:cubicBezTo>
                      <a:pt x="118" y="80"/>
                      <a:pt x="119" y="78"/>
                      <a:pt x="120" y="81"/>
                    </a:cubicBezTo>
                    <a:cubicBezTo>
                      <a:pt x="120" y="83"/>
                      <a:pt x="122" y="81"/>
                      <a:pt x="124" y="82"/>
                    </a:cubicBezTo>
                    <a:cubicBezTo>
                      <a:pt x="133" y="83"/>
                      <a:pt x="134" y="83"/>
                      <a:pt x="141" y="82"/>
                    </a:cubicBezTo>
                    <a:cubicBezTo>
                      <a:pt x="148" y="82"/>
                      <a:pt x="150" y="86"/>
                      <a:pt x="152" y="86"/>
                    </a:cubicBezTo>
                    <a:cubicBezTo>
                      <a:pt x="154" y="86"/>
                      <a:pt x="158" y="90"/>
                      <a:pt x="161" y="88"/>
                    </a:cubicBezTo>
                    <a:cubicBezTo>
                      <a:pt x="164" y="87"/>
                      <a:pt x="162" y="90"/>
                      <a:pt x="163" y="90"/>
                    </a:cubicBezTo>
                    <a:cubicBezTo>
                      <a:pt x="165" y="89"/>
                      <a:pt x="165" y="91"/>
                      <a:pt x="166" y="90"/>
                    </a:cubicBezTo>
                    <a:cubicBezTo>
                      <a:pt x="174" y="85"/>
                      <a:pt x="174" y="87"/>
                      <a:pt x="176" y="85"/>
                    </a:cubicBezTo>
                    <a:cubicBezTo>
                      <a:pt x="179" y="83"/>
                      <a:pt x="177" y="84"/>
                      <a:pt x="180" y="84"/>
                    </a:cubicBezTo>
                    <a:cubicBezTo>
                      <a:pt x="184" y="84"/>
                      <a:pt x="184" y="85"/>
                      <a:pt x="186" y="84"/>
                    </a:cubicBezTo>
                    <a:cubicBezTo>
                      <a:pt x="187" y="83"/>
                      <a:pt x="188" y="85"/>
                      <a:pt x="189" y="84"/>
                    </a:cubicBezTo>
                    <a:cubicBezTo>
                      <a:pt x="190" y="82"/>
                      <a:pt x="192" y="83"/>
                      <a:pt x="194" y="80"/>
                    </a:cubicBezTo>
                    <a:cubicBezTo>
                      <a:pt x="197" y="77"/>
                      <a:pt x="198" y="77"/>
                      <a:pt x="201" y="75"/>
                    </a:cubicBezTo>
                    <a:cubicBezTo>
                      <a:pt x="203" y="74"/>
                      <a:pt x="199" y="72"/>
                      <a:pt x="199" y="70"/>
                    </a:cubicBezTo>
                    <a:cubicBezTo>
                      <a:pt x="199" y="67"/>
                      <a:pt x="199" y="65"/>
                      <a:pt x="201" y="65"/>
                    </a:cubicBezTo>
                    <a:cubicBezTo>
                      <a:pt x="204" y="64"/>
                      <a:pt x="206" y="69"/>
                      <a:pt x="211" y="67"/>
                    </a:cubicBezTo>
                    <a:cubicBezTo>
                      <a:pt x="215" y="65"/>
                      <a:pt x="214" y="62"/>
                      <a:pt x="217" y="62"/>
                    </a:cubicBezTo>
                    <a:cubicBezTo>
                      <a:pt x="219" y="63"/>
                      <a:pt x="221" y="62"/>
                      <a:pt x="223" y="60"/>
                    </a:cubicBezTo>
                    <a:cubicBezTo>
                      <a:pt x="225" y="59"/>
                      <a:pt x="223" y="59"/>
                      <a:pt x="225" y="56"/>
                    </a:cubicBezTo>
                    <a:cubicBezTo>
                      <a:pt x="227" y="54"/>
                      <a:pt x="230" y="55"/>
                      <a:pt x="232" y="53"/>
                    </a:cubicBezTo>
                    <a:cubicBezTo>
                      <a:pt x="235" y="52"/>
                      <a:pt x="236" y="54"/>
                      <a:pt x="237" y="53"/>
                    </a:cubicBezTo>
                    <a:cubicBezTo>
                      <a:pt x="238" y="52"/>
                      <a:pt x="241" y="54"/>
                      <a:pt x="243" y="53"/>
                    </a:cubicBezTo>
                    <a:cubicBezTo>
                      <a:pt x="244" y="52"/>
                      <a:pt x="242" y="49"/>
                      <a:pt x="240" y="47"/>
                    </a:cubicBezTo>
                    <a:cubicBezTo>
                      <a:pt x="238" y="45"/>
                      <a:pt x="237" y="43"/>
                      <a:pt x="233" y="43"/>
                    </a:cubicBezTo>
                    <a:cubicBezTo>
                      <a:pt x="229" y="43"/>
                      <a:pt x="231" y="47"/>
                      <a:pt x="229" y="45"/>
                    </a:cubicBezTo>
                    <a:cubicBezTo>
                      <a:pt x="227" y="44"/>
                      <a:pt x="224" y="44"/>
                      <a:pt x="223" y="45"/>
                    </a:cubicBezTo>
                    <a:cubicBezTo>
                      <a:pt x="222" y="46"/>
                      <a:pt x="219" y="43"/>
                      <a:pt x="221" y="42"/>
                    </a:cubicBezTo>
                    <a:cubicBezTo>
                      <a:pt x="223" y="40"/>
                      <a:pt x="219" y="43"/>
                      <a:pt x="226" y="29"/>
                    </a:cubicBezTo>
                    <a:cubicBezTo>
                      <a:pt x="231" y="32"/>
                      <a:pt x="233" y="32"/>
                      <a:pt x="237" y="28"/>
                    </a:cubicBezTo>
                    <a:cubicBezTo>
                      <a:pt x="241" y="24"/>
                      <a:pt x="240" y="21"/>
                      <a:pt x="245" y="15"/>
                    </a:cubicBezTo>
                    <a:cubicBezTo>
                      <a:pt x="249" y="10"/>
                      <a:pt x="247" y="8"/>
                      <a:pt x="244" y="8"/>
                    </a:cubicBezTo>
                    <a:cubicBezTo>
                      <a:pt x="241" y="8"/>
                      <a:pt x="245" y="2"/>
                      <a:pt x="255" y="1"/>
                    </a:cubicBezTo>
                    <a:cubicBezTo>
                      <a:pt x="264" y="0"/>
                      <a:pt x="267" y="3"/>
                      <a:pt x="270" y="3"/>
                    </a:cubicBezTo>
                    <a:cubicBezTo>
                      <a:pt x="273" y="3"/>
                      <a:pt x="279" y="11"/>
                      <a:pt x="281" y="21"/>
                    </a:cubicBezTo>
                    <a:cubicBezTo>
                      <a:pt x="282" y="32"/>
                      <a:pt x="284" y="31"/>
                      <a:pt x="290" y="32"/>
                    </a:cubicBezTo>
                    <a:cubicBezTo>
                      <a:pt x="296" y="33"/>
                      <a:pt x="294" y="36"/>
                      <a:pt x="297" y="36"/>
                    </a:cubicBezTo>
                    <a:cubicBezTo>
                      <a:pt x="300" y="37"/>
                      <a:pt x="297" y="39"/>
                      <a:pt x="299" y="40"/>
                    </a:cubicBezTo>
                    <a:cubicBezTo>
                      <a:pt x="301" y="41"/>
                      <a:pt x="297" y="42"/>
                      <a:pt x="300" y="44"/>
                    </a:cubicBezTo>
                    <a:cubicBezTo>
                      <a:pt x="303" y="47"/>
                      <a:pt x="307" y="46"/>
                      <a:pt x="310" y="43"/>
                    </a:cubicBezTo>
                    <a:cubicBezTo>
                      <a:pt x="313" y="41"/>
                      <a:pt x="313" y="44"/>
                      <a:pt x="316" y="41"/>
                    </a:cubicBezTo>
                    <a:cubicBezTo>
                      <a:pt x="319" y="38"/>
                      <a:pt x="322" y="43"/>
                      <a:pt x="319" y="47"/>
                    </a:cubicBezTo>
                    <a:cubicBezTo>
                      <a:pt x="316" y="52"/>
                      <a:pt x="314" y="67"/>
                      <a:pt x="310" y="65"/>
                    </a:cubicBezTo>
                    <a:cubicBezTo>
                      <a:pt x="306" y="63"/>
                      <a:pt x="305" y="62"/>
                      <a:pt x="304" y="64"/>
                    </a:cubicBezTo>
                    <a:cubicBezTo>
                      <a:pt x="303" y="67"/>
                      <a:pt x="299" y="64"/>
                      <a:pt x="301" y="68"/>
                    </a:cubicBezTo>
                    <a:cubicBezTo>
                      <a:pt x="302" y="72"/>
                      <a:pt x="303" y="76"/>
                      <a:pt x="301" y="79"/>
                    </a:cubicBezTo>
                    <a:cubicBezTo>
                      <a:pt x="300" y="83"/>
                      <a:pt x="299" y="79"/>
                      <a:pt x="298" y="83"/>
                    </a:cubicBezTo>
                    <a:lnTo>
                      <a:pt x="298" y="84"/>
                    </a:lnTo>
                    <a:close/>
                    <a:moveTo>
                      <a:pt x="184" y="244"/>
                    </a:moveTo>
                    <a:cubicBezTo>
                      <a:pt x="184" y="246"/>
                      <a:pt x="183" y="246"/>
                      <a:pt x="185" y="247"/>
                    </a:cubicBezTo>
                    <a:cubicBezTo>
                      <a:pt x="187" y="249"/>
                      <a:pt x="187" y="248"/>
                      <a:pt x="188" y="248"/>
                    </a:cubicBezTo>
                    <a:cubicBezTo>
                      <a:pt x="188" y="249"/>
                      <a:pt x="189" y="249"/>
                      <a:pt x="189" y="248"/>
                    </a:cubicBezTo>
                    <a:cubicBezTo>
                      <a:pt x="190" y="247"/>
                      <a:pt x="191" y="248"/>
                      <a:pt x="191" y="247"/>
                    </a:cubicBezTo>
                    <a:cubicBezTo>
                      <a:pt x="192" y="245"/>
                      <a:pt x="194" y="246"/>
                      <a:pt x="194" y="244"/>
                    </a:cubicBezTo>
                    <a:cubicBezTo>
                      <a:pt x="194" y="242"/>
                      <a:pt x="195" y="240"/>
                      <a:pt x="196" y="240"/>
                    </a:cubicBezTo>
                    <a:cubicBezTo>
                      <a:pt x="196" y="239"/>
                      <a:pt x="196" y="237"/>
                      <a:pt x="195" y="237"/>
                    </a:cubicBezTo>
                    <a:cubicBezTo>
                      <a:pt x="195" y="237"/>
                      <a:pt x="194" y="236"/>
                      <a:pt x="194" y="237"/>
                    </a:cubicBezTo>
                    <a:cubicBezTo>
                      <a:pt x="193" y="237"/>
                      <a:pt x="192" y="236"/>
                      <a:pt x="191" y="237"/>
                    </a:cubicBezTo>
                    <a:cubicBezTo>
                      <a:pt x="190" y="238"/>
                      <a:pt x="189" y="236"/>
                      <a:pt x="189" y="237"/>
                    </a:cubicBezTo>
                    <a:cubicBezTo>
                      <a:pt x="188" y="239"/>
                      <a:pt x="188" y="237"/>
                      <a:pt x="187" y="238"/>
                    </a:cubicBezTo>
                    <a:cubicBezTo>
                      <a:pt x="186" y="239"/>
                      <a:pt x="187" y="238"/>
                      <a:pt x="185" y="240"/>
                    </a:cubicBezTo>
                    <a:cubicBezTo>
                      <a:pt x="185" y="241"/>
                      <a:pt x="183" y="241"/>
                      <a:pt x="184" y="244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2" name="Freeform 20269">
              <a:extLst>
                <a:ext uri="{FF2B5EF4-FFF2-40B4-BE49-F238E27FC236}">
                  <a16:creationId xmlns:a16="http://schemas.microsoft.com/office/drawing/2014/main" id="{0C317536-56DA-7242-B908-5C4714390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164898" y="2894095"/>
              <a:ext cx="519037" cy="669789"/>
            </a:xfrm>
            <a:custGeom>
              <a:avLst/>
              <a:gdLst/>
              <a:ahLst/>
              <a:cxnLst>
                <a:cxn ang="0">
                  <a:pos x="35" y="108"/>
                </a:cxn>
                <a:cxn ang="0">
                  <a:pos x="26" y="92"/>
                </a:cxn>
                <a:cxn ang="0">
                  <a:pos x="34" y="93"/>
                </a:cxn>
                <a:cxn ang="0">
                  <a:pos x="67" y="79"/>
                </a:cxn>
                <a:cxn ang="0">
                  <a:pos x="73" y="78"/>
                </a:cxn>
                <a:cxn ang="0">
                  <a:pos x="80" y="76"/>
                </a:cxn>
                <a:cxn ang="0">
                  <a:pos x="84" y="72"/>
                </a:cxn>
                <a:cxn ang="0">
                  <a:pos x="88" y="69"/>
                </a:cxn>
                <a:cxn ang="0">
                  <a:pos x="93" y="48"/>
                </a:cxn>
                <a:cxn ang="0">
                  <a:pos x="90" y="30"/>
                </a:cxn>
                <a:cxn ang="0">
                  <a:pos x="88" y="34"/>
                </a:cxn>
                <a:cxn ang="0">
                  <a:pos x="83" y="41"/>
                </a:cxn>
                <a:cxn ang="0">
                  <a:pos x="70" y="63"/>
                </a:cxn>
                <a:cxn ang="0">
                  <a:pos x="67" y="61"/>
                </a:cxn>
                <a:cxn ang="0">
                  <a:pos x="59" y="70"/>
                </a:cxn>
                <a:cxn ang="0">
                  <a:pos x="40" y="79"/>
                </a:cxn>
                <a:cxn ang="0">
                  <a:pos x="44" y="80"/>
                </a:cxn>
                <a:cxn ang="0">
                  <a:pos x="57" y="78"/>
                </a:cxn>
                <a:cxn ang="0">
                  <a:pos x="59" y="84"/>
                </a:cxn>
                <a:cxn ang="0">
                  <a:pos x="34" y="90"/>
                </a:cxn>
                <a:cxn ang="0">
                  <a:pos x="34" y="99"/>
                </a:cxn>
                <a:cxn ang="0">
                  <a:pos x="38" y="100"/>
                </a:cxn>
                <a:cxn ang="0">
                  <a:pos x="41" y="88"/>
                </a:cxn>
                <a:cxn ang="0">
                  <a:pos x="35" y="84"/>
                </a:cxn>
                <a:cxn ang="0">
                  <a:pos x="30" y="88"/>
                </a:cxn>
                <a:cxn ang="0">
                  <a:pos x="34" y="92"/>
                </a:cxn>
                <a:cxn ang="0">
                  <a:pos x="54" y="87"/>
                </a:cxn>
                <a:cxn ang="0">
                  <a:pos x="52" y="81"/>
                </a:cxn>
                <a:cxn ang="0">
                  <a:pos x="46" y="84"/>
                </a:cxn>
                <a:cxn ang="0">
                  <a:pos x="47" y="91"/>
                </a:cxn>
                <a:cxn ang="0">
                  <a:pos x="76" y="54"/>
                </a:cxn>
                <a:cxn ang="0">
                  <a:pos x="90" y="28"/>
                </a:cxn>
                <a:cxn ang="0">
                  <a:pos x="100" y="26"/>
                </a:cxn>
                <a:cxn ang="0">
                  <a:pos x="115" y="16"/>
                </a:cxn>
                <a:cxn ang="0">
                  <a:pos x="108" y="12"/>
                </a:cxn>
                <a:cxn ang="0">
                  <a:pos x="93" y="4"/>
                </a:cxn>
                <a:cxn ang="0">
                  <a:pos x="89" y="18"/>
                </a:cxn>
                <a:cxn ang="0">
                  <a:pos x="85" y="31"/>
                </a:cxn>
                <a:cxn ang="0">
                  <a:pos x="57" y="81"/>
                </a:cxn>
                <a:cxn ang="0">
                  <a:pos x="50" y="66"/>
                </a:cxn>
                <a:cxn ang="0">
                  <a:pos x="23" y="132"/>
                </a:cxn>
                <a:cxn ang="0">
                  <a:pos x="21" y="135"/>
                </a:cxn>
                <a:cxn ang="0">
                  <a:pos x="27" y="124"/>
                </a:cxn>
                <a:cxn ang="0">
                  <a:pos x="31" y="120"/>
                </a:cxn>
                <a:cxn ang="0">
                  <a:pos x="1" y="148"/>
                </a:cxn>
                <a:cxn ang="0">
                  <a:pos x="3" y="146"/>
                </a:cxn>
                <a:cxn ang="0">
                  <a:pos x="9" y="144"/>
                </a:cxn>
              </a:cxnLst>
              <a:rect l="0" t="0" r="r" b="b"/>
              <a:pathLst>
                <a:path w="115" h="148">
                  <a:moveTo>
                    <a:pt x="35" y="108"/>
                  </a:moveTo>
                  <a:cubicBezTo>
                    <a:pt x="34" y="108"/>
                    <a:pt x="35" y="106"/>
                    <a:pt x="35" y="107"/>
                  </a:cubicBezTo>
                  <a:cubicBezTo>
                    <a:pt x="36" y="107"/>
                    <a:pt x="36" y="108"/>
                    <a:pt x="35" y="108"/>
                  </a:cubicBezTo>
                  <a:close/>
                  <a:moveTo>
                    <a:pt x="26" y="92"/>
                  </a:moveTo>
                  <a:cubicBezTo>
                    <a:pt x="27" y="92"/>
                    <a:pt x="27" y="91"/>
                    <a:pt x="26" y="91"/>
                  </a:cubicBezTo>
                  <a:cubicBezTo>
                    <a:pt x="26" y="91"/>
                    <a:pt x="25" y="92"/>
                    <a:pt x="26" y="92"/>
                  </a:cubicBezTo>
                  <a:close/>
                  <a:moveTo>
                    <a:pt x="34" y="93"/>
                  </a:moveTo>
                  <a:cubicBezTo>
                    <a:pt x="34" y="92"/>
                    <a:pt x="32" y="93"/>
                    <a:pt x="32" y="94"/>
                  </a:cubicBezTo>
                  <a:cubicBezTo>
                    <a:pt x="33" y="95"/>
                    <a:pt x="34" y="94"/>
                    <a:pt x="34" y="93"/>
                  </a:cubicBezTo>
                  <a:close/>
                  <a:moveTo>
                    <a:pt x="61" y="86"/>
                  </a:moveTo>
                  <a:cubicBezTo>
                    <a:pt x="63" y="88"/>
                    <a:pt x="64" y="84"/>
                    <a:pt x="65" y="82"/>
                  </a:cubicBezTo>
                  <a:cubicBezTo>
                    <a:pt x="67" y="80"/>
                    <a:pt x="70" y="81"/>
                    <a:pt x="67" y="79"/>
                  </a:cubicBezTo>
                  <a:cubicBezTo>
                    <a:pt x="65" y="78"/>
                    <a:pt x="68" y="74"/>
                    <a:pt x="68" y="76"/>
                  </a:cubicBezTo>
                  <a:cubicBezTo>
                    <a:pt x="68" y="79"/>
                    <a:pt x="71" y="76"/>
                    <a:pt x="69" y="78"/>
                  </a:cubicBezTo>
                  <a:cubicBezTo>
                    <a:pt x="68" y="80"/>
                    <a:pt x="71" y="78"/>
                    <a:pt x="73" y="78"/>
                  </a:cubicBezTo>
                  <a:cubicBezTo>
                    <a:pt x="75" y="79"/>
                    <a:pt x="74" y="79"/>
                    <a:pt x="76" y="77"/>
                  </a:cubicBezTo>
                  <a:cubicBezTo>
                    <a:pt x="77" y="75"/>
                    <a:pt x="78" y="74"/>
                    <a:pt x="78" y="77"/>
                  </a:cubicBezTo>
                  <a:cubicBezTo>
                    <a:pt x="77" y="80"/>
                    <a:pt x="79" y="79"/>
                    <a:pt x="80" y="76"/>
                  </a:cubicBezTo>
                  <a:cubicBezTo>
                    <a:pt x="80" y="74"/>
                    <a:pt x="80" y="73"/>
                    <a:pt x="82" y="74"/>
                  </a:cubicBezTo>
                  <a:cubicBezTo>
                    <a:pt x="84" y="76"/>
                    <a:pt x="82" y="74"/>
                    <a:pt x="83" y="72"/>
                  </a:cubicBezTo>
                  <a:cubicBezTo>
                    <a:pt x="84" y="71"/>
                    <a:pt x="85" y="71"/>
                    <a:pt x="84" y="72"/>
                  </a:cubicBezTo>
                  <a:cubicBezTo>
                    <a:pt x="84" y="74"/>
                    <a:pt x="83" y="78"/>
                    <a:pt x="84" y="76"/>
                  </a:cubicBezTo>
                  <a:cubicBezTo>
                    <a:pt x="85" y="74"/>
                    <a:pt x="86" y="76"/>
                    <a:pt x="87" y="73"/>
                  </a:cubicBezTo>
                  <a:cubicBezTo>
                    <a:pt x="87" y="69"/>
                    <a:pt x="91" y="74"/>
                    <a:pt x="88" y="69"/>
                  </a:cubicBezTo>
                  <a:cubicBezTo>
                    <a:pt x="85" y="65"/>
                    <a:pt x="91" y="62"/>
                    <a:pt x="89" y="57"/>
                  </a:cubicBezTo>
                  <a:cubicBezTo>
                    <a:pt x="89" y="54"/>
                    <a:pt x="90" y="51"/>
                    <a:pt x="92" y="53"/>
                  </a:cubicBezTo>
                  <a:cubicBezTo>
                    <a:pt x="94" y="54"/>
                    <a:pt x="91" y="51"/>
                    <a:pt x="93" y="48"/>
                  </a:cubicBezTo>
                  <a:cubicBezTo>
                    <a:pt x="95" y="45"/>
                    <a:pt x="96" y="41"/>
                    <a:pt x="93" y="39"/>
                  </a:cubicBezTo>
                  <a:cubicBezTo>
                    <a:pt x="91" y="36"/>
                    <a:pt x="91" y="33"/>
                    <a:pt x="92" y="32"/>
                  </a:cubicBezTo>
                  <a:cubicBezTo>
                    <a:pt x="92" y="30"/>
                    <a:pt x="91" y="31"/>
                    <a:pt x="90" y="30"/>
                  </a:cubicBezTo>
                  <a:cubicBezTo>
                    <a:pt x="89" y="29"/>
                    <a:pt x="88" y="33"/>
                    <a:pt x="90" y="32"/>
                  </a:cubicBezTo>
                  <a:cubicBezTo>
                    <a:pt x="92" y="31"/>
                    <a:pt x="91" y="35"/>
                    <a:pt x="90" y="34"/>
                  </a:cubicBezTo>
                  <a:cubicBezTo>
                    <a:pt x="89" y="33"/>
                    <a:pt x="88" y="36"/>
                    <a:pt x="88" y="34"/>
                  </a:cubicBezTo>
                  <a:cubicBezTo>
                    <a:pt x="88" y="31"/>
                    <a:pt x="86" y="31"/>
                    <a:pt x="86" y="34"/>
                  </a:cubicBezTo>
                  <a:cubicBezTo>
                    <a:pt x="86" y="37"/>
                    <a:pt x="83" y="34"/>
                    <a:pt x="84" y="37"/>
                  </a:cubicBezTo>
                  <a:cubicBezTo>
                    <a:pt x="85" y="41"/>
                    <a:pt x="83" y="40"/>
                    <a:pt x="83" y="41"/>
                  </a:cubicBezTo>
                  <a:cubicBezTo>
                    <a:pt x="83" y="42"/>
                    <a:pt x="86" y="40"/>
                    <a:pt x="83" y="48"/>
                  </a:cubicBezTo>
                  <a:cubicBezTo>
                    <a:pt x="82" y="54"/>
                    <a:pt x="80" y="54"/>
                    <a:pt x="78" y="58"/>
                  </a:cubicBezTo>
                  <a:cubicBezTo>
                    <a:pt x="75" y="62"/>
                    <a:pt x="73" y="61"/>
                    <a:pt x="70" y="63"/>
                  </a:cubicBezTo>
                  <a:cubicBezTo>
                    <a:pt x="68" y="65"/>
                    <a:pt x="70" y="62"/>
                    <a:pt x="69" y="61"/>
                  </a:cubicBezTo>
                  <a:cubicBezTo>
                    <a:pt x="68" y="61"/>
                    <a:pt x="72" y="60"/>
                    <a:pt x="71" y="58"/>
                  </a:cubicBezTo>
                  <a:cubicBezTo>
                    <a:pt x="70" y="57"/>
                    <a:pt x="67" y="59"/>
                    <a:pt x="67" y="61"/>
                  </a:cubicBezTo>
                  <a:cubicBezTo>
                    <a:pt x="68" y="64"/>
                    <a:pt x="63" y="68"/>
                    <a:pt x="63" y="69"/>
                  </a:cubicBezTo>
                  <a:cubicBezTo>
                    <a:pt x="64" y="70"/>
                    <a:pt x="64" y="72"/>
                    <a:pt x="61" y="72"/>
                  </a:cubicBezTo>
                  <a:cubicBezTo>
                    <a:pt x="58" y="73"/>
                    <a:pt x="61" y="71"/>
                    <a:pt x="59" y="70"/>
                  </a:cubicBezTo>
                  <a:cubicBezTo>
                    <a:pt x="58" y="70"/>
                    <a:pt x="50" y="74"/>
                    <a:pt x="49" y="72"/>
                  </a:cubicBezTo>
                  <a:cubicBezTo>
                    <a:pt x="48" y="70"/>
                    <a:pt x="47" y="72"/>
                    <a:pt x="44" y="75"/>
                  </a:cubicBezTo>
                  <a:cubicBezTo>
                    <a:pt x="41" y="79"/>
                    <a:pt x="41" y="76"/>
                    <a:pt x="40" y="79"/>
                  </a:cubicBezTo>
                  <a:cubicBezTo>
                    <a:pt x="39" y="81"/>
                    <a:pt x="37" y="79"/>
                    <a:pt x="37" y="81"/>
                  </a:cubicBezTo>
                  <a:cubicBezTo>
                    <a:pt x="37" y="84"/>
                    <a:pt x="40" y="82"/>
                    <a:pt x="42" y="83"/>
                  </a:cubicBezTo>
                  <a:cubicBezTo>
                    <a:pt x="45" y="84"/>
                    <a:pt x="43" y="81"/>
                    <a:pt x="44" y="80"/>
                  </a:cubicBezTo>
                  <a:cubicBezTo>
                    <a:pt x="46" y="80"/>
                    <a:pt x="45" y="81"/>
                    <a:pt x="47" y="81"/>
                  </a:cubicBezTo>
                  <a:cubicBezTo>
                    <a:pt x="49" y="80"/>
                    <a:pt x="51" y="80"/>
                    <a:pt x="53" y="79"/>
                  </a:cubicBezTo>
                  <a:cubicBezTo>
                    <a:pt x="56" y="78"/>
                    <a:pt x="53" y="77"/>
                    <a:pt x="57" y="78"/>
                  </a:cubicBezTo>
                  <a:cubicBezTo>
                    <a:pt x="60" y="79"/>
                    <a:pt x="60" y="77"/>
                    <a:pt x="61" y="78"/>
                  </a:cubicBezTo>
                  <a:cubicBezTo>
                    <a:pt x="61" y="80"/>
                    <a:pt x="59" y="80"/>
                    <a:pt x="59" y="81"/>
                  </a:cubicBezTo>
                  <a:cubicBezTo>
                    <a:pt x="59" y="82"/>
                    <a:pt x="58" y="83"/>
                    <a:pt x="59" y="84"/>
                  </a:cubicBezTo>
                  <a:cubicBezTo>
                    <a:pt x="61" y="85"/>
                    <a:pt x="59" y="85"/>
                    <a:pt x="62" y="86"/>
                  </a:cubicBezTo>
                  <a:lnTo>
                    <a:pt x="61" y="86"/>
                  </a:lnTo>
                  <a:close/>
                  <a:moveTo>
                    <a:pt x="34" y="90"/>
                  </a:moveTo>
                  <a:cubicBezTo>
                    <a:pt x="33" y="90"/>
                    <a:pt x="33" y="87"/>
                    <a:pt x="34" y="89"/>
                  </a:cubicBezTo>
                  <a:cubicBezTo>
                    <a:pt x="35" y="91"/>
                    <a:pt x="36" y="93"/>
                    <a:pt x="34" y="95"/>
                  </a:cubicBezTo>
                  <a:cubicBezTo>
                    <a:pt x="33" y="97"/>
                    <a:pt x="33" y="96"/>
                    <a:pt x="34" y="99"/>
                  </a:cubicBezTo>
                  <a:cubicBezTo>
                    <a:pt x="34" y="101"/>
                    <a:pt x="32" y="100"/>
                    <a:pt x="35" y="101"/>
                  </a:cubicBezTo>
                  <a:cubicBezTo>
                    <a:pt x="37" y="102"/>
                    <a:pt x="35" y="104"/>
                    <a:pt x="37" y="102"/>
                  </a:cubicBezTo>
                  <a:cubicBezTo>
                    <a:pt x="39" y="101"/>
                    <a:pt x="37" y="101"/>
                    <a:pt x="38" y="100"/>
                  </a:cubicBezTo>
                  <a:cubicBezTo>
                    <a:pt x="39" y="99"/>
                    <a:pt x="38" y="101"/>
                    <a:pt x="39" y="100"/>
                  </a:cubicBezTo>
                  <a:cubicBezTo>
                    <a:pt x="40" y="100"/>
                    <a:pt x="40" y="91"/>
                    <a:pt x="42" y="91"/>
                  </a:cubicBezTo>
                  <a:cubicBezTo>
                    <a:pt x="44" y="90"/>
                    <a:pt x="43" y="88"/>
                    <a:pt x="41" y="88"/>
                  </a:cubicBezTo>
                  <a:cubicBezTo>
                    <a:pt x="39" y="88"/>
                    <a:pt x="42" y="86"/>
                    <a:pt x="41" y="85"/>
                  </a:cubicBezTo>
                  <a:cubicBezTo>
                    <a:pt x="40" y="84"/>
                    <a:pt x="38" y="87"/>
                    <a:pt x="38" y="84"/>
                  </a:cubicBezTo>
                  <a:cubicBezTo>
                    <a:pt x="37" y="83"/>
                    <a:pt x="35" y="82"/>
                    <a:pt x="35" y="84"/>
                  </a:cubicBezTo>
                  <a:cubicBezTo>
                    <a:pt x="34" y="86"/>
                    <a:pt x="34" y="84"/>
                    <a:pt x="33" y="86"/>
                  </a:cubicBezTo>
                  <a:cubicBezTo>
                    <a:pt x="32" y="88"/>
                    <a:pt x="32" y="84"/>
                    <a:pt x="31" y="86"/>
                  </a:cubicBezTo>
                  <a:cubicBezTo>
                    <a:pt x="31" y="88"/>
                    <a:pt x="29" y="86"/>
                    <a:pt x="30" y="88"/>
                  </a:cubicBezTo>
                  <a:cubicBezTo>
                    <a:pt x="31" y="90"/>
                    <a:pt x="30" y="89"/>
                    <a:pt x="31" y="90"/>
                  </a:cubicBezTo>
                  <a:cubicBezTo>
                    <a:pt x="32" y="92"/>
                    <a:pt x="30" y="93"/>
                    <a:pt x="32" y="92"/>
                  </a:cubicBezTo>
                  <a:cubicBezTo>
                    <a:pt x="34" y="90"/>
                    <a:pt x="32" y="93"/>
                    <a:pt x="34" y="92"/>
                  </a:cubicBezTo>
                  <a:cubicBezTo>
                    <a:pt x="35" y="91"/>
                    <a:pt x="35" y="91"/>
                    <a:pt x="34" y="90"/>
                  </a:cubicBezTo>
                  <a:close/>
                  <a:moveTo>
                    <a:pt x="51" y="86"/>
                  </a:moveTo>
                  <a:cubicBezTo>
                    <a:pt x="53" y="85"/>
                    <a:pt x="54" y="89"/>
                    <a:pt x="54" y="87"/>
                  </a:cubicBezTo>
                  <a:cubicBezTo>
                    <a:pt x="55" y="84"/>
                    <a:pt x="57" y="85"/>
                    <a:pt x="57" y="83"/>
                  </a:cubicBezTo>
                  <a:cubicBezTo>
                    <a:pt x="56" y="82"/>
                    <a:pt x="57" y="82"/>
                    <a:pt x="56" y="81"/>
                  </a:cubicBezTo>
                  <a:cubicBezTo>
                    <a:pt x="55" y="80"/>
                    <a:pt x="54" y="80"/>
                    <a:pt x="52" y="81"/>
                  </a:cubicBezTo>
                  <a:cubicBezTo>
                    <a:pt x="50" y="82"/>
                    <a:pt x="51" y="83"/>
                    <a:pt x="50" y="83"/>
                  </a:cubicBezTo>
                  <a:cubicBezTo>
                    <a:pt x="49" y="82"/>
                    <a:pt x="48" y="84"/>
                    <a:pt x="48" y="83"/>
                  </a:cubicBezTo>
                  <a:cubicBezTo>
                    <a:pt x="48" y="81"/>
                    <a:pt x="48" y="81"/>
                    <a:pt x="46" y="84"/>
                  </a:cubicBezTo>
                  <a:cubicBezTo>
                    <a:pt x="45" y="86"/>
                    <a:pt x="42" y="87"/>
                    <a:pt x="44" y="87"/>
                  </a:cubicBezTo>
                  <a:cubicBezTo>
                    <a:pt x="46" y="87"/>
                    <a:pt x="44" y="88"/>
                    <a:pt x="46" y="90"/>
                  </a:cubicBezTo>
                  <a:cubicBezTo>
                    <a:pt x="47" y="91"/>
                    <a:pt x="44" y="91"/>
                    <a:pt x="47" y="91"/>
                  </a:cubicBezTo>
                  <a:cubicBezTo>
                    <a:pt x="49" y="92"/>
                    <a:pt x="48" y="87"/>
                    <a:pt x="51" y="86"/>
                  </a:cubicBezTo>
                  <a:close/>
                  <a:moveTo>
                    <a:pt x="77" y="55"/>
                  </a:moveTo>
                  <a:cubicBezTo>
                    <a:pt x="77" y="54"/>
                    <a:pt x="77" y="52"/>
                    <a:pt x="76" y="54"/>
                  </a:cubicBezTo>
                  <a:cubicBezTo>
                    <a:pt x="75" y="55"/>
                    <a:pt x="76" y="56"/>
                    <a:pt x="77" y="55"/>
                  </a:cubicBezTo>
                  <a:close/>
                  <a:moveTo>
                    <a:pt x="87" y="29"/>
                  </a:moveTo>
                  <a:cubicBezTo>
                    <a:pt x="88" y="26"/>
                    <a:pt x="88" y="29"/>
                    <a:pt x="90" y="28"/>
                  </a:cubicBezTo>
                  <a:cubicBezTo>
                    <a:pt x="93" y="27"/>
                    <a:pt x="85" y="26"/>
                    <a:pt x="86" y="23"/>
                  </a:cubicBezTo>
                  <a:cubicBezTo>
                    <a:pt x="88" y="20"/>
                    <a:pt x="88" y="25"/>
                    <a:pt x="91" y="23"/>
                  </a:cubicBezTo>
                  <a:cubicBezTo>
                    <a:pt x="93" y="21"/>
                    <a:pt x="94" y="22"/>
                    <a:pt x="100" y="26"/>
                  </a:cubicBezTo>
                  <a:cubicBezTo>
                    <a:pt x="103" y="28"/>
                    <a:pt x="102" y="21"/>
                    <a:pt x="105" y="20"/>
                  </a:cubicBezTo>
                  <a:cubicBezTo>
                    <a:pt x="107" y="19"/>
                    <a:pt x="109" y="20"/>
                    <a:pt x="111" y="19"/>
                  </a:cubicBezTo>
                  <a:cubicBezTo>
                    <a:pt x="114" y="17"/>
                    <a:pt x="115" y="17"/>
                    <a:pt x="115" y="16"/>
                  </a:cubicBezTo>
                  <a:cubicBezTo>
                    <a:pt x="114" y="15"/>
                    <a:pt x="113" y="18"/>
                    <a:pt x="111" y="15"/>
                  </a:cubicBezTo>
                  <a:cubicBezTo>
                    <a:pt x="110" y="12"/>
                    <a:pt x="113" y="9"/>
                    <a:pt x="112" y="9"/>
                  </a:cubicBezTo>
                  <a:cubicBezTo>
                    <a:pt x="111" y="10"/>
                    <a:pt x="110" y="13"/>
                    <a:pt x="108" y="12"/>
                  </a:cubicBezTo>
                  <a:cubicBezTo>
                    <a:pt x="106" y="12"/>
                    <a:pt x="108" y="11"/>
                    <a:pt x="105" y="11"/>
                  </a:cubicBezTo>
                  <a:cubicBezTo>
                    <a:pt x="102" y="10"/>
                    <a:pt x="98" y="5"/>
                    <a:pt x="96" y="3"/>
                  </a:cubicBezTo>
                  <a:cubicBezTo>
                    <a:pt x="94" y="0"/>
                    <a:pt x="91" y="1"/>
                    <a:pt x="93" y="4"/>
                  </a:cubicBezTo>
                  <a:cubicBezTo>
                    <a:pt x="95" y="8"/>
                    <a:pt x="92" y="8"/>
                    <a:pt x="93" y="10"/>
                  </a:cubicBezTo>
                  <a:cubicBezTo>
                    <a:pt x="94" y="12"/>
                    <a:pt x="91" y="13"/>
                    <a:pt x="91" y="15"/>
                  </a:cubicBezTo>
                  <a:cubicBezTo>
                    <a:pt x="92" y="16"/>
                    <a:pt x="92" y="19"/>
                    <a:pt x="89" y="18"/>
                  </a:cubicBezTo>
                  <a:cubicBezTo>
                    <a:pt x="87" y="16"/>
                    <a:pt x="85" y="16"/>
                    <a:pt x="87" y="18"/>
                  </a:cubicBezTo>
                  <a:cubicBezTo>
                    <a:pt x="88" y="20"/>
                    <a:pt x="81" y="23"/>
                    <a:pt x="84" y="25"/>
                  </a:cubicBezTo>
                  <a:cubicBezTo>
                    <a:pt x="87" y="27"/>
                    <a:pt x="83" y="29"/>
                    <a:pt x="85" y="31"/>
                  </a:cubicBezTo>
                  <a:cubicBezTo>
                    <a:pt x="85" y="31"/>
                    <a:pt x="85" y="32"/>
                    <a:pt x="87" y="29"/>
                  </a:cubicBezTo>
                  <a:close/>
                  <a:moveTo>
                    <a:pt x="59" y="79"/>
                  </a:moveTo>
                  <a:cubicBezTo>
                    <a:pt x="59" y="78"/>
                    <a:pt x="57" y="80"/>
                    <a:pt x="57" y="81"/>
                  </a:cubicBezTo>
                  <a:cubicBezTo>
                    <a:pt x="58" y="82"/>
                    <a:pt x="59" y="80"/>
                    <a:pt x="59" y="79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6"/>
                    <a:pt x="50" y="66"/>
                  </a:cubicBezTo>
                  <a:cubicBezTo>
                    <a:pt x="49" y="67"/>
                    <a:pt x="49" y="68"/>
                    <a:pt x="50" y="68"/>
                  </a:cubicBezTo>
                  <a:close/>
                  <a:moveTo>
                    <a:pt x="21" y="135"/>
                  </a:moveTo>
                  <a:cubicBezTo>
                    <a:pt x="21" y="134"/>
                    <a:pt x="21" y="134"/>
                    <a:pt x="23" y="132"/>
                  </a:cubicBezTo>
                  <a:cubicBezTo>
                    <a:pt x="25" y="131"/>
                    <a:pt x="24" y="130"/>
                    <a:pt x="23" y="131"/>
                  </a:cubicBezTo>
                  <a:cubicBezTo>
                    <a:pt x="22" y="133"/>
                    <a:pt x="21" y="133"/>
                    <a:pt x="20" y="135"/>
                  </a:cubicBezTo>
                  <a:cubicBezTo>
                    <a:pt x="20" y="136"/>
                    <a:pt x="21" y="136"/>
                    <a:pt x="21" y="135"/>
                  </a:cubicBezTo>
                  <a:close/>
                  <a:moveTo>
                    <a:pt x="27" y="124"/>
                  </a:moveTo>
                  <a:cubicBezTo>
                    <a:pt x="27" y="123"/>
                    <a:pt x="26" y="124"/>
                    <a:pt x="27" y="125"/>
                  </a:cubicBezTo>
                  <a:cubicBezTo>
                    <a:pt x="27" y="126"/>
                    <a:pt x="28" y="125"/>
                    <a:pt x="27" y="124"/>
                  </a:cubicBezTo>
                  <a:close/>
                  <a:moveTo>
                    <a:pt x="31" y="120"/>
                  </a:moveTo>
                  <a:cubicBezTo>
                    <a:pt x="31" y="119"/>
                    <a:pt x="29" y="120"/>
                    <a:pt x="29" y="122"/>
                  </a:cubicBezTo>
                  <a:cubicBezTo>
                    <a:pt x="29" y="123"/>
                    <a:pt x="31" y="120"/>
                    <a:pt x="31" y="120"/>
                  </a:cubicBezTo>
                  <a:close/>
                  <a:moveTo>
                    <a:pt x="1" y="148"/>
                  </a:moveTo>
                  <a:cubicBezTo>
                    <a:pt x="1" y="147"/>
                    <a:pt x="0" y="146"/>
                    <a:pt x="0" y="147"/>
                  </a:cubicBezTo>
                  <a:cubicBezTo>
                    <a:pt x="0" y="148"/>
                    <a:pt x="1" y="148"/>
                    <a:pt x="1" y="148"/>
                  </a:cubicBezTo>
                  <a:close/>
                  <a:moveTo>
                    <a:pt x="3" y="146"/>
                  </a:moveTo>
                  <a:cubicBezTo>
                    <a:pt x="3" y="145"/>
                    <a:pt x="1" y="147"/>
                    <a:pt x="2" y="147"/>
                  </a:cubicBezTo>
                  <a:cubicBezTo>
                    <a:pt x="3" y="148"/>
                    <a:pt x="3" y="147"/>
                    <a:pt x="3" y="146"/>
                  </a:cubicBezTo>
                  <a:close/>
                  <a:moveTo>
                    <a:pt x="9" y="144"/>
                  </a:moveTo>
                  <a:cubicBezTo>
                    <a:pt x="8" y="144"/>
                    <a:pt x="7" y="144"/>
                    <a:pt x="8" y="145"/>
                  </a:cubicBezTo>
                  <a:cubicBezTo>
                    <a:pt x="8" y="145"/>
                    <a:pt x="9" y="145"/>
                    <a:pt x="9" y="144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81F8BDA-BDD8-0043-8E98-18E524618500}"/>
                </a:ext>
              </a:extLst>
            </p:cNvPr>
            <p:cNvGrpSpPr/>
            <p:nvPr userDrawn="1"/>
          </p:nvGrpSpPr>
          <p:grpSpPr>
            <a:xfrm>
              <a:off x="5684112" y="3170789"/>
              <a:ext cx="862520" cy="929308"/>
              <a:chOff x="5684112" y="3170789"/>
              <a:chExt cx="862520" cy="929308"/>
            </a:xfrm>
            <a:grpFill/>
          </p:grpSpPr>
          <p:sp>
            <p:nvSpPr>
              <p:cNvPr id="33" name="Freeform 20136">
                <a:extLst>
                  <a:ext uri="{FF2B5EF4-FFF2-40B4-BE49-F238E27FC236}">
                    <a16:creationId xmlns:a16="http://schemas.microsoft.com/office/drawing/2014/main" id="{501CFD2A-9CD6-6C4B-A3ED-BE2CABE428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0639" y="3373059"/>
                <a:ext cx="198455" cy="131668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2" y="7"/>
                  </a:cxn>
                  <a:cxn ang="0">
                    <a:pos x="2" y="10"/>
                  </a:cxn>
                  <a:cxn ang="0">
                    <a:pos x="4" y="13"/>
                  </a:cxn>
                  <a:cxn ang="0">
                    <a:pos x="9" y="17"/>
                  </a:cxn>
                  <a:cxn ang="0">
                    <a:pos x="13" y="19"/>
                  </a:cxn>
                  <a:cxn ang="0">
                    <a:pos x="15" y="20"/>
                  </a:cxn>
                  <a:cxn ang="0">
                    <a:pos x="21" y="21"/>
                  </a:cxn>
                  <a:cxn ang="0">
                    <a:pos x="24" y="21"/>
                  </a:cxn>
                  <a:cxn ang="0">
                    <a:pos x="26" y="24"/>
                  </a:cxn>
                  <a:cxn ang="0">
                    <a:pos x="29" y="25"/>
                  </a:cxn>
                  <a:cxn ang="0">
                    <a:pos x="32" y="26"/>
                  </a:cxn>
                  <a:cxn ang="0">
                    <a:pos x="37" y="27"/>
                  </a:cxn>
                  <a:cxn ang="0">
                    <a:pos x="40" y="28"/>
                  </a:cxn>
                  <a:cxn ang="0">
                    <a:pos x="43" y="27"/>
                  </a:cxn>
                  <a:cxn ang="0">
                    <a:pos x="43" y="21"/>
                  </a:cxn>
                  <a:cxn ang="0">
                    <a:pos x="43" y="18"/>
                  </a:cxn>
                  <a:cxn ang="0">
                    <a:pos x="41" y="18"/>
                  </a:cxn>
                  <a:cxn ang="0">
                    <a:pos x="39" y="18"/>
                  </a:cxn>
                  <a:cxn ang="0">
                    <a:pos x="35" y="17"/>
                  </a:cxn>
                  <a:cxn ang="0">
                    <a:pos x="33" y="17"/>
                  </a:cxn>
                  <a:cxn ang="0">
                    <a:pos x="32" y="18"/>
                  </a:cxn>
                  <a:cxn ang="0">
                    <a:pos x="30" y="15"/>
                  </a:cxn>
                  <a:cxn ang="0">
                    <a:pos x="28" y="14"/>
                  </a:cxn>
                  <a:cxn ang="0">
                    <a:pos x="27" y="13"/>
                  </a:cxn>
                  <a:cxn ang="0">
                    <a:pos x="23" y="10"/>
                  </a:cxn>
                  <a:cxn ang="0">
                    <a:pos x="20" y="9"/>
                  </a:cxn>
                  <a:cxn ang="0">
                    <a:pos x="17" y="6"/>
                  </a:cxn>
                  <a:cxn ang="0">
                    <a:pos x="13" y="4"/>
                  </a:cxn>
                  <a:cxn ang="0">
                    <a:pos x="10" y="1"/>
                  </a:cxn>
                  <a:cxn ang="0">
                    <a:pos x="6" y="2"/>
                  </a:cxn>
                </a:cxnLst>
                <a:rect l="0" t="0" r="r" b="b"/>
                <a:pathLst>
                  <a:path w="44" h="29">
                    <a:moveTo>
                      <a:pt x="6" y="2"/>
                    </a:moveTo>
                    <a:cubicBezTo>
                      <a:pt x="1" y="5"/>
                      <a:pt x="4" y="6"/>
                      <a:pt x="2" y="7"/>
                    </a:cubicBezTo>
                    <a:cubicBezTo>
                      <a:pt x="1" y="9"/>
                      <a:pt x="3" y="9"/>
                      <a:pt x="2" y="10"/>
                    </a:cubicBezTo>
                    <a:cubicBezTo>
                      <a:pt x="0" y="11"/>
                      <a:pt x="3" y="14"/>
                      <a:pt x="4" y="13"/>
                    </a:cubicBezTo>
                    <a:cubicBezTo>
                      <a:pt x="4" y="11"/>
                      <a:pt x="7" y="15"/>
                      <a:pt x="9" y="17"/>
                    </a:cubicBezTo>
                    <a:cubicBezTo>
                      <a:pt x="12" y="19"/>
                      <a:pt x="10" y="16"/>
                      <a:pt x="13" y="19"/>
                    </a:cubicBezTo>
                    <a:cubicBezTo>
                      <a:pt x="15" y="21"/>
                      <a:pt x="14" y="18"/>
                      <a:pt x="15" y="20"/>
                    </a:cubicBezTo>
                    <a:cubicBezTo>
                      <a:pt x="16" y="22"/>
                      <a:pt x="19" y="20"/>
                      <a:pt x="21" y="21"/>
                    </a:cubicBezTo>
                    <a:cubicBezTo>
                      <a:pt x="22" y="22"/>
                      <a:pt x="21" y="20"/>
                      <a:pt x="24" y="21"/>
                    </a:cubicBezTo>
                    <a:cubicBezTo>
                      <a:pt x="27" y="23"/>
                      <a:pt x="24" y="24"/>
                      <a:pt x="26" y="24"/>
                    </a:cubicBezTo>
                    <a:cubicBezTo>
                      <a:pt x="29" y="25"/>
                      <a:pt x="27" y="26"/>
                      <a:pt x="29" y="25"/>
                    </a:cubicBezTo>
                    <a:cubicBezTo>
                      <a:pt x="31" y="24"/>
                      <a:pt x="30" y="27"/>
                      <a:pt x="32" y="26"/>
                    </a:cubicBezTo>
                    <a:cubicBezTo>
                      <a:pt x="34" y="25"/>
                      <a:pt x="35" y="29"/>
                      <a:pt x="37" y="27"/>
                    </a:cubicBezTo>
                    <a:cubicBezTo>
                      <a:pt x="39" y="26"/>
                      <a:pt x="37" y="29"/>
                      <a:pt x="40" y="28"/>
                    </a:cubicBezTo>
                    <a:cubicBezTo>
                      <a:pt x="43" y="27"/>
                      <a:pt x="42" y="29"/>
                      <a:pt x="43" y="27"/>
                    </a:cubicBezTo>
                    <a:cubicBezTo>
                      <a:pt x="44" y="24"/>
                      <a:pt x="42" y="24"/>
                      <a:pt x="43" y="21"/>
                    </a:cubicBezTo>
                    <a:cubicBezTo>
                      <a:pt x="44" y="18"/>
                      <a:pt x="44" y="19"/>
                      <a:pt x="43" y="18"/>
                    </a:cubicBezTo>
                    <a:cubicBezTo>
                      <a:pt x="43" y="18"/>
                      <a:pt x="42" y="18"/>
                      <a:pt x="41" y="18"/>
                    </a:cubicBezTo>
                    <a:cubicBezTo>
                      <a:pt x="41" y="19"/>
                      <a:pt x="41" y="18"/>
                      <a:pt x="39" y="18"/>
                    </a:cubicBezTo>
                    <a:cubicBezTo>
                      <a:pt x="38" y="19"/>
                      <a:pt x="36" y="15"/>
                      <a:pt x="35" y="17"/>
                    </a:cubicBezTo>
                    <a:cubicBezTo>
                      <a:pt x="35" y="18"/>
                      <a:pt x="34" y="18"/>
                      <a:pt x="33" y="17"/>
                    </a:cubicBezTo>
                    <a:cubicBezTo>
                      <a:pt x="32" y="15"/>
                      <a:pt x="33" y="18"/>
                      <a:pt x="32" y="18"/>
                    </a:cubicBezTo>
                    <a:cubicBezTo>
                      <a:pt x="31" y="18"/>
                      <a:pt x="31" y="15"/>
                      <a:pt x="30" y="15"/>
                    </a:cubicBezTo>
                    <a:cubicBezTo>
                      <a:pt x="28" y="15"/>
                      <a:pt x="27" y="16"/>
                      <a:pt x="28" y="14"/>
                    </a:cubicBezTo>
                    <a:cubicBezTo>
                      <a:pt x="28" y="13"/>
                      <a:pt x="28" y="13"/>
                      <a:pt x="27" y="13"/>
                    </a:cubicBezTo>
                    <a:cubicBezTo>
                      <a:pt x="26" y="14"/>
                      <a:pt x="23" y="12"/>
                      <a:pt x="23" y="10"/>
                    </a:cubicBezTo>
                    <a:cubicBezTo>
                      <a:pt x="23" y="8"/>
                      <a:pt x="22" y="9"/>
                      <a:pt x="20" y="9"/>
                    </a:cubicBezTo>
                    <a:cubicBezTo>
                      <a:pt x="19" y="10"/>
                      <a:pt x="18" y="6"/>
                      <a:pt x="17" y="6"/>
                    </a:cubicBezTo>
                    <a:cubicBezTo>
                      <a:pt x="15" y="6"/>
                      <a:pt x="15" y="4"/>
                      <a:pt x="13" y="4"/>
                    </a:cubicBezTo>
                    <a:cubicBezTo>
                      <a:pt x="11" y="3"/>
                      <a:pt x="14" y="2"/>
                      <a:pt x="10" y="1"/>
                    </a:cubicBezTo>
                    <a:cubicBezTo>
                      <a:pt x="7" y="0"/>
                      <a:pt x="8" y="6"/>
                      <a:pt x="6" y="2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4" name="Freeform 20137">
                <a:extLst>
                  <a:ext uri="{FF2B5EF4-FFF2-40B4-BE49-F238E27FC236}">
                    <a16:creationId xmlns:a16="http://schemas.microsoft.com/office/drawing/2014/main" id="{23DA1D41-C617-6C42-B5FD-2946E9555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4820" y="3436031"/>
                <a:ext cx="89686" cy="59156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11"/>
                  </a:cxn>
                  <a:cxn ang="0">
                    <a:pos x="9" y="11"/>
                  </a:cxn>
                  <a:cxn ang="0">
                    <a:pos x="14" y="11"/>
                  </a:cxn>
                  <a:cxn ang="0">
                    <a:pos x="17" y="11"/>
                  </a:cxn>
                  <a:cxn ang="0">
                    <a:pos x="19" y="10"/>
                  </a:cxn>
                  <a:cxn ang="0">
                    <a:pos x="18" y="7"/>
                  </a:cxn>
                  <a:cxn ang="0">
                    <a:pos x="16" y="5"/>
                  </a:cxn>
                  <a:cxn ang="0">
                    <a:pos x="15" y="3"/>
                  </a:cxn>
                  <a:cxn ang="0">
                    <a:pos x="13" y="3"/>
                  </a:cxn>
                  <a:cxn ang="0">
                    <a:pos x="10" y="2"/>
                  </a:cxn>
                  <a:cxn ang="0">
                    <a:pos x="6" y="3"/>
                  </a:cxn>
                  <a:cxn ang="0">
                    <a:pos x="4" y="5"/>
                  </a:cxn>
                  <a:cxn ang="0">
                    <a:pos x="2" y="8"/>
                  </a:cxn>
                </a:cxnLst>
                <a:rect l="0" t="0" r="r" b="b"/>
                <a:pathLst>
                  <a:path w="20" h="13">
                    <a:moveTo>
                      <a:pt x="2" y="8"/>
                    </a:moveTo>
                    <a:cubicBezTo>
                      <a:pt x="0" y="9"/>
                      <a:pt x="3" y="11"/>
                      <a:pt x="4" y="11"/>
                    </a:cubicBezTo>
                    <a:cubicBezTo>
                      <a:pt x="6" y="10"/>
                      <a:pt x="6" y="13"/>
                      <a:pt x="9" y="11"/>
                    </a:cubicBezTo>
                    <a:cubicBezTo>
                      <a:pt x="12" y="10"/>
                      <a:pt x="11" y="13"/>
                      <a:pt x="14" y="11"/>
                    </a:cubicBezTo>
                    <a:cubicBezTo>
                      <a:pt x="17" y="10"/>
                      <a:pt x="16" y="12"/>
                      <a:pt x="17" y="11"/>
                    </a:cubicBezTo>
                    <a:cubicBezTo>
                      <a:pt x="18" y="10"/>
                      <a:pt x="19" y="12"/>
                      <a:pt x="19" y="10"/>
                    </a:cubicBezTo>
                    <a:cubicBezTo>
                      <a:pt x="18" y="8"/>
                      <a:pt x="20" y="6"/>
                      <a:pt x="18" y="7"/>
                    </a:cubicBezTo>
                    <a:cubicBezTo>
                      <a:pt x="16" y="7"/>
                      <a:pt x="16" y="5"/>
                      <a:pt x="16" y="5"/>
                    </a:cubicBezTo>
                    <a:cubicBezTo>
                      <a:pt x="17" y="3"/>
                      <a:pt x="16" y="3"/>
                      <a:pt x="15" y="3"/>
                    </a:cubicBezTo>
                    <a:cubicBezTo>
                      <a:pt x="14" y="2"/>
                      <a:pt x="14" y="4"/>
                      <a:pt x="13" y="3"/>
                    </a:cubicBezTo>
                    <a:cubicBezTo>
                      <a:pt x="12" y="2"/>
                      <a:pt x="9" y="3"/>
                      <a:pt x="10" y="2"/>
                    </a:cubicBezTo>
                    <a:cubicBezTo>
                      <a:pt x="11" y="1"/>
                      <a:pt x="7" y="0"/>
                      <a:pt x="6" y="3"/>
                    </a:cubicBezTo>
                    <a:cubicBezTo>
                      <a:pt x="5" y="5"/>
                      <a:pt x="4" y="3"/>
                      <a:pt x="4" y="5"/>
                    </a:cubicBezTo>
                    <a:cubicBezTo>
                      <a:pt x="3" y="7"/>
                      <a:pt x="3" y="6"/>
                      <a:pt x="2" y="8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5" name="Freeform 20138">
                <a:extLst>
                  <a:ext uri="{FF2B5EF4-FFF2-40B4-BE49-F238E27FC236}">
                    <a16:creationId xmlns:a16="http://schemas.microsoft.com/office/drawing/2014/main" id="{33E02063-DE2D-1141-B13A-B0C16C0500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15737" y="3491370"/>
                <a:ext cx="118310" cy="185098"/>
              </a:xfrm>
              <a:custGeom>
                <a:avLst/>
                <a:gdLst/>
                <a:ahLst/>
                <a:cxnLst>
                  <a:cxn ang="0">
                    <a:pos x="7" y="31"/>
                  </a:cxn>
                  <a:cxn ang="0">
                    <a:pos x="10" y="32"/>
                  </a:cxn>
                  <a:cxn ang="0">
                    <a:pos x="12" y="32"/>
                  </a:cxn>
                  <a:cxn ang="0">
                    <a:pos x="15" y="27"/>
                  </a:cxn>
                  <a:cxn ang="0">
                    <a:pos x="14" y="22"/>
                  </a:cxn>
                  <a:cxn ang="0">
                    <a:pos x="15" y="21"/>
                  </a:cxn>
                  <a:cxn ang="0">
                    <a:pos x="16" y="25"/>
                  </a:cxn>
                  <a:cxn ang="0">
                    <a:pos x="19" y="26"/>
                  </a:cxn>
                  <a:cxn ang="0">
                    <a:pos x="22" y="31"/>
                  </a:cxn>
                  <a:cxn ang="0">
                    <a:pos x="22" y="34"/>
                  </a:cxn>
                  <a:cxn ang="0">
                    <a:pos x="23" y="37"/>
                  </a:cxn>
                  <a:cxn ang="0">
                    <a:pos x="23" y="37"/>
                  </a:cxn>
                  <a:cxn ang="0">
                    <a:pos x="25" y="31"/>
                  </a:cxn>
                  <a:cxn ang="0">
                    <a:pos x="24" y="21"/>
                  </a:cxn>
                  <a:cxn ang="0">
                    <a:pos x="22" y="21"/>
                  </a:cxn>
                  <a:cxn ang="0">
                    <a:pos x="18" y="20"/>
                  </a:cxn>
                  <a:cxn ang="0">
                    <a:pos x="23" y="13"/>
                  </a:cxn>
                  <a:cxn ang="0">
                    <a:pos x="25" y="11"/>
                  </a:cxn>
                  <a:cxn ang="0">
                    <a:pos x="11" y="9"/>
                  </a:cxn>
                  <a:cxn ang="0">
                    <a:pos x="10" y="4"/>
                  </a:cxn>
                  <a:cxn ang="0">
                    <a:pos x="7" y="2"/>
                  </a:cxn>
                  <a:cxn ang="0">
                    <a:pos x="4" y="1"/>
                  </a:cxn>
                  <a:cxn ang="0">
                    <a:pos x="4" y="2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4" y="10"/>
                  </a:cxn>
                  <a:cxn ang="0">
                    <a:pos x="2" y="13"/>
                  </a:cxn>
                  <a:cxn ang="0">
                    <a:pos x="5" y="17"/>
                  </a:cxn>
                  <a:cxn ang="0">
                    <a:pos x="5" y="20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7" y="31"/>
                  </a:cxn>
                </a:cxnLst>
                <a:rect l="0" t="0" r="r" b="b"/>
                <a:pathLst>
                  <a:path w="26" h="41">
                    <a:moveTo>
                      <a:pt x="7" y="31"/>
                    </a:moveTo>
                    <a:cubicBezTo>
                      <a:pt x="8" y="34"/>
                      <a:pt x="9" y="31"/>
                      <a:pt x="10" y="32"/>
                    </a:cubicBezTo>
                    <a:cubicBezTo>
                      <a:pt x="10" y="34"/>
                      <a:pt x="11" y="30"/>
                      <a:pt x="12" y="32"/>
                    </a:cubicBezTo>
                    <a:cubicBezTo>
                      <a:pt x="13" y="33"/>
                      <a:pt x="15" y="29"/>
                      <a:pt x="15" y="27"/>
                    </a:cubicBezTo>
                    <a:cubicBezTo>
                      <a:pt x="14" y="25"/>
                      <a:pt x="15" y="24"/>
                      <a:pt x="14" y="22"/>
                    </a:cubicBezTo>
                    <a:cubicBezTo>
                      <a:pt x="14" y="21"/>
                      <a:pt x="14" y="22"/>
                      <a:pt x="15" y="21"/>
                    </a:cubicBezTo>
                    <a:cubicBezTo>
                      <a:pt x="15" y="20"/>
                      <a:pt x="15" y="23"/>
                      <a:pt x="16" y="25"/>
                    </a:cubicBezTo>
                    <a:cubicBezTo>
                      <a:pt x="16" y="27"/>
                      <a:pt x="17" y="28"/>
                      <a:pt x="19" y="26"/>
                    </a:cubicBezTo>
                    <a:cubicBezTo>
                      <a:pt x="20" y="25"/>
                      <a:pt x="21" y="27"/>
                      <a:pt x="22" y="31"/>
                    </a:cubicBezTo>
                    <a:cubicBezTo>
                      <a:pt x="22" y="33"/>
                      <a:pt x="23" y="33"/>
                      <a:pt x="22" y="34"/>
                    </a:cubicBezTo>
                    <a:cubicBezTo>
                      <a:pt x="22" y="35"/>
                      <a:pt x="22" y="36"/>
                      <a:pt x="23" y="37"/>
                    </a:cubicBezTo>
                    <a:cubicBezTo>
                      <a:pt x="23" y="38"/>
                      <a:pt x="24" y="39"/>
                      <a:pt x="23" y="37"/>
                    </a:cubicBezTo>
                    <a:cubicBezTo>
                      <a:pt x="23" y="30"/>
                      <a:pt x="26" y="41"/>
                      <a:pt x="25" y="31"/>
                    </a:cubicBezTo>
                    <a:cubicBezTo>
                      <a:pt x="25" y="25"/>
                      <a:pt x="23" y="25"/>
                      <a:pt x="24" y="21"/>
                    </a:cubicBezTo>
                    <a:cubicBezTo>
                      <a:pt x="24" y="19"/>
                      <a:pt x="22" y="19"/>
                      <a:pt x="22" y="21"/>
                    </a:cubicBezTo>
                    <a:cubicBezTo>
                      <a:pt x="21" y="26"/>
                      <a:pt x="19" y="25"/>
                      <a:pt x="18" y="20"/>
                    </a:cubicBezTo>
                    <a:cubicBezTo>
                      <a:pt x="17" y="16"/>
                      <a:pt x="23" y="17"/>
                      <a:pt x="23" y="13"/>
                    </a:cubicBezTo>
                    <a:cubicBezTo>
                      <a:pt x="23" y="10"/>
                      <a:pt x="26" y="13"/>
                      <a:pt x="25" y="11"/>
                    </a:cubicBezTo>
                    <a:cubicBezTo>
                      <a:pt x="23" y="9"/>
                      <a:pt x="11" y="11"/>
                      <a:pt x="11" y="9"/>
                    </a:cubicBezTo>
                    <a:cubicBezTo>
                      <a:pt x="11" y="6"/>
                      <a:pt x="11" y="2"/>
                      <a:pt x="10" y="4"/>
                    </a:cubicBezTo>
                    <a:cubicBezTo>
                      <a:pt x="9" y="7"/>
                      <a:pt x="8" y="2"/>
                      <a:pt x="7" y="2"/>
                    </a:cubicBezTo>
                    <a:cubicBezTo>
                      <a:pt x="4" y="4"/>
                      <a:pt x="5" y="1"/>
                      <a:pt x="4" y="1"/>
                    </a:cubicBezTo>
                    <a:cubicBezTo>
                      <a:pt x="3" y="0"/>
                      <a:pt x="3" y="1"/>
                      <a:pt x="4" y="2"/>
                    </a:cubicBezTo>
                    <a:cubicBezTo>
                      <a:pt x="5" y="2"/>
                      <a:pt x="0" y="5"/>
                      <a:pt x="2" y="6"/>
                    </a:cubicBezTo>
                    <a:cubicBezTo>
                      <a:pt x="4" y="6"/>
                      <a:pt x="4" y="8"/>
                      <a:pt x="5" y="8"/>
                    </a:cubicBezTo>
                    <a:cubicBezTo>
                      <a:pt x="6" y="8"/>
                      <a:pt x="6" y="8"/>
                      <a:pt x="6" y="9"/>
                    </a:cubicBezTo>
                    <a:cubicBezTo>
                      <a:pt x="8" y="11"/>
                      <a:pt x="3" y="8"/>
                      <a:pt x="4" y="10"/>
                    </a:cubicBezTo>
                    <a:cubicBezTo>
                      <a:pt x="4" y="13"/>
                      <a:pt x="2" y="10"/>
                      <a:pt x="2" y="13"/>
                    </a:cubicBezTo>
                    <a:cubicBezTo>
                      <a:pt x="1" y="16"/>
                      <a:pt x="5" y="14"/>
                      <a:pt x="5" y="17"/>
                    </a:cubicBezTo>
                    <a:cubicBezTo>
                      <a:pt x="6" y="20"/>
                      <a:pt x="3" y="19"/>
                      <a:pt x="5" y="20"/>
                    </a:cubicBezTo>
                    <a:cubicBezTo>
                      <a:pt x="6" y="22"/>
                      <a:pt x="4" y="23"/>
                      <a:pt x="6" y="23"/>
                    </a:cubicBezTo>
                    <a:cubicBezTo>
                      <a:pt x="7" y="23"/>
                      <a:pt x="6" y="23"/>
                      <a:pt x="6" y="27"/>
                    </a:cubicBezTo>
                    <a:cubicBezTo>
                      <a:pt x="7" y="29"/>
                      <a:pt x="7" y="30"/>
                      <a:pt x="7" y="31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6" name="Freeform 20148">
                <a:extLst>
                  <a:ext uri="{FF2B5EF4-FFF2-40B4-BE49-F238E27FC236}">
                    <a16:creationId xmlns:a16="http://schemas.microsoft.com/office/drawing/2014/main" id="{006A660F-007D-A74C-A582-CC85F9B1C1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6821" y="3983695"/>
                <a:ext cx="53429" cy="116402"/>
              </a:xfrm>
              <a:custGeom>
                <a:avLst/>
                <a:gdLst/>
                <a:ahLst/>
                <a:cxnLst>
                  <a:cxn ang="0">
                    <a:pos x="3" y="24"/>
                  </a:cxn>
                  <a:cxn ang="0">
                    <a:pos x="0" y="12"/>
                  </a:cxn>
                  <a:cxn ang="0">
                    <a:pos x="1" y="10"/>
                  </a:cxn>
                  <a:cxn ang="0">
                    <a:pos x="1" y="6"/>
                  </a:cxn>
                  <a:cxn ang="0">
                    <a:pos x="2" y="3"/>
                  </a:cxn>
                  <a:cxn ang="0">
                    <a:pos x="1" y="0"/>
                  </a:cxn>
                  <a:cxn ang="0">
                    <a:pos x="5" y="1"/>
                  </a:cxn>
                  <a:cxn ang="0">
                    <a:pos x="7" y="6"/>
                  </a:cxn>
                  <a:cxn ang="0">
                    <a:pos x="10" y="12"/>
                  </a:cxn>
                  <a:cxn ang="0">
                    <a:pos x="11" y="14"/>
                  </a:cxn>
                  <a:cxn ang="0">
                    <a:pos x="9" y="22"/>
                  </a:cxn>
                  <a:cxn ang="0">
                    <a:pos x="3" y="24"/>
                  </a:cxn>
                </a:cxnLst>
                <a:rect l="0" t="0" r="r" b="b"/>
                <a:pathLst>
                  <a:path w="12" h="26">
                    <a:moveTo>
                      <a:pt x="3" y="24"/>
                    </a:moveTo>
                    <a:cubicBezTo>
                      <a:pt x="0" y="21"/>
                      <a:pt x="1" y="15"/>
                      <a:pt x="0" y="12"/>
                    </a:cubicBezTo>
                    <a:cubicBezTo>
                      <a:pt x="0" y="9"/>
                      <a:pt x="1" y="9"/>
                      <a:pt x="1" y="10"/>
                    </a:cubicBezTo>
                    <a:cubicBezTo>
                      <a:pt x="1" y="11"/>
                      <a:pt x="1" y="8"/>
                      <a:pt x="1" y="6"/>
                    </a:cubicBezTo>
                    <a:cubicBezTo>
                      <a:pt x="1" y="5"/>
                      <a:pt x="2" y="5"/>
                      <a:pt x="2" y="3"/>
                    </a:cubicBez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3" y="0"/>
                      <a:pt x="5" y="1"/>
                    </a:cubicBezTo>
                    <a:cubicBezTo>
                      <a:pt x="6" y="3"/>
                      <a:pt x="6" y="4"/>
                      <a:pt x="7" y="6"/>
                    </a:cubicBezTo>
                    <a:cubicBezTo>
                      <a:pt x="9" y="7"/>
                      <a:pt x="9" y="11"/>
                      <a:pt x="10" y="12"/>
                    </a:cubicBezTo>
                    <a:cubicBezTo>
                      <a:pt x="11" y="13"/>
                      <a:pt x="10" y="13"/>
                      <a:pt x="11" y="14"/>
                    </a:cubicBezTo>
                    <a:cubicBezTo>
                      <a:pt x="12" y="16"/>
                      <a:pt x="12" y="21"/>
                      <a:pt x="9" y="22"/>
                    </a:cubicBezTo>
                    <a:cubicBezTo>
                      <a:pt x="7" y="24"/>
                      <a:pt x="5" y="26"/>
                      <a:pt x="3" y="24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7" name="Freeform 20313">
                <a:extLst>
                  <a:ext uri="{FF2B5EF4-FFF2-40B4-BE49-F238E27FC236}">
                    <a16:creationId xmlns:a16="http://schemas.microsoft.com/office/drawing/2014/main" id="{7E573340-B4C7-7A45-B16B-D6E1D92EF7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55853" y="3300549"/>
                <a:ext cx="175557" cy="280510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3" y="59"/>
                  </a:cxn>
                  <a:cxn ang="0">
                    <a:pos x="6" y="58"/>
                  </a:cxn>
                  <a:cxn ang="0">
                    <a:pos x="10" y="58"/>
                  </a:cxn>
                  <a:cxn ang="0">
                    <a:pos x="13" y="58"/>
                  </a:cxn>
                  <a:cxn ang="0">
                    <a:pos x="15" y="57"/>
                  </a:cxn>
                  <a:cxn ang="0">
                    <a:pos x="15" y="54"/>
                  </a:cxn>
                  <a:cxn ang="0">
                    <a:pos x="12" y="48"/>
                  </a:cxn>
                  <a:cxn ang="0">
                    <a:pos x="9" y="42"/>
                  </a:cxn>
                  <a:cxn ang="0">
                    <a:pos x="9" y="37"/>
                  </a:cxn>
                  <a:cxn ang="0">
                    <a:pos x="13" y="34"/>
                  </a:cxn>
                  <a:cxn ang="0">
                    <a:pos x="19" y="34"/>
                  </a:cxn>
                  <a:cxn ang="0">
                    <a:pos x="21" y="31"/>
                  </a:cxn>
                  <a:cxn ang="0">
                    <a:pos x="24" y="27"/>
                  </a:cxn>
                  <a:cxn ang="0">
                    <a:pos x="29" y="19"/>
                  </a:cxn>
                  <a:cxn ang="0">
                    <a:pos x="31" y="15"/>
                  </a:cxn>
                  <a:cxn ang="0">
                    <a:pos x="35" y="6"/>
                  </a:cxn>
                  <a:cxn ang="0">
                    <a:pos x="35" y="3"/>
                  </a:cxn>
                  <a:cxn ang="0">
                    <a:pos x="33" y="1"/>
                  </a:cxn>
                </a:cxnLst>
                <a:rect l="0" t="0" r="r" b="b"/>
                <a:pathLst>
                  <a:path w="39" h="62">
                    <a:moveTo>
                      <a:pt x="0" y="62"/>
                    </a:moveTo>
                    <a:cubicBezTo>
                      <a:pt x="0" y="59"/>
                      <a:pt x="4" y="61"/>
                      <a:pt x="3" y="59"/>
                    </a:cubicBezTo>
                    <a:cubicBezTo>
                      <a:pt x="3" y="57"/>
                      <a:pt x="5" y="58"/>
                      <a:pt x="6" y="58"/>
                    </a:cubicBezTo>
                    <a:cubicBezTo>
                      <a:pt x="9" y="57"/>
                      <a:pt x="9" y="60"/>
                      <a:pt x="10" y="58"/>
                    </a:cubicBezTo>
                    <a:cubicBezTo>
                      <a:pt x="11" y="57"/>
                      <a:pt x="12" y="56"/>
                      <a:pt x="13" y="58"/>
                    </a:cubicBezTo>
                    <a:cubicBezTo>
                      <a:pt x="13" y="59"/>
                      <a:pt x="16" y="57"/>
                      <a:pt x="15" y="57"/>
                    </a:cubicBezTo>
                    <a:cubicBezTo>
                      <a:pt x="14" y="56"/>
                      <a:pt x="16" y="55"/>
                      <a:pt x="15" y="54"/>
                    </a:cubicBezTo>
                    <a:cubicBezTo>
                      <a:pt x="11" y="49"/>
                      <a:pt x="15" y="49"/>
                      <a:pt x="12" y="48"/>
                    </a:cubicBezTo>
                    <a:cubicBezTo>
                      <a:pt x="8" y="48"/>
                      <a:pt x="13" y="43"/>
                      <a:pt x="9" y="42"/>
                    </a:cubicBezTo>
                    <a:cubicBezTo>
                      <a:pt x="5" y="42"/>
                      <a:pt x="7" y="39"/>
                      <a:pt x="9" y="37"/>
                    </a:cubicBezTo>
                    <a:cubicBezTo>
                      <a:pt x="11" y="35"/>
                      <a:pt x="11" y="31"/>
                      <a:pt x="13" y="34"/>
                    </a:cubicBezTo>
                    <a:cubicBezTo>
                      <a:pt x="14" y="36"/>
                      <a:pt x="15" y="34"/>
                      <a:pt x="19" y="34"/>
                    </a:cubicBezTo>
                    <a:cubicBezTo>
                      <a:pt x="21" y="34"/>
                      <a:pt x="19" y="32"/>
                      <a:pt x="21" y="31"/>
                    </a:cubicBezTo>
                    <a:cubicBezTo>
                      <a:pt x="22" y="30"/>
                      <a:pt x="21" y="28"/>
                      <a:pt x="24" y="27"/>
                    </a:cubicBezTo>
                    <a:cubicBezTo>
                      <a:pt x="27" y="26"/>
                      <a:pt x="25" y="21"/>
                      <a:pt x="29" y="19"/>
                    </a:cubicBezTo>
                    <a:cubicBezTo>
                      <a:pt x="33" y="18"/>
                      <a:pt x="29" y="19"/>
                      <a:pt x="31" y="15"/>
                    </a:cubicBezTo>
                    <a:cubicBezTo>
                      <a:pt x="36" y="8"/>
                      <a:pt x="30" y="8"/>
                      <a:pt x="35" y="6"/>
                    </a:cubicBezTo>
                    <a:cubicBezTo>
                      <a:pt x="39" y="4"/>
                      <a:pt x="38" y="4"/>
                      <a:pt x="35" y="3"/>
                    </a:cubicBezTo>
                    <a:cubicBezTo>
                      <a:pt x="33" y="3"/>
                      <a:pt x="36" y="0"/>
                      <a:pt x="33" y="1"/>
                    </a:cubicBezTo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8" name="Freeform 20314">
                <a:extLst>
                  <a:ext uri="{FF2B5EF4-FFF2-40B4-BE49-F238E27FC236}">
                    <a16:creationId xmlns:a16="http://schemas.microsoft.com/office/drawing/2014/main" id="{CE4F2E0E-3785-554F-82ED-D854EA7B6B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4112" y="3174606"/>
                <a:ext cx="347298" cy="406453"/>
              </a:xfrm>
              <a:custGeom>
                <a:avLst/>
                <a:gdLst/>
                <a:ahLst/>
                <a:cxnLst>
                  <a:cxn ang="0">
                    <a:pos x="71" y="29"/>
                  </a:cxn>
                  <a:cxn ang="0">
                    <a:pos x="68" y="27"/>
                  </a:cxn>
                  <a:cxn ang="0">
                    <a:pos x="66" y="25"/>
                  </a:cxn>
                  <a:cxn ang="0">
                    <a:pos x="66" y="21"/>
                  </a:cxn>
                  <a:cxn ang="0">
                    <a:pos x="66" y="17"/>
                  </a:cxn>
                  <a:cxn ang="0">
                    <a:pos x="68" y="15"/>
                  </a:cxn>
                  <a:cxn ang="0">
                    <a:pos x="69" y="12"/>
                  </a:cxn>
                  <a:cxn ang="0">
                    <a:pos x="67" y="11"/>
                  </a:cxn>
                  <a:cxn ang="0">
                    <a:pos x="64" y="9"/>
                  </a:cxn>
                  <a:cxn ang="0">
                    <a:pos x="61" y="8"/>
                  </a:cxn>
                  <a:cxn ang="0">
                    <a:pos x="61" y="6"/>
                  </a:cxn>
                  <a:cxn ang="0">
                    <a:pos x="63" y="4"/>
                  </a:cxn>
                  <a:cxn ang="0">
                    <a:pos x="65" y="2"/>
                  </a:cxn>
                  <a:cxn ang="0">
                    <a:pos x="67" y="0"/>
                  </a:cxn>
                  <a:cxn ang="0">
                    <a:pos x="67" y="1"/>
                  </a:cxn>
                  <a:cxn ang="0">
                    <a:pos x="61" y="2"/>
                  </a:cxn>
                  <a:cxn ang="0">
                    <a:pos x="55" y="10"/>
                  </a:cxn>
                  <a:cxn ang="0">
                    <a:pos x="54" y="18"/>
                  </a:cxn>
                  <a:cxn ang="0">
                    <a:pos x="48" y="23"/>
                  </a:cxn>
                  <a:cxn ang="0">
                    <a:pos x="44" y="30"/>
                  </a:cxn>
                  <a:cxn ang="0">
                    <a:pos x="43" y="36"/>
                  </a:cxn>
                  <a:cxn ang="0">
                    <a:pos x="37" y="37"/>
                  </a:cxn>
                  <a:cxn ang="0">
                    <a:pos x="29" y="45"/>
                  </a:cxn>
                  <a:cxn ang="0">
                    <a:pos x="17" y="51"/>
                  </a:cxn>
                  <a:cxn ang="0">
                    <a:pos x="0" y="49"/>
                  </a:cxn>
                  <a:cxn ang="0">
                    <a:pos x="4" y="55"/>
                  </a:cxn>
                  <a:cxn ang="0">
                    <a:pos x="9" y="59"/>
                  </a:cxn>
                  <a:cxn ang="0">
                    <a:pos x="10" y="60"/>
                  </a:cxn>
                  <a:cxn ang="0">
                    <a:pos x="10" y="65"/>
                  </a:cxn>
                  <a:cxn ang="0">
                    <a:pos x="13" y="66"/>
                  </a:cxn>
                  <a:cxn ang="0">
                    <a:pos x="12" y="70"/>
                  </a:cxn>
                  <a:cxn ang="0">
                    <a:pos x="8" y="71"/>
                  </a:cxn>
                  <a:cxn ang="0">
                    <a:pos x="5" y="74"/>
                  </a:cxn>
                  <a:cxn ang="0">
                    <a:pos x="4" y="80"/>
                  </a:cxn>
                  <a:cxn ang="0">
                    <a:pos x="8" y="80"/>
                  </a:cxn>
                  <a:cxn ang="0">
                    <a:pos x="12" y="80"/>
                  </a:cxn>
                  <a:cxn ang="0">
                    <a:pos x="16" y="79"/>
                  </a:cxn>
                  <a:cxn ang="0">
                    <a:pos x="20" y="79"/>
                  </a:cxn>
                  <a:cxn ang="0">
                    <a:pos x="30" y="79"/>
                  </a:cxn>
                  <a:cxn ang="0">
                    <a:pos x="32" y="82"/>
                  </a:cxn>
                  <a:cxn ang="0">
                    <a:pos x="33" y="85"/>
                  </a:cxn>
                  <a:cxn ang="0">
                    <a:pos x="34" y="87"/>
                  </a:cxn>
                  <a:cxn ang="0">
                    <a:pos x="35" y="89"/>
                  </a:cxn>
                  <a:cxn ang="0">
                    <a:pos x="38" y="90"/>
                  </a:cxn>
                  <a:cxn ang="0">
                    <a:pos x="41" y="87"/>
                  </a:cxn>
                  <a:cxn ang="0">
                    <a:pos x="44" y="86"/>
                  </a:cxn>
                  <a:cxn ang="0">
                    <a:pos x="48" y="86"/>
                  </a:cxn>
                  <a:cxn ang="0">
                    <a:pos x="51" y="86"/>
                  </a:cxn>
                  <a:cxn ang="0">
                    <a:pos x="53" y="85"/>
                  </a:cxn>
                  <a:cxn ang="0">
                    <a:pos x="53" y="82"/>
                  </a:cxn>
                  <a:cxn ang="0">
                    <a:pos x="50" y="76"/>
                  </a:cxn>
                  <a:cxn ang="0">
                    <a:pos x="47" y="70"/>
                  </a:cxn>
                  <a:cxn ang="0">
                    <a:pos x="47" y="65"/>
                  </a:cxn>
                  <a:cxn ang="0">
                    <a:pos x="51" y="62"/>
                  </a:cxn>
                  <a:cxn ang="0">
                    <a:pos x="57" y="62"/>
                  </a:cxn>
                  <a:cxn ang="0">
                    <a:pos x="59" y="59"/>
                  </a:cxn>
                  <a:cxn ang="0">
                    <a:pos x="62" y="55"/>
                  </a:cxn>
                  <a:cxn ang="0">
                    <a:pos x="67" y="47"/>
                  </a:cxn>
                  <a:cxn ang="0">
                    <a:pos x="69" y="43"/>
                  </a:cxn>
                  <a:cxn ang="0">
                    <a:pos x="73" y="34"/>
                  </a:cxn>
                  <a:cxn ang="0">
                    <a:pos x="73" y="31"/>
                  </a:cxn>
                  <a:cxn ang="0">
                    <a:pos x="71" y="29"/>
                  </a:cxn>
                </a:cxnLst>
                <a:rect l="0" t="0" r="r" b="b"/>
                <a:pathLst>
                  <a:path w="77" h="90">
                    <a:moveTo>
                      <a:pt x="71" y="29"/>
                    </a:moveTo>
                    <a:cubicBezTo>
                      <a:pt x="70" y="29"/>
                      <a:pt x="70" y="28"/>
                      <a:pt x="68" y="27"/>
                    </a:cubicBezTo>
                    <a:cubicBezTo>
                      <a:pt x="66" y="27"/>
                      <a:pt x="67" y="26"/>
                      <a:pt x="66" y="25"/>
                    </a:cubicBezTo>
                    <a:cubicBezTo>
                      <a:pt x="66" y="24"/>
                      <a:pt x="67" y="24"/>
                      <a:pt x="66" y="21"/>
                    </a:cubicBezTo>
                    <a:cubicBezTo>
                      <a:pt x="65" y="18"/>
                      <a:pt x="65" y="17"/>
                      <a:pt x="66" y="17"/>
                    </a:cubicBezTo>
                    <a:cubicBezTo>
                      <a:pt x="67" y="17"/>
                      <a:pt x="67" y="15"/>
                      <a:pt x="68" y="15"/>
                    </a:cubicBezTo>
                    <a:cubicBezTo>
                      <a:pt x="69" y="15"/>
                      <a:pt x="69" y="13"/>
                      <a:pt x="69" y="12"/>
                    </a:cubicBezTo>
                    <a:cubicBezTo>
                      <a:pt x="68" y="12"/>
                      <a:pt x="67" y="13"/>
                      <a:pt x="67" y="11"/>
                    </a:cubicBezTo>
                    <a:cubicBezTo>
                      <a:pt x="68" y="9"/>
                      <a:pt x="65" y="10"/>
                      <a:pt x="64" y="9"/>
                    </a:cubicBezTo>
                    <a:cubicBezTo>
                      <a:pt x="63" y="7"/>
                      <a:pt x="62" y="9"/>
                      <a:pt x="61" y="8"/>
                    </a:cubicBezTo>
                    <a:cubicBezTo>
                      <a:pt x="60" y="7"/>
                      <a:pt x="61" y="7"/>
                      <a:pt x="61" y="6"/>
                    </a:cubicBezTo>
                    <a:cubicBezTo>
                      <a:pt x="60" y="5"/>
                      <a:pt x="62" y="5"/>
                      <a:pt x="63" y="4"/>
                    </a:cubicBezTo>
                    <a:cubicBezTo>
                      <a:pt x="64" y="3"/>
                      <a:pt x="63" y="2"/>
                      <a:pt x="65" y="2"/>
                    </a:cubicBezTo>
                    <a:cubicBezTo>
                      <a:pt x="67" y="2"/>
                      <a:pt x="69" y="3"/>
                      <a:pt x="67" y="0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66" y="0"/>
                      <a:pt x="64" y="0"/>
                      <a:pt x="61" y="2"/>
                    </a:cubicBezTo>
                    <a:cubicBezTo>
                      <a:pt x="54" y="4"/>
                      <a:pt x="53" y="6"/>
                      <a:pt x="55" y="10"/>
                    </a:cubicBezTo>
                    <a:cubicBezTo>
                      <a:pt x="57" y="14"/>
                      <a:pt x="54" y="15"/>
                      <a:pt x="54" y="18"/>
                    </a:cubicBezTo>
                    <a:cubicBezTo>
                      <a:pt x="54" y="24"/>
                      <a:pt x="44" y="17"/>
                      <a:pt x="48" y="23"/>
                    </a:cubicBezTo>
                    <a:cubicBezTo>
                      <a:pt x="51" y="28"/>
                      <a:pt x="46" y="25"/>
                      <a:pt x="44" y="30"/>
                    </a:cubicBezTo>
                    <a:cubicBezTo>
                      <a:pt x="43" y="34"/>
                      <a:pt x="44" y="35"/>
                      <a:pt x="43" y="36"/>
                    </a:cubicBezTo>
                    <a:cubicBezTo>
                      <a:pt x="42" y="38"/>
                      <a:pt x="40" y="34"/>
                      <a:pt x="37" y="37"/>
                    </a:cubicBezTo>
                    <a:cubicBezTo>
                      <a:pt x="34" y="39"/>
                      <a:pt x="28" y="40"/>
                      <a:pt x="29" y="45"/>
                    </a:cubicBezTo>
                    <a:cubicBezTo>
                      <a:pt x="29" y="49"/>
                      <a:pt x="28" y="49"/>
                      <a:pt x="17" y="51"/>
                    </a:cubicBezTo>
                    <a:cubicBezTo>
                      <a:pt x="7" y="54"/>
                      <a:pt x="3" y="48"/>
                      <a:pt x="0" y="49"/>
                    </a:cubicBezTo>
                    <a:cubicBezTo>
                      <a:pt x="2" y="51"/>
                      <a:pt x="3" y="52"/>
                      <a:pt x="4" y="55"/>
                    </a:cubicBezTo>
                    <a:cubicBezTo>
                      <a:pt x="5" y="59"/>
                      <a:pt x="8" y="57"/>
                      <a:pt x="9" y="59"/>
                    </a:cubicBezTo>
                    <a:cubicBezTo>
                      <a:pt x="10" y="61"/>
                      <a:pt x="10" y="58"/>
                      <a:pt x="10" y="60"/>
                    </a:cubicBezTo>
                    <a:cubicBezTo>
                      <a:pt x="10" y="62"/>
                      <a:pt x="11" y="64"/>
                      <a:pt x="10" y="65"/>
                    </a:cubicBezTo>
                    <a:cubicBezTo>
                      <a:pt x="9" y="67"/>
                      <a:pt x="12" y="66"/>
                      <a:pt x="13" y="66"/>
                    </a:cubicBezTo>
                    <a:cubicBezTo>
                      <a:pt x="13" y="67"/>
                      <a:pt x="12" y="68"/>
                      <a:pt x="12" y="70"/>
                    </a:cubicBezTo>
                    <a:cubicBezTo>
                      <a:pt x="12" y="71"/>
                      <a:pt x="8" y="70"/>
                      <a:pt x="8" y="71"/>
                    </a:cubicBezTo>
                    <a:cubicBezTo>
                      <a:pt x="8" y="73"/>
                      <a:pt x="6" y="72"/>
                      <a:pt x="5" y="74"/>
                    </a:cubicBezTo>
                    <a:cubicBezTo>
                      <a:pt x="4" y="76"/>
                      <a:pt x="4" y="78"/>
                      <a:pt x="4" y="80"/>
                    </a:cubicBezTo>
                    <a:cubicBezTo>
                      <a:pt x="5" y="83"/>
                      <a:pt x="7" y="79"/>
                      <a:pt x="8" y="80"/>
                    </a:cubicBezTo>
                    <a:cubicBezTo>
                      <a:pt x="9" y="81"/>
                      <a:pt x="8" y="78"/>
                      <a:pt x="12" y="80"/>
                    </a:cubicBezTo>
                    <a:cubicBezTo>
                      <a:pt x="15" y="81"/>
                      <a:pt x="12" y="78"/>
                      <a:pt x="16" y="79"/>
                    </a:cubicBezTo>
                    <a:cubicBezTo>
                      <a:pt x="20" y="80"/>
                      <a:pt x="20" y="81"/>
                      <a:pt x="20" y="79"/>
                    </a:cubicBezTo>
                    <a:cubicBezTo>
                      <a:pt x="21" y="79"/>
                      <a:pt x="30" y="78"/>
                      <a:pt x="30" y="79"/>
                    </a:cubicBezTo>
                    <a:cubicBezTo>
                      <a:pt x="31" y="81"/>
                      <a:pt x="29" y="82"/>
                      <a:pt x="32" y="82"/>
                    </a:cubicBezTo>
                    <a:cubicBezTo>
                      <a:pt x="34" y="82"/>
                      <a:pt x="32" y="84"/>
                      <a:pt x="33" y="85"/>
                    </a:cubicBezTo>
                    <a:cubicBezTo>
                      <a:pt x="34" y="86"/>
                      <a:pt x="33" y="86"/>
                      <a:pt x="34" y="87"/>
                    </a:cubicBezTo>
                    <a:cubicBezTo>
                      <a:pt x="35" y="88"/>
                      <a:pt x="34" y="88"/>
                      <a:pt x="35" y="89"/>
                    </a:cubicBezTo>
                    <a:cubicBezTo>
                      <a:pt x="36" y="90"/>
                      <a:pt x="36" y="88"/>
                      <a:pt x="38" y="90"/>
                    </a:cubicBezTo>
                    <a:cubicBezTo>
                      <a:pt x="38" y="87"/>
                      <a:pt x="42" y="89"/>
                      <a:pt x="41" y="87"/>
                    </a:cubicBezTo>
                    <a:cubicBezTo>
                      <a:pt x="41" y="85"/>
                      <a:pt x="43" y="86"/>
                      <a:pt x="44" y="86"/>
                    </a:cubicBezTo>
                    <a:cubicBezTo>
                      <a:pt x="47" y="85"/>
                      <a:pt x="47" y="88"/>
                      <a:pt x="48" y="86"/>
                    </a:cubicBezTo>
                    <a:cubicBezTo>
                      <a:pt x="49" y="85"/>
                      <a:pt x="50" y="84"/>
                      <a:pt x="51" y="86"/>
                    </a:cubicBezTo>
                    <a:cubicBezTo>
                      <a:pt x="51" y="87"/>
                      <a:pt x="54" y="85"/>
                      <a:pt x="53" y="85"/>
                    </a:cubicBezTo>
                    <a:cubicBezTo>
                      <a:pt x="52" y="84"/>
                      <a:pt x="54" y="83"/>
                      <a:pt x="53" y="82"/>
                    </a:cubicBezTo>
                    <a:cubicBezTo>
                      <a:pt x="49" y="77"/>
                      <a:pt x="53" y="77"/>
                      <a:pt x="50" y="76"/>
                    </a:cubicBezTo>
                    <a:cubicBezTo>
                      <a:pt x="46" y="76"/>
                      <a:pt x="51" y="71"/>
                      <a:pt x="47" y="70"/>
                    </a:cubicBezTo>
                    <a:cubicBezTo>
                      <a:pt x="43" y="70"/>
                      <a:pt x="45" y="67"/>
                      <a:pt x="47" y="65"/>
                    </a:cubicBezTo>
                    <a:cubicBezTo>
                      <a:pt x="49" y="63"/>
                      <a:pt x="49" y="59"/>
                      <a:pt x="51" y="62"/>
                    </a:cubicBezTo>
                    <a:cubicBezTo>
                      <a:pt x="52" y="64"/>
                      <a:pt x="53" y="62"/>
                      <a:pt x="57" y="62"/>
                    </a:cubicBezTo>
                    <a:cubicBezTo>
                      <a:pt x="59" y="62"/>
                      <a:pt x="57" y="60"/>
                      <a:pt x="59" y="59"/>
                    </a:cubicBezTo>
                    <a:cubicBezTo>
                      <a:pt x="60" y="58"/>
                      <a:pt x="59" y="56"/>
                      <a:pt x="62" y="55"/>
                    </a:cubicBezTo>
                    <a:cubicBezTo>
                      <a:pt x="65" y="54"/>
                      <a:pt x="63" y="49"/>
                      <a:pt x="67" y="47"/>
                    </a:cubicBezTo>
                    <a:cubicBezTo>
                      <a:pt x="71" y="46"/>
                      <a:pt x="67" y="47"/>
                      <a:pt x="69" y="43"/>
                    </a:cubicBezTo>
                    <a:cubicBezTo>
                      <a:pt x="74" y="36"/>
                      <a:pt x="68" y="36"/>
                      <a:pt x="73" y="34"/>
                    </a:cubicBezTo>
                    <a:cubicBezTo>
                      <a:pt x="77" y="32"/>
                      <a:pt x="76" y="32"/>
                      <a:pt x="73" y="31"/>
                    </a:cubicBezTo>
                    <a:cubicBezTo>
                      <a:pt x="71" y="31"/>
                      <a:pt x="74" y="28"/>
                      <a:pt x="71" y="29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9" name="Freeform 20315">
                <a:extLst>
                  <a:ext uri="{FF2B5EF4-FFF2-40B4-BE49-F238E27FC236}">
                    <a16:creationId xmlns:a16="http://schemas.microsoft.com/office/drawing/2014/main" id="{F9917C54-DB2E-9D42-BDDA-B65A37932B1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5855853" y="3170789"/>
                <a:ext cx="690779" cy="902592"/>
              </a:xfrm>
              <a:custGeom>
                <a:avLst/>
                <a:gdLst/>
                <a:ahLst/>
                <a:cxnLst>
                  <a:cxn ang="0">
                    <a:pos x="129" y="163"/>
                  </a:cxn>
                  <a:cxn ang="0">
                    <a:pos x="128" y="162"/>
                  </a:cxn>
                  <a:cxn ang="0">
                    <a:pos x="127" y="173"/>
                  </a:cxn>
                  <a:cxn ang="0">
                    <a:pos x="133" y="197"/>
                  </a:cxn>
                  <a:cxn ang="0">
                    <a:pos x="128" y="183"/>
                  </a:cxn>
                  <a:cxn ang="0">
                    <a:pos x="131" y="192"/>
                  </a:cxn>
                  <a:cxn ang="0">
                    <a:pos x="2" y="93"/>
                  </a:cxn>
                  <a:cxn ang="0">
                    <a:pos x="7" y="104"/>
                  </a:cxn>
                  <a:cxn ang="0">
                    <a:pos x="23" y="103"/>
                  </a:cxn>
                  <a:cxn ang="0">
                    <a:pos x="28" y="141"/>
                  </a:cxn>
                  <a:cxn ang="0">
                    <a:pos x="50" y="190"/>
                  </a:cxn>
                  <a:cxn ang="0">
                    <a:pos x="57" y="180"/>
                  </a:cxn>
                  <a:cxn ang="0">
                    <a:pos x="63" y="153"/>
                  </a:cxn>
                  <a:cxn ang="0">
                    <a:pos x="73" y="138"/>
                  </a:cxn>
                  <a:cxn ang="0">
                    <a:pos x="97" y="113"/>
                  </a:cxn>
                  <a:cxn ang="0">
                    <a:pos x="108" y="104"/>
                  </a:cxn>
                  <a:cxn ang="0">
                    <a:pos x="108" y="98"/>
                  </a:cxn>
                  <a:cxn ang="0">
                    <a:pos x="107" y="88"/>
                  </a:cxn>
                  <a:cxn ang="0">
                    <a:pos x="108" y="80"/>
                  </a:cxn>
                  <a:cxn ang="0">
                    <a:pos x="106" y="73"/>
                  </a:cxn>
                  <a:cxn ang="0">
                    <a:pos x="112" y="75"/>
                  </a:cxn>
                  <a:cxn ang="0">
                    <a:pos x="125" y="84"/>
                  </a:cxn>
                  <a:cxn ang="0">
                    <a:pos x="126" y="92"/>
                  </a:cxn>
                  <a:cxn ang="0">
                    <a:pos x="130" y="97"/>
                  </a:cxn>
                  <a:cxn ang="0">
                    <a:pos x="136" y="87"/>
                  </a:cxn>
                  <a:cxn ang="0">
                    <a:pos x="141" y="72"/>
                  </a:cxn>
                  <a:cxn ang="0">
                    <a:pos x="150" y="66"/>
                  </a:cxn>
                  <a:cxn ang="0">
                    <a:pos x="148" y="56"/>
                  </a:cxn>
                  <a:cxn ang="0">
                    <a:pos x="143" y="54"/>
                  </a:cxn>
                  <a:cxn ang="0">
                    <a:pos x="130" y="59"/>
                  </a:cxn>
                  <a:cxn ang="0">
                    <a:pos x="124" y="66"/>
                  </a:cxn>
                  <a:cxn ang="0">
                    <a:pos x="120" y="70"/>
                  </a:cxn>
                  <a:cxn ang="0">
                    <a:pos x="108" y="67"/>
                  </a:cxn>
                  <a:cxn ang="0">
                    <a:pos x="104" y="72"/>
                  </a:cxn>
                  <a:cxn ang="0">
                    <a:pos x="93" y="71"/>
                  </a:cxn>
                  <a:cxn ang="0">
                    <a:pos x="85" y="66"/>
                  </a:cxn>
                  <a:cxn ang="0">
                    <a:pos x="74" y="64"/>
                  </a:cxn>
                  <a:cxn ang="0">
                    <a:pos x="63" y="55"/>
                  </a:cxn>
                  <a:cxn ang="0">
                    <a:pos x="62" y="43"/>
                  </a:cxn>
                  <a:cxn ang="0">
                    <a:pos x="54" y="33"/>
                  </a:cxn>
                  <a:cxn ang="0">
                    <a:pos x="59" y="28"/>
                  </a:cxn>
                  <a:cxn ang="0">
                    <a:pos x="62" y="17"/>
                  </a:cxn>
                  <a:cxn ang="0">
                    <a:pos x="61" y="11"/>
                  </a:cxn>
                  <a:cxn ang="0">
                    <a:pos x="50" y="11"/>
                  </a:cxn>
                  <a:cxn ang="0">
                    <a:pos x="41" y="4"/>
                  </a:cxn>
                  <a:cxn ang="0">
                    <a:pos x="29" y="2"/>
                  </a:cxn>
                  <a:cxn ang="0">
                    <a:pos x="25" y="5"/>
                  </a:cxn>
                  <a:cxn ang="0">
                    <a:pos x="26" y="10"/>
                  </a:cxn>
                  <a:cxn ang="0">
                    <a:pos x="30" y="16"/>
                  </a:cxn>
                  <a:cxn ang="0">
                    <a:pos x="28" y="26"/>
                  </a:cxn>
                  <a:cxn ang="0">
                    <a:pos x="35" y="32"/>
                  </a:cxn>
                  <a:cxn ang="0">
                    <a:pos x="29" y="48"/>
                  </a:cxn>
                  <a:cxn ang="0">
                    <a:pos x="19" y="63"/>
                  </a:cxn>
                  <a:cxn ang="0">
                    <a:pos x="9" y="71"/>
                  </a:cxn>
                  <a:cxn ang="0">
                    <a:pos x="15" y="86"/>
                  </a:cxn>
                  <a:cxn ang="0">
                    <a:pos x="6" y="87"/>
                  </a:cxn>
                </a:cxnLst>
                <a:rect l="0" t="0" r="r" b="b"/>
                <a:pathLst>
                  <a:path w="153" h="200">
                    <a:moveTo>
                      <a:pt x="129" y="156"/>
                    </a:moveTo>
                    <a:cubicBezTo>
                      <a:pt x="130" y="157"/>
                      <a:pt x="130" y="159"/>
                      <a:pt x="129" y="160"/>
                    </a:cubicBezTo>
                    <a:cubicBezTo>
                      <a:pt x="129" y="160"/>
                      <a:pt x="130" y="163"/>
                      <a:pt x="129" y="163"/>
                    </a:cubicBezTo>
                    <a:cubicBezTo>
                      <a:pt x="128" y="164"/>
                      <a:pt x="129" y="164"/>
                      <a:pt x="129" y="166"/>
                    </a:cubicBezTo>
                    <a:cubicBezTo>
                      <a:pt x="128" y="167"/>
                      <a:pt x="128" y="171"/>
                      <a:pt x="128" y="169"/>
                    </a:cubicBezTo>
                    <a:cubicBezTo>
                      <a:pt x="127" y="166"/>
                      <a:pt x="128" y="167"/>
                      <a:pt x="128" y="162"/>
                    </a:cubicBezTo>
                    <a:cubicBezTo>
                      <a:pt x="128" y="158"/>
                      <a:pt x="129" y="156"/>
                      <a:pt x="129" y="156"/>
                    </a:cubicBezTo>
                    <a:close/>
                    <a:moveTo>
                      <a:pt x="126" y="176"/>
                    </a:moveTo>
                    <a:cubicBezTo>
                      <a:pt x="127" y="176"/>
                      <a:pt x="128" y="173"/>
                      <a:pt x="127" y="173"/>
                    </a:cubicBezTo>
                    <a:cubicBezTo>
                      <a:pt x="126" y="173"/>
                      <a:pt x="126" y="175"/>
                      <a:pt x="126" y="176"/>
                    </a:cubicBezTo>
                    <a:close/>
                    <a:moveTo>
                      <a:pt x="134" y="199"/>
                    </a:moveTo>
                    <a:cubicBezTo>
                      <a:pt x="135" y="198"/>
                      <a:pt x="134" y="196"/>
                      <a:pt x="133" y="197"/>
                    </a:cubicBezTo>
                    <a:cubicBezTo>
                      <a:pt x="133" y="197"/>
                      <a:pt x="133" y="200"/>
                      <a:pt x="134" y="199"/>
                    </a:cubicBezTo>
                    <a:close/>
                    <a:moveTo>
                      <a:pt x="128" y="185"/>
                    </a:moveTo>
                    <a:cubicBezTo>
                      <a:pt x="129" y="184"/>
                      <a:pt x="128" y="183"/>
                      <a:pt x="128" y="183"/>
                    </a:cubicBezTo>
                    <a:cubicBezTo>
                      <a:pt x="127" y="184"/>
                      <a:pt x="128" y="185"/>
                      <a:pt x="128" y="185"/>
                    </a:cubicBezTo>
                    <a:close/>
                    <a:moveTo>
                      <a:pt x="132" y="191"/>
                    </a:moveTo>
                    <a:cubicBezTo>
                      <a:pt x="131" y="191"/>
                      <a:pt x="131" y="192"/>
                      <a:pt x="131" y="192"/>
                    </a:cubicBezTo>
                    <a:cubicBezTo>
                      <a:pt x="132" y="192"/>
                      <a:pt x="132" y="192"/>
                      <a:pt x="132" y="191"/>
                    </a:cubicBezTo>
                    <a:close/>
                    <a:moveTo>
                      <a:pt x="0" y="91"/>
                    </a:moveTo>
                    <a:cubicBezTo>
                      <a:pt x="0" y="92"/>
                      <a:pt x="1" y="91"/>
                      <a:pt x="2" y="93"/>
                    </a:cubicBezTo>
                    <a:cubicBezTo>
                      <a:pt x="3" y="95"/>
                      <a:pt x="7" y="98"/>
                      <a:pt x="9" y="96"/>
                    </a:cubicBezTo>
                    <a:cubicBezTo>
                      <a:pt x="12" y="94"/>
                      <a:pt x="13" y="98"/>
                      <a:pt x="8" y="99"/>
                    </a:cubicBezTo>
                    <a:cubicBezTo>
                      <a:pt x="4" y="100"/>
                      <a:pt x="1" y="96"/>
                      <a:pt x="7" y="104"/>
                    </a:cubicBezTo>
                    <a:cubicBezTo>
                      <a:pt x="13" y="111"/>
                      <a:pt x="14" y="112"/>
                      <a:pt x="20" y="107"/>
                    </a:cubicBezTo>
                    <a:cubicBezTo>
                      <a:pt x="23" y="105"/>
                      <a:pt x="20" y="101"/>
                      <a:pt x="22" y="100"/>
                    </a:cubicBezTo>
                    <a:cubicBezTo>
                      <a:pt x="25" y="99"/>
                      <a:pt x="22" y="101"/>
                      <a:pt x="23" y="103"/>
                    </a:cubicBezTo>
                    <a:cubicBezTo>
                      <a:pt x="24" y="105"/>
                      <a:pt x="22" y="104"/>
                      <a:pt x="24" y="108"/>
                    </a:cubicBezTo>
                    <a:cubicBezTo>
                      <a:pt x="26" y="112"/>
                      <a:pt x="22" y="111"/>
                      <a:pt x="24" y="122"/>
                    </a:cubicBezTo>
                    <a:cubicBezTo>
                      <a:pt x="26" y="133"/>
                      <a:pt x="27" y="139"/>
                      <a:pt x="28" y="141"/>
                    </a:cubicBezTo>
                    <a:cubicBezTo>
                      <a:pt x="30" y="144"/>
                      <a:pt x="34" y="154"/>
                      <a:pt x="35" y="160"/>
                    </a:cubicBezTo>
                    <a:cubicBezTo>
                      <a:pt x="35" y="166"/>
                      <a:pt x="39" y="166"/>
                      <a:pt x="41" y="176"/>
                    </a:cubicBezTo>
                    <a:cubicBezTo>
                      <a:pt x="43" y="186"/>
                      <a:pt x="47" y="194"/>
                      <a:pt x="50" y="190"/>
                    </a:cubicBezTo>
                    <a:cubicBezTo>
                      <a:pt x="54" y="187"/>
                      <a:pt x="51" y="185"/>
                      <a:pt x="54" y="184"/>
                    </a:cubicBezTo>
                    <a:cubicBezTo>
                      <a:pt x="58" y="183"/>
                      <a:pt x="59" y="184"/>
                      <a:pt x="59" y="184"/>
                    </a:cubicBezTo>
                    <a:cubicBezTo>
                      <a:pt x="59" y="183"/>
                      <a:pt x="55" y="183"/>
                      <a:pt x="57" y="180"/>
                    </a:cubicBezTo>
                    <a:cubicBezTo>
                      <a:pt x="59" y="177"/>
                      <a:pt x="56" y="177"/>
                      <a:pt x="60" y="177"/>
                    </a:cubicBezTo>
                    <a:cubicBezTo>
                      <a:pt x="63" y="177"/>
                      <a:pt x="59" y="172"/>
                      <a:pt x="61" y="165"/>
                    </a:cubicBezTo>
                    <a:cubicBezTo>
                      <a:pt x="63" y="161"/>
                      <a:pt x="64" y="160"/>
                      <a:pt x="63" y="153"/>
                    </a:cubicBezTo>
                    <a:cubicBezTo>
                      <a:pt x="62" y="151"/>
                      <a:pt x="64" y="152"/>
                      <a:pt x="62" y="147"/>
                    </a:cubicBezTo>
                    <a:cubicBezTo>
                      <a:pt x="60" y="139"/>
                      <a:pt x="67" y="144"/>
                      <a:pt x="68" y="140"/>
                    </a:cubicBezTo>
                    <a:cubicBezTo>
                      <a:pt x="69" y="136"/>
                      <a:pt x="70" y="141"/>
                      <a:pt x="73" y="138"/>
                    </a:cubicBezTo>
                    <a:cubicBezTo>
                      <a:pt x="76" y="134"/>
                      <a:pt x="71" y="137"/>
                      <a:pt x="78" y="131"/>
                    </a:cubicBezTo>
                    <a:cubicBezTo>
                      <a:pt x="85" y="125"/>
                      <a:pt x="86" y="120"/>
                      <a:pt x="91" y="117"/>
                    </a:cubicBezTo>
                    <a:cubicBezTo>
                      <a:pt x="94" y="115"/>
                      <a:pt x="93" y="118"/>
                      <a:pt x="97" y="113"/>
                    </a:cubicBezTo>
                    <a:cubicBezTo>
                      <a:pt x="101" y="108"/>
                      <a:pt x="95" y="107"/>
                      <a:pt x="100" y="105"/>
                    </a:cubicBezTo>
                    <a:cubicBezTo>
                      <a:pt x="104" y="103"/>
                      <a:pt x="104" y="100"/>
                      <a:pt x="105" y="103"/>
                    </a:cubicBezTo>
                    <a:cubicBezTo>
                      <a:pt x="105" y="106"/>
                      <a:pt x="106" y="104"/>
                      <a:pt x="108" y="104"/>
                    </a:cubicBezTo>
                    <a:cubicBezTo>
                      <a:pt x="109" y="105"/>
                      <a:pt x="110" y="105"/>
                      <a:pt x="109" y="103"/>
                    </a:cubicBezTo>
                    <a:cubicBezTo>
                      <a:pt x="108" y="102"/>
                      <a:pt x="108" y="102"/>
                      <a:pt x="109" y="102"/>
                    </a:cubicBezTo>
                    <a:cubicBezTo>
                      <a:pt x="109" y="101"/>
                      <a:pt x="109" y="100"/>
                      <a:pt x="108" y="98"/>
                    </a:cubicBezTo>
                    <a:cubicBezTo>
                      <a:pt x="108" y="94"/>
                      <a:pt x="109" y="94"/>
                      <a:pt x="108" y="94"/>
                    </a:cubicBezTo>
                    <a:cubicBezTo>
                      <a:pt x="106" y="94"/>
                      <a:pt x="108" y="93"/>
                      <a:pt x="107" y="91"/>
                    </a:cubicBezTo>
                    <a:cubicBezTo>
                      <a:pt x="105" y="90"/>
                      <a:pt x="108" y="91"/>
                      <a:pt x="107" y="88"/>
                    </a:cubicBezTo>
                    <a:cubicBezTo>
                      <a:pt x="107" y="85"/>
                      <a:pt x="103" y="87"/>
                      <a:pt x="104" y="84"/>
                    </a:cubicBezTo>
                    <a:cubicBezTo>
                      <a:pt x="104" y="81"/>
                      <a:pt x="106" y="84"/>
                      <a:pt x="106" y="81"/>
                    </a:cubicBezTo>
                    <a:cubicBezTo>
                      <a:pt x="105" y="79"/>
                      <a:pt x="110" y="82"/>
                      <a:pt x="108" y="80"/>
                    </a:cubicBezTo>
                    <a:cubicBezTo>
                      <a:pt x="108" y="79"/>
                      <a:pt x="108" y="79"/>
                      <a:pt x="107" y="79"/>
                    </a:cubicBezTo>
                    <a:cubicBezTo>
                      <a:pt x="106" y="79"/>
                      <a:pt x="106" y="77"/>
                      <a:pt x="104" y="77"/>
                    </a:cubicBezTo>
                    <a:cubicBezTo>
                      <a:pt x="102" y="76"/>
                      <a:pt x="107" y="73"/>
                      <a:pt x="106" y="73"/>
                    </a:cubicBezTo>
                    <a:cubicBezTo>
                      <a:pt x="105" y="72"/>
                      <a:pt x="105" y="71"/>
                      <a:pt x="106" y="72"/>
                    </a:cubicBezTo>
                    <a:cubicBezTo>
                      <a:pt x="107" y="72"/>
                      <a:pt x="106" y="75"/>
                      <a:pt x="109" y="73"/>
                    </a:cubicBezTo>
                    <a:cubicBezTo>
                      <a:pt x="110" y="73"/>
                      <a:pt x="111" y="78"/>
                      <a:pt x="112" y="75"/>
                    </a:cubicBezTo>
                    <a:cubicBezTo>
                      <a:pt x="113" y="73"/>
                      <a:pt x="113" y="77"/>
                      <a:pt x="113" y="80"/>
                    </a:cubicBezTo>
                    <a:cubicBezTo>
                      <a:pt x="113" y="82"/>
                      <a:pt x="125" y="80"/>
                      <a:pt x="127" y="82"/>
                    </a:cubicBezTo>
                    <a:cubicBezTo>
                      <a:pt x="128" y="84"/>
                      <a:pt x="125" y="81"/>
                      <a:pt x="125" y="84"/>
                    </a:cubicBezTo>
                    <a:cubicBezTo>
                      <a:pt x="125" y="88"/>
                      <a:pt x="119" y="87"/>
                      <a:pt x="120" y="91"/>
                    </a:cubicBezTo>
                    <a:cubicBezTo>
                      <a:pt x="121" y="96"/>
                      <a:pt x="123" y="97"/>
                      <a:pt x="124" y="92"/>
                    </a:cubicBezTo>
                    <a:cubicBezTo>
                      <a:pt x="124" y="90"/>
                      <a:pt x="126" y="90"/>
                      <a:pt x="126" y="92"/>
                    </a:cubicBezTo>
                    <a:cubicBezTo>
                      <a:pt x="125" y="96"/>
                      <a:pt x="127" y="96"/>
                      <a:pt x="127" y="102"/>
                    </a:cubicBezTo>
                    <a:cubicBezTo>
                      <a:pt x="129" y="99"/>
                      <a:pt x="128" y="104"/>
                      <a:pt x="130" y="101"/>
                    </a:cubicBezTo>
                    <a:cubicBezTo>
                      <a:pt x="131" y="98"/>
                      <a:pt x="130" y="99"/>
                      <a:pt x="130" y="97"/>
                    </a:cubicBezTo>
                    <a:cubicBezTo>
                      <a:pt x="130" y="92"/>
                      <a:pt x="132" y="99"/>
                      <a:pt x="131" y="91"/>
                    </a:cubicBezTo>
                    <a:cubicBezTo>
                      <a:pt x="131" y="86"/>
                      <a:pt x="131" y="88"/>
                      <a:pt x="133" y="89"/>
                    </a:cubicBezTo>
                    <a:cubicBezTo>
                      <a:pt x="135" y="89"/>
                      <a:pt x="135" y="92"/>
                      <a:pt x="136" y="87"/>
                    </a:cubicBezTo>
                    <a:cubicBezTo>
                      <a:pt x="137" y="83"/>
                      <a:pt x="140" y="83"/>
                      <a:pt x="138" y="81"/>
                    </a:cubicBezTo>
                    <a:cubicBezTo>
                      <a:pt x="137" y="80"/>
                      <a:pt x="139" y="80"/>
                      <a:pt x="141" y="76"/>
                    </a:cubicBezTo>
                    <a:cubicBezTo>
                      <a:pt x="142" y="73"/>
                      <a:pt x="140" y="74"/>
                      <a:pt x="141" y="72"/>
                    </a:cubicBezTo>
                    <a:cubicBezTo>
                      <a:pt x="141" y="70"/>
                      <a:pt x="141" y="72"/>
                      <a:pt x="143" y="70"/>
                    </a:cubicBezTo>
                    <a:cubicBezTo>
                      <a:pt x="145" y="68"/>
                      <a:pt x="148" y="65"/>
                      <a:pt x="150" y="67"/>
                    </a:cubicBezTo>
                    <a:cubicBezTo>
                      <a:pt x="151" y="69"/>
                      <a:pt x="152" y="69"/>
                      <a:pt x="150" y="66"/>
                    </a:cubicBezTo>
                    <a:cubicBezTo>
                      <a:pt x="149" y="64"/>
                      <a:pt x="153" y="64"/>
                      <a:pt x="152" y="61"/>
                    </a:cubicBezTo>
                    <a:cubicBezTo>
                      <a:pt x="151" y="60"/>
                      <a:pt x="151" y="59"/>
                      <a:pt x="148" y="60"/>
                    </a:cubicBezTo>
                    <a:cubicBezTo>
                      <a:pt x="144" y="60"/>
                      <a:pt x="149" y="59"/>
                      <a:pt x="148" y="56"/>
                    </a:cubicBezTo>
                    <a:cubicBezTo>
                      <a:pt x="148" y="54"/>
                      <a:pt x="145" y="57"/>
                      <a:pt x="147" y="55"/>
                    </a:cubicBezTo>
                    <a:cubicBezTo>
                      <a:pt x="148" y="53"/>
                      <a:pt x="147" y="55"/>
                      <a:pt x="146" y="53"/>
                    </a:cubicBezTo>
                    <a:cubicBezTo>
                      <a:pt x="146" y="52"/>
                      <a:pt x="143" y="53"/>
                      <a:pt x="143" y="54"/>
                    </a:cubicBezTo>
                    <a:cubicBezTo>
                      <a:pt x="142" y="55"/>
                      <a:pt x="141" y="55"/>
                      <a:pt x="139" y="54"/>
                    </a:cubicBezTo>
                    <a:cubicBezTo>
                      <a:pt x="138" y="53"/>
                      <a:pt x="137" y="54"/>
                      <a:pt x="135" y="56"/>
                    </a:cubicBezTo>
                    <a:cubicBezTo>
                      <a:pt x="133" y="58"/>
                      <a:pt x="131" y="57"/>
                      <a:pt x="130" y="59"/>
                    </a:cubicBezTo>
                    <a:cubicBezTo>
                      <a:pt x="130" y="61"/>
                      <a:pt x="128" y="60"/>
                      <a:pt x="128" y="62"/>
                    </a:cubicBezTo>
                    <a:cubicBezTo>
                      <a:pt x="128" y="63"/>
                      <a:pt x="126" y="64"/>
                      <a:pt x="122" y="64"/>
                    </a:cubicBezTo>
                    <a:cubicBezTo>
                      <a:pt x="122" y="64"/>
                      <a:pt x="122" y="66"/>
                      <a:pt x="124" y="66"/>
                    </a:cubicBezTo>
                    <a:cubicBezTo>
                      <a:pt x="126" y="65"/>
                      <a:pt x="124" y="67"/>
                      <a:pt x="125" y="69"/>
                    </a:cubicBezTo>
                    <a:cubicBezTo>
                      <a:pt x="125" y="71"/>
                      <a:pt x="124" y="69"/>
                      <a:pt x="123" y="70"/>
                    </a:cubicBezTo>
                    <a:cubicBezTo>
                      <a:pt x="122" y="71"/>
                      <a:pt x="123" y="69"/>
                      <a:pt x="120" y="70"/>
                    </a:cubicBezTo>
                    <a:cubicBezTo>
                      <a:pt x="117" y="72"/>
                      <a:pt x="118" y="69"/>
                      <a:pt x="115" y="70"/>
                    </a:cubicBezTo>
                    <a:cubicBezTo>
                      <a:pt x="112" y="72"/>
                      <a:pt x="112" y="69"/>
                      <a:pt x="110" y="70"/>
                    </a:cubicBezTo>
                    <a:cubicBezTo>
                      <a:pt x="109" y="70"/>
                      <a:pt x="106" y="68"/>
                      <a:pt x="108" y="67"/>
                    </a:cubicBezTo>
                    <a:cubicBezTo>
                      <a:pt x="107" y="64"/>
                      <a:pt x="111" y="59"/>
                      <a:pt x="104" y="63"/>
                    </a:cubicBezTo>
                    <a:cubicBezTo>
                      <a:pt x="105" y="64"/>
                      <a:pt x="105" y="63"/>
                      <a:pt x="104" y="66"/>
                    </a:cubicBezTo>
                    <a:cubicBezTo>
                      <a:pt x="103" y="69"/>
                      <a:pt x="105" y="69"/>
                      <a:pt x="104" y="72"/>
                    </a:cubicBezTo>
                    <a:cubicBezTo>
                      <a:pt x="103" y="74"/>
                      <a:pt x="104" y="72"/>
                      <a:pt x="101" y="73"/>
                    </a:cubicBezTo>
                    <a:cubicBezTo>
                      <a:pt x="98" y="74"/>
                      <a:pt x="100" y="71"/>
                      <a:pt x="98" y="72"/>
                    </a:cubicBezTo>
                    <a:cubicBezTo>
                      <a:pt x="96" y="74"/>
                      <a:pt x="95" y="70"/>
                      <a:pt x="93" y="71"/>
                    </a:cubicBezTo>
                    <a:cubicBezTo>
                      <a:pt x="91" y="72"/>
                      <a:pt x="92" y="69"/>
                      <a:pt x="90" y="70"/>
                    </a:cubicBezTo>
                    <a:cubicBezTo>
                      <a:pt x="88" y="71"/>
                      <a:pt x="90" y="70"/>
                      <a:pt x="87" y="69"/>
                    </a:cubicBezTo>
                    <a:cubicBezTo>
                      <a:pt x="85" y="69"/>
                      <a:pt x="88" y="68"/>
                      <a:pt x="85" y="66"/>
                    </a:cubicBezTo>
                    <a:cubicBezTo>
                      <a:pt x="82" y="65"/>
                      <a:pt x="83" y="67"/>
                      <a:pt x="82" y="66"/>
                    </a:cubicBezTo>
                    <a:cubicBezTo>
                      <a:pt x="80" y="65"/>
                      <a:pt x="77" y="67"/>
                      <a:pt x="76" y="65"/>
                    </a:cubicBezTo>
                    <a:cubicBezTo>
                      <a:pt x="75" y="63"/>
                      <a:pt x="76" y="66"/>
                      <a:pt x="74" y="64"/>
                    </a:cubicBezTo>
                    <a:cubicBezTo>
                      <a:pt x="71" y="61"/>
                      <a:pt x="73" y="64"/>
                      <a:pt x="70" y="62"/>
                    </a:cubicBezTo>
                    <a:cubicBezTo>
                      <a:pt x="68" y="60"/>
                      <a:pt x="65" y="56"/>
                      <a:pt x="65" y="58"/>
                    </a:cubicBezTo>
                    <a:cubicBezTo>
                      <a:pt x="64" y="59"/>
                      <a:pt x="61" y="56"/>
                      <a:pt x="63" y="55"/>
                    </a:cubicBezTo>
                    <a:cubicBezTo>
                      <a:pt x="64" y="54"/>
                      <a:pt x="62" y="54"/>
                      <a:pt x="63" y="52"/>
                    </a:cubicBezTo>
                    <a:cubicBezTo>
                      <a:pt x="65" y="51"/>
                      <a:pt x="62" y="50"/>
                      <a:pt x="67" y="47"/>
                    </a:cubicBezTo>
                    <a:cubicBezTo>
                      <a:pt x="67" y="46"/>
                      <a:pt x="64" y="45"/>
                      <a:pt x="62" y="43"/>
                    </a:cubicBezTo>
                    <a:cubicBezTo>
                      <a:pt x="60" y="41"/>
                      <a:pt x="60" y="44"/>
                      <a:pt x="58" y="40"/>
                    </a:cubicBezTo>
                    <a:cubicBezTo>
                      <a:pt x="57" y="38"/>
                      <a:pt x="55" y="42"/>
                      <a:pt x="55" y="39"/>
                    </a:cubicBezTo>
                    <a:cubicBezTo>
                      <a:pt x="56" y="36"/>
                      <a:pt x="55" y="34"/>
                      <a:pt x="54" y="33"/>
                    </a:cubicBezTo>
                    <a:cubicBezTo>
                      <a:pt x="53" y="31"/>
                      <a:pt x="55" y="31"/>
                      <a:pt x="56" y="32"/>
                    </a:cubicBezTo>
                    <a:cubicBezTo>
                      <a:pt x="57" y="34"/>
                      <a:pt x="57" y="32"/>
                      <a:pt x="58" y="32"/>
                    </a:cubicBezTo>
                    <a:cubicBezTo>
                      <a:pt x="61" y="31"/>
                      <a:pt x="58" y="29"/>
                      <a:pt x="59" y="28"/>
                    </a:cubicBezTo>
                    <a:cubicBezTo>
                      <a:pt x="59" y="27"/>
                      <a:pt x="55" y="27"/>
                      <a:pt x="56" y="24"/>
                    </a:cubicBezTo>
                    <a:cubicBezTo>
                      <a:pt x="57" y="23"/>
                      <a:pt x="54" y="22"/>
                      <a:pt x="58" y="21"/>
                    </a:cubicBezTo>
                    <a:cubicBezTo>
                      <a:pt x="61" y="21"/>
                      <a:pt x="58" y="20"/>
                      <a:pt x="62" y="17"/>
                    </a:cubicBezTo>
                    <a:cubicBezTo>
                      <a:pt x="64" y="15"/>
                      <a:pt x="62" y="15"/>
                      <a:pt x="63" y="13"/>
                    </a:cubicBezTo>
                    <a:cubicBezTo>
                      <a:pt x="65" y="11"/>
                      <a:pt x="63" y="10"/>
                      <a:pt x="63" y="11"/>
                    </a:cubicBezTo>
                    <a:cubicBezTo>
                      <a:pt x="62" y="13"/>
                      <a:pt x="62" y="10"/>
                      <a:pt x="61" y="11"/>
                    </a:cubicBezTo>
                    <a:cubicBezTo>
                      <a:pt x="60" y="11"/>
                      <a:pt x="61" y="8"/>
                      <a:pt x="57" y="8"/>
                    </a:cubicBezTo>
                    <a:cubicBezTo>
                      <a:pt x="53" y="9"/>
                      <a:pt x="54" y="10"/>
                      <a:pt x="51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48" y="11"/>
                      <a:pt x="45" y="10"/>
                      <a:pt x="44" y="9"/>
                    </a:cubicBezTo>
                    <a:cubicBezTo>
                      <a:pt x="44" y="8"/>
                      <a:pt x="43" y="10"/>
                      <a:pt x="41" y="8"/>
                    </a:cubicBezTo>
                    <a:cubicBezTo>
                      <a:pt x="40" y="6"/>
                      <a:pt x="42" y="7"/>
                      <a:pt x="41" y="4"/>
                    </a:cubicBezTo>
                    <a:cubicBezTo>
                      <a:pt x="39" y="1"/>
                      <a:pt x="38" y="4"/>
                      <a:pt x="38" y="2"/>
                    </a:cubicBezTo>
                    <a:cubicBezTo>
                      <a:pt x="37" y="0"/>
                      <a:pt x="35" y="2"/>
                      <a:pt x="33" y="0"/>
                    </a:cubicBezTo>
                    <a:cubicBezTo>
                      <a:pt x="32" y="2"/>
                      <a:pt x="31" y="2"/>
                      <a:pt x="29" y="2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31" y="4"/>
                      <a:pt x="29" y="3"/>
                      <a:pt x="27" y="3"/>
                    </a:cubicBezTo>
                    <a:cubicBezTo>
                      <a:pt x="25" y="3"/>
                      <a:pt x="26" y="4"/>
                      <a:pt x="25" y="5"/>
                    </a:cubicBezTo>
                    <a:cubicBezTo>
                      <a:pt x="24" y="6"/>
                      <a:pt x="22" y="6"/>
                      <a:pt x="23" y="7"/>
                    </a:cubicBezTo>
                    <a:cubicBezTo>
                      <a:pt x="23" y="8"/>
                      <a:pt x="22" y="8"/>
                      <a:pt x="23" y="9"/>
                    </a:cubicBezTo>
                    <a:cubicBezTo>
                      <a:pt x="24" y="10"/>
                      <a:pt x="25" y="8"/>
                      <a:pt x="26" y="10"/>
                    </a:cubicBezTo>
                    <a:cubicBezTo>
                      <a:pt x="27" y="11"/>
                      <a:pt x="30" y="10"/>
                      <a:pt x="29" y="12"/>
                    </a:cubicBezTo>
                    <a:cubicBezTo>
                      <a:pt x="29" y="14"/>
                      <a:pt x="30" y="13"/>
                      <a:pt x="31" y="13"/>
                    </a:cubicBezTo>
                    <a:cubicBezTo>
                      <a:pt x="31" y="14"/>
                      <a:pt x="31" y="16"/>
                      <a:pt x="30" y="16"/>
                    </a:cubicBezTo>
                    <a:cubicBezTo>
                      <a:pt x="29" y="16"/>
                      <a:pt x="29" y="18"/>
                      <a:pt x="28" y="18"/>
                    </a:cubicBezTo>
                    <a:cubicBezTo>
                      <a:pt x="27" y="18"/>
                      <a:pt x="27" y="19"/>
                      <a:pt x="28" y="22"/>
                    </a:cubicBezTo>
                    <a:cubicBezTo>
                      <a:pt x="29" y="25"/>
                      <a:pt x="28" y="25"/>
                      <a:pt x="28" y="26"/>
                    </a:cubicBezTo>
                    <a:cubicBezTo>
                      <a:pt x="29" y="27"/>
                      <a:pt x="28" y="28"/>
                      <a:pt x="30" y="28"/>
                    </a:cubicBezTo>
                    <a:cubicBezTo>
                      <a:pt x="32" y="29"/>
                      <a:pt x="32" y="30"/>
                      <a:pt x="33" y="30"/>
                    </a:cubicBezTo>
                    <a:cubicBezTo>
                      <a:pt x="36" y="29"/>
                      <a:pt x="33" y="32"/>
                      <a:pt x="35" y="32"/>
                    </a:cubicBezTo>
                    <a:cubicBezTo>
                      <a:pt x="38" y="33"/>
                      <a:pt x="39" y="33"/>
                      <a:pt x="35" y="35"/>
                    </a:cubicBezTo>
                    <a:cubicBezTo>
                      <a:pt x="30" y="37"/>
                      <a:pt x="36" y="37"/>
                      <a:pt x="31" y="44"/>
                    </a:cubicBezTo>
                    <a:cubicBezTo>
                      <a:pt x="29" y="48"/>
                      <a:pt x="33" y="47"/>
                      <a:pt x="29" y="48"/>
                    </a:cubicBezTo>
                    <a:cubicBezTo>
                      <a:pt x="25" y="50"/>
                      <a:pt x="27" y="55"/>
                      <a:pt x="24" y="56"/>
                    </a:cubicBezTo>
                    <a:cubicBezTo>
                      <a:pt x="21" y="57"/>
                      <a:pt x="22" y="59"/>
                      <a:pt x="21" y="60"/>
                    </a:cubicBezTo>
                    <a:cubicBezTo>
                      <a:pt x="19" y="61"/>
                      <a:pt x="21" y="63"/>
                      <a:pt x="19" y="63"/>
                    </a:cubicBezTo>
                    <a:cubicBezTo>
                      <a:pt x="15" y="63"/>
                      <a:pt x="14" y="65"/>
                      <a:pt x="13" y="63"/>
                    </a:cubicBezTo>
                    <a:cubicBezTo>
                      <a:pt x="11" y="60"/>
                      <a:pt x="11" y="64"/>
                      <a:pt x="9" y="66"/>
                    </a:cubicBezTo>
                    <a:cubicBezTo>
                      <a:pt x="7" y="68"/>
                      <a:pt x="5" y="71"/>
                      <a:pt x="9" y="71"/>
                    </a:cubicBezTo>
                    <a:cubicBezTo>
                      <a:pt x="13" y="72"/>
                      <a:pt x="8" y="77"/>
                      <a:pt x="12" y="77"/>
                    </a:cubicBezTo>
                    <a:cubicBezTo>
                      <a:pt x="15" y="78"/>
                      <a:pt x="11" y="78"/>
                      <a:pt x="15" y="83"/>
                    </a:cubicBezTo>
                    <a:cubicBezTo>
                      <a:pt x="16" y="84"/>
                      <a:pt x="14" y="85"/>
                      <a:pt x="15" y="86"/>
                    </a:cubicBezTo>
                    <a:cubicBezTo>
                      <a:pt x="16" y="86"/>
                      <a:pt x="13" y="88"/>
                      <a:pt x="13" y="87"/>
                    </a:cubicBezTo>
                    <a:cubicBezTo>
                      <a:pt x="12" y="85"/>
                      <a:pt x="11" y="86"/>
                      <a:pt x="10" y="87"/>
                    </a:cubicBezTo>
                    <a:cubicBezTo>
                      <a:pt x="9" y="89"/>
                      <a:pt x="9" y="86"/>
                      <a:pt x="6" y="87"/>
                    </a:cubicBezTo>
                    <a:cubicBezTo>
                      <a:pt x="5" y="87"/>
                      <a:pt x="3" y="86"/>
                      <a:pt x="3" y="88"/>
                    </a:cubicBezTo>
                    <a:cubicBezTo>
                      <a:pt x="4" y="90"/>
                      <a:pt x="0" y="88"/>
                      <a:pt x="0" y="91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096C145-F7DE-1A4B-80D5-A5846A0053FF}"/>
                </a:ext>
              </a:extLst>
            </p:cNvPr>
            <p:cNvGrpSpPr/>
            <p:nvPr userDrawn="1"/>
          </p:nvGrpSpPr>
          <p:grpSpPr>
            <a:xfrm>
              <a:off x="6420688" y="3428399"/>
              <a:ext cx="2070430" cy="2240260"/>
              <a:chOff x="6420688" y="3428399"/>
              <a:chExt cx="2070430" cy="2240260"/>
            </a:xfrm>
            <a:grpFill/>
          </p:grpSpPr>
          <p:sp>
            <p:nvSpPr>
              <p:cNvPr id="15" name="Freeform 20115">
                <a:extLst>
                  <a:ext uri="{FF2B5EF4-FFF2-40B4-BE49-F238E27FC236}">
                    <a16:creationId xmlns:a16="http://schemas.microsoft.com/office/drawing/2014/main" id="{6EB9F69F-DC5D-B640-96D0-BE6BFB83E0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62903" y="5271748"/>
                <a:ext cx="291959" cy="396911"/>
              </a:xfrm>
              <a:custGeom>
                <a:avLst/>
                <a:gdLst/>
                <a:ahLst/>
                <a:cxnLst>
                  <a:cxn ang="0">
                    <a:pos x="31" y="44"/>
                  </a:cxn>
                  <a:cxn ang="0">
                    <a:pos x="35" y="44"/>
                  </a:cxn>
                  <a:cxn ang="0">
                    <a:pos x="35" y="45"/>
                  </a:cxn>
                  <a:cxn ang="0">
                    <a:pos x="37" y="48"/>
                  </a:cxn>
                  <a:cxn ang="0">
                    <a:pos x="41" y="49"/>
                  </a:cxn>
                  <a:cxn ang="0">
                    <a:pos x="41" y="53"/>
                  </a:cxn>
                  <a:cxn ang="0">
                    <a:pos x="35" y="61"/>
                  </a:cxn>
                  <a:cxn ang="0">
                    <a:pos x="35" y="65"/>
                  </a:cxn>
                  <a:cxn ang="0">
                    <a:pos x="34" y="67"/>
                  </a:cxn>
                  <a:cxn ang="0">
                    <a:pos x="26" y="73"/>
                  </a:cxn>
                  <a:cxn ang="0">
                    <a:pos x="24" y="81"/>
                  </a:cxn>
                  <a:cxn ang="0">
                    <a:pos x="20" y="85"/>
                  </a:cxn>
                  <a:cxn ang="0">
                    <a:pos x="12" y="87"/>
                  </a:cxn>
                  <a:cxn ang="0">
                    <a:pos x="9" y="85"/>
                  </a:cxn>
                  <a:cxn ang="0">
                    <a:pos x="6" y="84"/>
                  </a:cxn>
                  <a:cxn ang="0">
                    <a:pos x="1" y="83"/>
                  </a:cxn>
                  <a:cxn ang="0">
                    <a:pos x="3" y="80"/>
                  </a:cxn>
                  <a:cxn ang="0">
                    <a:pos x="6" y="74"/>
                  </a:cxn>
                  <a:cxn ang="0">
                    <a:pos x="13" y="68"/>
                  </a:cxn>
                  <a:cxn ang="0">
                    <a:pos x="16" y="65"/>
                  </a:cxn>
                  <a:cxn ang="0">
                    <a:pos x="23" y="61"/>
                  </a:cxn>
                  <a:cxn ang="0">
                    <a:pos x="29" y="51"/>
                  </a:cxn>
                  <a:cxn ang="0">
                    <a:pos x="31" y="44"/>
                  </a:cxn>
                  <a:cxn ang="0">
                    <a:pos x="49" y="50"/>
                  </a:cxn>
                  <a:cxn ang="0">
                    <a:pos x="56" y="36"/>
                  </a:cxn>
                  <a:cxn ang="0">
                    <a:pos x="60" y="34"/>
                  </a:cxn>
                  <a:cxn ang="0">
                    <a:pos x="62" y="30"/>
                  </a:cxn>
                  <a:cxn ang="0">
                    <a:pos x="64" y="24"/>
                  </a:cxn>
                  <a:cxn ang="0">
                    <a:pos x="60" y="23"/>
                  </a:cxn>
                  <a:cxn ang="0">
                    <a:pos x="53" y="23"/>
                  </a:cxn>
                  <a:cxn ang="0">
                    <a:pos x="49" y="15"/>
                  </a:cxn>
                  <a:cxn ang="0">
                    <a:pos x="49" y="18"/>
                  </a:cxn>
                  <a:cxn ang="0">
                    <a:pos x="45" y="14"/>
                  </a:cxn>
                  <a:cxn ang="0">
                    <a:pos x="43" y="10"/>
                  </a:cxn>
                  <a:cxn ang="0">
                    <a:pos x="42" y="6"/>
                  </a:cxn>
                  <a:cxn ang="0">
                    <a:pos x="38" y="3"/>
                  </a:cxn>
                  <a:cxn ang="0">
                    <a:pos x="34" y="0"/>
                  </a:cxn>
                  <a:cxn ang="0">
                    <a:pos x="35" y="3"/>
                  </a:cxn>
                  <a:cxn ang="0">
                    <a:pos x="37" y="6"/>
                  </a:cxn>
                  <a:cxn ang="0">
                    <a:pos x="41" y="13"/>
                  </a:cxn>
                  <a:cxn ang="0">
                    <a:pos x="42" y="15"/>
                  </a:cxn>
                  <a:cxn ang="0">
                    <a:pos x="44" y="20"/>
                  </a:cxn>
                  <a:cxn ang="0">
                    <a:pos x="44" y="28"/>
                  </a:cxn>
                  <a:cxn ang="0">
                    <a:pos x="39" y="34"/>
                  </a:cxn>
                  <a:cxn ang="0">
                    <a:pos x="45" y="39"/>
                  </a:cxn>
                  <a:cxn ang="0">
                    <a:pos x="45" y="47"/>
                  </a:cxn>
                  <a:cxn ang="0">
                    <a:pos x="45" y="49"/>
                  </a:cxn>
                  <a:cxn ang="0">
                    <a:pos x="49" y="50"/>
                  </a:cxn>
                </a:cxnLst>
                <a:rect l="0" t="0" r="r" b="b"/>
                <a:pathLst>
                  <a:path w="65" h="88">
                    <a:moveTo>
                      <a:pt x="31" y="44"/>
                    </a:moveTo>
                    <a:cubicBezTo>
                      <a:pt x="34" y="41"/>
                      <a:pt x="36" y="43"/>
                      <a:pt x="35" y="44"/>
                    </a:cubicBezTo>
                    <a:cubicBezTo>
                      <a:pt x="33" y="44"/>
                      <a:pt x="34" y="45"/>
                      <a:pt x="35" y="45"/>
                    </a:cubicBezTo>
                    <a:cubicBezTo>
                      <a:pt x="36" y="45"/>
                      <a:pt x="34" y="51"/>
                      <a:pt x="37" y="48"/>
                    </a:cubicBezTo>
                    <a:cubicBezTo>
                      <a:pt x="41" y="45"/>
                      <a:pt x="43" y="46"/>
                      <a:pt x="41" y="49"/>
                    </a:cubicBezTo>
                    <a:cubicBezTo>
                      <a:pt x="40" y="51"/>
                      <a:pt x="44" y="50"/>
                      <a:pt x="41" y="53"/>
                    </a:cubicBezTo>
                    <a:cubicBezTo>
                      <a:pt x="38" y="57"/>
                      <a:pt x="37" y="61"/>
                      <a:pt x="35" y="61"/>
                    </a:cubicBezTo>
                    <a:cubicBezTo>
                      <a:pt x="34" y="61"/>
                      <a:pt x="33" y="65"/>
                      <a:pt x="35" y="65"/>
                    </a:cubicBezTo>
                    <a:cubicBezTo>
                      <a:pt x="37" y="66"/>
                      <a:pt x="36" y="68"/>
                      <a:pt x="34" y="67"/>
                    </a:cubicBezTo>
                    <a:cubicBezTo>
                      <a:pt x="33" y="67"/>
                      <a:pt x="26" y="68"/>
                      <a:pt x="26" y="73"/>
                    </a:cubicBezTo>
                    <a:cubicBezTo>
                      <a:pt x="26" y="77"/>
                      <a:pt x="22" y="79"/>
                      <a:pt x="24" y="81"/>
                    </a:cubicBezTo>
                    <a:cubicBezTo>
                      <a:pt x="25" y="83"/>
                      <a:pt x="22" y="81"/>
                      <a:pt x="20" y="85"/>
                    </a:cubicBezTo>
                    <a:cubicBezTo>
                      <a:pt x="17" y="88"/>
                      <a:pt x="15" y="88"/>
                      <a:pt x="12" y="87"/>
                    </a:cubicBezTo>
                    <a:cubicBezTo>
                      <a:pt x="9" y="87"/>
                      <a:pt x="11" y="85"/>
                      <a:pt x="9" y="85"/>
                    </a:cubicBezTo>
                    <a:cubicBezTo>
                      <a:pt x="7" y="86"/>
                      <a:pt x="8" y="83"/>
                      <a:pt x="6" y="84"/>
                    </a:cubicBezTo>
                    <a:cubicBezTo>
                      <a:pt x="4" y="86"/>
                      <a:pt x="2" y="85"/>
                      <a:pt x="1" y="83"/>
                    </a:cubicBezTo>
                    <a:cubicBezTo>
                      <a:pt x="0" y="81"/>
                      <a:pt x="4" y="82"/>
                      <a:pt x="3" y="80"/>
                    </a:cubicBezTo>
                    <a:cubicBezTo>
                      <a:pt x="2" y="78"/>
                      <a:pt x="4" y="76"/>
                      <a:pt x="6" y="74"/>
                    </a:cubicBezTo>
                    <a:cubicBezTo>
                      <a:pt x="9" y="72"/>
                      <a:pt x="10" y="68"/>
                      <a:pt x="13" y="68"/>
                    </a:cubicBezTo>
                    <a:cubicBezTo>
                      <a:pt x="15" y="68"/>
                      <a:pt x="15" y="66"/>
                      <a:pt x="16" y="65"/>
                    </a:cubicBezTo>
                    <a:cubicBezTo>
                      <a:pt x="18" y="65"/>
                      <a:pt x="20" y="62"/>
                      <a:pt x="23" y="61"/>
                    </a:cubicBezTo>
                    <a:cubicBezTo>
                      <a:pt x="25" y="59"/>
                      <a:pt x="26" y="52"/>
                      <a:pt x="29" y="51"/>
                    </a:cubicBezTo>
                    <a:cubicBezTo>
                      <a:pt x="32" y="50"/>
                      <a:pt x="29" y="46"/>
                      <a:pt x="31" y="44"/>
                    </a:cubicBezTo>
                    <a:close/>
                    <a:moveTo>
                      <a:pt x="49" y="50"/>
                    </a:moveTo>
                    <a:cubicBezTo>
                      <a:pt x="50" y="49"/>
                      <a:pt x="58" y="38"/>
                      <a:pt x="56" y="36"/>
                    </a:cubicBezTo>
                    <a:cubicBezTo>
                      <a:pt x="55" y="35"/>
                      <a:pt x="57" y="31"/>
                      <a:pt x="60" y="34"/>
                    </a:cubicBezTo>
                    <a:cubicBezTo>
                      <a:pt x="63" y="36"/>
                      <a:pt x="59" y="30"/>
                      <a:pt x="62" y="30"/>
                    </a:cubicBezTo>
                    <a:cubicBezTo>
                      <a:pt x="64" y="29"/>
                      <a:pt x="63" y="25"/>
                      <a:pt x="64" y="24"/>
                    </a:cubicBezTo>
                    <a:cubicBezTo>
                      <a:pt x="65" y="22"/>
                      <a:pt x="61" y="21"/>
                      <a:pt x="60" y="23"/>
                    </a:cubicBezTo>
                    <a:cubicBezTo>
                      <a:pt x="59" y="26"/>
                      <a:pt x="56" y="25"/>
                      <a:pt x="53" y="23"/>
                    </a:cubicBezTo>
                    <a:cubicBezTo>
                      <a:pt x="50" y="21"/>
                      <a:pt x="51" y="17"/>
                      <a:pt x="49" y="15"/>
                    </a:cubicBezTo>
                    <a:cubicBezTo>
                      <a:pt x="47" y="12"/>
                      <a:pt x="47" y="15"/>
                      <a:pt x="49" y="18"/>
                    </a:cubicBezTo>
                    <a:cubicBezTo>
                      <a:pt x="50" y="21"/>
                      <a:pt x="44" y="17"/>
                      <a:pt x="45" y="14"/>
                    </a:cubicBezTo>
                    <a:cubicBezTo>
                      <a:pt x="45" y="12"/>
                      <a:pt x="43" y="12"/>
                      <a:pt x="43" y="10"/>
                    </a:cubicBezTo>
                    <a:cubicBezTo>
                      <a:pt x="43" y="8"/>
                      <a:pt x="43" y="8"/>
                      <a:pt x="42" y="6"/>
                    </a:cubicBezTo>
                    <a:cubicBezTo>
                      <a:pt x="41" y="4"/>
                      <a:pt x="40" y="4"/>
                      <a:pt x="38" y="3"/>
                    </a:cubicBezTo>
                    <a:cubicBezTo>
                      <a:pt x="36" y="3"/>
                      <a:pt x="37" y="0"/>
                      <a:pt x="34" y="0"/>
                    </a:cubicBezTo>
                    <a:cubicBezTo>
                      <a:pt x="32" y="0"/>
                      <a:pt x="33" y="0"/>
                      <a:pt x="35" y="3"/>
                    </a:cubicBezTo>
                    <a:cubicBezTo>
                      <a:pt x="37" y="5"/>
                      <a:pt x="35" y="4"/>
                      <a:pt x="37" y="6"/>
                    </a:cubicBezTo>
                    <a:cubicBezTo>
                      <a:pt x="38" y="9"/>
                      <a:pt x="40" y="15"/>
                      <a:pt x="41" y="13"/>
                    </a:cubicBezTo>
                    <a:cubicBezTo>
                      <a:pt x="42" y="11"/>
                      <a:pt x="43" y="16"/>
                      <a:pt x="42" y="15"/>
                    </a:cubicBezTo>
                    <a:cubicBezTo>
                      <a:pt x="41" y="14"/>
                      <a:pt x="41" y="15"/>
                      <a:pt x="44" y="20"/>
                    </a:cubicBezTo>
                    <a:cubicBezTo>
                      <a:pt x="46" y="25"/>
                      <a:pt x="44" y="25"/>
                      <a:pt x="44" y="28"/>
                    </a:cubicBezTo>
                    <a:cubicBezTo>
                      <a:pt x="44" y="32"/>
                      <a:pt x="40" y="32"/>
                      <a:pt x="39" y="34"/>
                    </a:cubicBezTo>
                    <a:cubicBezTo>
                      <a:pt x="39" y="36"/>
                      <a:pt x="43" y="38"/>
                      <a:pt x="45" y="39"/>
                    </a:cubicBezTo>
                    <a:cubicBezTo>
                      <a:pt x="48" y="40"/>
                      <a:pt x="46" y="46"/>
                      <a:pt x="45" y="47"/>
                    </a:cubicBezTo>
                    <a:cubicBezTo>
                      <a:pt x="44" y="48"/>
                      <a:pt x="42" y="48"/>
                      <a:pt x="45" y="49"/>
                    </a:cubicBezTo>
                    <a:cubicBezTo>
                      <a:pt x="47" y="49"/>
                      <a:pt x="46" y="52"/>
                      <a:pt x="49" y="50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6" name="Freeform 20149">
                <a:extLst>
                  <a:ext uri="{FF2B5EF4-FFF2-40B4-BE49-F238E27FC236}">
                    <a16:creationId xmlns:a16="http://schemas.microsoft.com/office/drawing/2014/main" id="{BBD8E7EC-04BA-BA4B-8EBE-F4C1B8A70E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20688" y="3428399"/>
                <a:ext cx="211814" cy="555294"/>
              </a:xfrm>
              <a:custGeom>
                <a:avLst/>
                <a:gdLst/>
                <a:ahLst/>
                <a:cxnLst>
                  <a:cxn ang="0">
                    <a:pos x="3" y="56"/>
                  </a:cxn>
                  <a:cxn ang="0">
                    <a:pos x="8" y="60"/>
                  </a:cxn>
                  <a:cxn ang="0">
                    <a:pos x="7" y="62"/>
                  </a:cxn>
                  <a:cxn ang="0">
                    <a:pos x="10" y="65"/>
                  </a:cxn>
                  <a:cxn ang="0">
                    <a:pos x="11" y="84"/>
                  </a:cxn>
                  <a:cxn ang="0">
                    <a:pos x="13" y="84"/>
                  </a:cxn>
                  <a:cxn ang="0">
                    <a:pos x="21" y="81"/>
                  </a:cxn>
                  <a:cxn ang="0">
                    <a:pos x="26" y="76"/>
                  </a:cxn>
                  <a:cxn ang="0">
                    <a:pos x="29" y="80"/>
                  </a:cxn>
                  <a:cxn ang="0">
                    <a:pos x="29" y="88"/>
                  </a:cxn>
                  <a:cxn ang="0">
                    <a:pos x="32" y="99"/>
                  </a:cxn>
                  <a:cxn ang="0">
                    <a:pos x="34" y="108"/>
                  </a:cxn>
                  <a:cxn ang="0">
                    <a:pos x="34" y="115"/>
                  </a:cxn>
                  <a:cxn ang="0">
                    <a:pos x="34" y="120"/>
                  </a:cxn>
                  <a:cxn ang="0">
                    <a:pos x="39" y="111"/>
                  </a:cxn>
                  <a:cxn ang="0">
                    <a:pos x="38" y="108"/>
                  </a:cxn>
                  <a:cxn ang="0">
                    <a:pos x="34" y="94"/>
                  </a:cxn>
                  <a:cxn ang="0">
                    <a:pos x="33" y="88"/>
                  </a:cxn>
                  <a:cxn ang="0">
                    <a:pos x="34" y="82"/>
                  </a:cxn>
                  <a:cxn ang="0">
                    <a:pos x="32" y="76"/>
                  </a:cxn>
                  <a:cxn ang="0">
                    <a:pos x="27" y="68"/>
                  </a:cxn>
                  <a:cxn ang="0">
                    <a:pos x="30" y="63"/>
                  </a:cxn>
                  <a:cxn ang="0">
                    <a:pos x="33" y="60"/>
                  </a:cxn>
                  <a:cxn ang="0">
                    <a:pos x="38" y="57"/>
                  </a:cxn>
                  <a:cxn ang="0">
                    <a:pos x="42" y="55"/>
                  </a:cxn>
                  <a:cxn ang="0">
                    <a:pos x="47" y="48"/>
                  </a:cxn>
                  <a:cxn ang="0">
                    <a:pos x="42" y="48"/>
                  </a:cxn>
                  <a:cxn ang="0">
                    <a:pos x="40" y="44"/>
                  </a:cxn>
                  <a:cxn ang="0">
                    <a:pos x="37" y="39"/>
                  </a:cxn>
                  <a:cxn ang="0">
                    <a:pos x="34" y="34"/>
                  </a:cxn>
                  <a:cxn ang="0">
                    <a:pos x="30" y="32"/>
                  </a:cxn>
                  <a:cxn ang="0">
                    <a:pos x="29" y="27"/>
                  </a:cxn>
                  <a:cxn ang="0">
                    <a:pos x="32" y="21"/>
                  </a:cxn>
                  <a:cxn ang="0">
                    <a:pos x="34" y="15"/>
                  </a:cxn>
                  <a:cxn ang="0">
                    <a:pos x="33" y="8"/>
                  </a:cxn>
                  <a:cxn ang="0">
                    <a:pos x="27" y="4"/>
                  </a:cxn>
                  <a:cxn ang="0">
                    <a:pos x="25" y="10"/>
                  </a:cxn>
                  <a:cxn ang="0">
                    <a:pos x="16" y="15"/>
                  </a:cxn>
                  <a:cxn ang="0">
                    <a:pos x="13" y="24"/>
                  </a:cxn>
                  <a:cxn ang="0">
                    <a:pos x="8" y="32"/>
                  </a:cxn>
                  <a:cxn ang="0">
                    <a:pos x="5" y="40"/>
                  </a:cxn>
                  <a:cxn ang="0">
                    <a:pos x="2" y="45"/>
                  </a:cxn>
                </a:cxnLst>
                <a:rect l="0" t="0" r="r" b="b"/>
                <a:pathLst>
                  <a:path w="47" h="123">
                    <a:moveTo>
                      <a:pt x="0" y="51"/>
                    </a:moveTo>
                    <a:cubicBezTo>
                      <a:pt x="1" y="51"/>
                      <a:pt x="1" y="54"/>
                      <a:pt x="3" y="56"/>
                    </a:cubicBezTo>
                    <a:cubicBezTo>
                      <a:pt x="5" y="58"/>
                      <a:pt x="5" y="60"/>
                      <a:pt x="5" y="58"/>
                    </a:cubicBezTo>
                    <a:cubicBezTo>
                      <a:pt x="6" y="56"/>
                      <a:pt x="7" y="58"/>
                      <a:pt x="8" y="60"/>
                    </a:cubicBezTo>
                    <a:cubicBezTo>
                      <a:pt x="9" y="61"/>
                      <a:pt x="11" y="61"/>
                      <a:pt x="9" y="62"/>
                    </a:cubicBezTo>
                    <a:cubicBezTo>
                      <a:pt x="8" y="63"/>
                      <a:pt x="8" y="61"/>
                      <a:pt x="7" y="62"/>
                    </a:cubicBezTo>
                    <a:cubicBezTo>
                      <a:pt x="6" y="63"/>
                      <a:pt x="9" y="66"/>
                      <a:pt x="9" y="65"/>
                    </a:cubicBezTo>
                    <a:cubicBezTo>
                      <a:pt x="9" y="64"/>
                      <a:pt x="10" y="62"/>
                      <a:pt x="10" y="65"/>
                    </a:cubicBezTo>
                    <a:cubicBezTo>
                      <a:pt x="11" y="68"/>
                      <a:pt x="14" y="72"/>
                      <a:pt x="13" y="75"/>
                    </a:cubicBezTo>
                    <a:cubicBezTo>
                      <a:pt x="12" y="79"/>
                      <a:pt x="10" y="84"/>
                      <a:pt x="11" y="84"/>
                    </a:cubicBezTo>
                    <a:cubicBezTo>
                      <a:pt x="12" y="84"/>
                      <a:pt x="12" y="81"/>
                      <a:pt x="13" y="82"/>
                    </a:cubicBezTo>
                    <a:cubicBezTo>
                      <a:pt x="14" y="82"/>
                      <a:pt x="12" y="83"/>
                      <a:pt x="13" y="84"/>
                    </a:cubicBezTo>
                    <a:cubicBezTo>
                      <a:pt x="15" y="86"/>
                      <a:pt x="14" y="83"/>
                      <a:pt x="16" y="85"/>
                    </a:cubicBezTo>
                    <a:cubicBezTo>
                      <a:pt x="18" y="87"/>
                      <a:pt x="18" y="82"/>
                      <a:pt x="21" y="81"/>
                    </a:cubicBezTo>
                    <a:cubicBezTo>
                      <a:pt x="23" y="80"/>
                      <a:pt x="26" y="79"/>
                      <a:pt x="25" y="74"/>
                    </a:cubicBezTo>
                    <a:cubicBezTo>
                      <a:pt x="25" y="75"/>
                      <a:pt x="26" y="75"/>
                      <a:pt x="26" y="76"/>
                    </a:cubicBezTo>
                    <a:cubicBezTo>
                      <a:pt x="26" y="77"/>
                      <a:pt x="26" y="76"/>
                      <a:pt x="27" y="79"/>
                    </a:cubicBezTo>
                    <a:cubicBezTo>
                      <a:pt x="27" y="81"/>
                      <a:pt x="28" y="80"/>
                      <a:pt x="29" y="80"/>
                    </a:cubicBezTo>
                    <a:cubicBezTo>
                      <a:pt x="30" y="80"/>
                      <a:pt x="28" y="81"/>
                      <a:pt x="28" y="82"/>
                    </a:cubicBezTo>
                    <a:cubicBezTo>
                      <a:pt x="28" y="84"/>
                      <a:pt x="29" y="84"/>
                      <a:pt x="29" y="88"/>
                    </a:cubicBezTo>
                    <a:cubicBezTo>
                      <a:pt x="29" y="93"/>
                      <a:pt x="31" y="94"/>
                      <a:pt x="31" y="96"/>
                    </a:cubicBezTo>
                    <a:cubicBezTo>
                      <a:pt x="31" y="102"/>
                      <a:pt x="31" y="96"/>
                      <a:pt x="32" y="99"/>
                    </a:cubicBezTo>
                    <a:cubicBezTo>
                      <a:pt x="33" y="101"/>
                      <a:pt x="33" y="103"/>
                      <a:pt x="34" y="104"/>
                    </a:cubicBezTo>
                    <a:cubicBezTo>
                      <a:pt x="34" y="106"/>
                      <a:pt x="33" y="107"/>
                      <a:pt x="34" y="108"/>
                    </a:cubicBezTo>
                    <a:cubicBezTo>
                      <a:pt x="35" y="109"/>
                      <a:pt x="32" y="111"/>
                      <a:pt x="34" y="111"/>
                    </a:cubicBezTo>
                    <a:cubicBezTo>
                      <a:pt x="36" y="111"/>
                      <a:pt x="34" y="113"/>
                      <a:pt x="34" y="115"/>
                    </a:cubicBezTo>
                    <a:cubicBezTo>
                      <a:pt x="34" y="117"/>
                      <a:pt x="33" y="115"/>
                      <a:pt x="33" y="121"/>
                    </a:cubicBezTo>
                    <a:cubicBezTo>
                      <a:pt x="33" y="123"/>
                      <a:pt x="34" y="122"/>
                      <a:pt x="34" y="120"/>
                    </a:cubicBezTo>
                    <a:cubicBezTo>
                      <a:pt x="35" y="118"/>
                      <a:pt x="34" y="118"/>
                      <a:pt x="36" y="116"/>
                    </a:cubicBezTo>
                    <a:cubicBezTo>
                      <a:pt x="38" y="113"/>
                      <a:pt x="37" y="113"/>
                      <a:pt x="39" y="111"/>
                    </a:cubicBezTo>
                    <a:cubicBezTo>
                      <a:pt x="40" y="110"/>
                      <a:pt x="39" y="111"/>
                      <a:pt x="39" y="109"/>
                    </a:cubicBezTo>
                    <a:cubicBezTo>
                      <a:pt x="39" y="108"/>
                      <a:pt x="38" y="109"/>
                      <a:pt x="38" y="108"/>
                    </a:cubicBezTo>
                    <a:cubicBezTo>
                      <a:pt x="38" y="107"/>
                      <a:pt x="38" y="105"/>
                      <a:pt x="36" y="102"/>
                    </a:cubicBezTo>
                    <a:cubicBezTo>
                      <a:pt x="38" y="99"/>
                      <a:pt x="37" y="97"/>
                      <a:pt x="34" y="94"/>
                    </a:cubicBezTo>
                    <a:cubicBezTo>
                      <a:pt x="31" y="91"/>
                      <a:pt x="31" y="88"/>
                      <a:pt x="32" y="88"/>
                    </a:cubicBezTo>
                    <a:cubicBezTo>
                      <a:pt x="33" y="89"/>
                      <a:pt x="32" y="87"/>
                      <a:pt x="33" y="88"/>
                    </a:cubicBezTo>
                    <a:cubicBezTo>
                      <a:pt x="34" y="88"/>
                      <a:pt x="33" y="83"/>
                      <a:pt x="34" y="83"/>
                    </a:cubicBezTo>
                    <a:cubicBezTo>
                      <a:pt x="36" y="83"/>
                      <a:pt x="36" y="79"/>
                      <a:pt x="34" y="82"/>
                    </a:cubicBezTo>
                    <a:cubicBezTo>
                      <a:pt x="34" y="82"/>
                      <a:pt x="33" y="80"/>
                      <a:pt x="33" y="78"/>
                    </a:cubicBezTo>
                    <a:cubicBezTo>
                      <a:pt x="33" y="76"/>
                      <a:pt x="33" y="78"/>
                      <a:pt x="32" y="76"/>
                    </a:cubicBezTo>
                    <a:cubicBezTo>
                      <a:pt x="30" y="74"/>
                      <a:pt x="29" y="73"/>
                      <a:pt x="29" y="70"/>
                    </a:cubicBezTo>
                    <a:cubicBezTo>
                      <a:pt x="29" y="67"/>
                      <a:pt x="28" y="70"/>
                      <a:pt x="27" y="68"/>
                    </a:cubicBezTo>
                    <a:cubicBezTo>
                      <a:pt x="27" y="66"/>
                      <a:pt x="30" y="69"/>
                      <a:pt x="29" y="66"/>
                    </a:cubicBezTo>
                    <a:cubicBezTo>
                      <a:pt x="28" y="63"/>
                      <a:pt x="31" y="65"/>
                      <a:pt x="30" y="63"/>
                    </a:cubicBezTo>
                    <a:cubicBezTo>
                      <a:pt x="29" y="61"/>
                      <a:pt x="30" y="62"/>
                      <a:pt x="31" y="60"/>
                    </a:cubicBezTo>
                    <a:cubicBezTo>
                      <a:pt x="31" y="58"/>
                      <a:pt x="31" y="61"/>
                      <a:pt x="33" y="60"/>
                    </a:cubicBezTo>
                    <a:cubicBezTo>
                      <a:pt x="35" y="59"/>
                      <a:pt x="36" y="60"/>
                      <a:pt x="36" y="58"/>
                    </a:cubicBezTo>
                    <a:cubicBezTo>
                      <a:pt x="37" y="56"/>
                      <a:pt x="37" y="58"/>
                      <a:pt x="38" y="57"/>
                    </a:cubicBezTo>
                    <a:cubicBezTo>
                      <a:pt x="39" y="57"/>
                      <a:pt x="37" y="55"/>
                      <a:pt x="39" y="56"/>
                    </a:cubicBezTo>
                    <a:cubicBezTo>
                      <a:pt x="41" y="56"/>
                      <a:pt x="40" y="55"/>
                      <a:pt x="42" y="55"/>
                    </a:cubicBezTo>
                    <a:cubicBezTo>
                      <a:pt x="42" y="51"/>
                      <a:pt x="43" y="54"/>
                      <a:pt x="44" y="51"/>
                    </a:cubicBezTo>
                    <a:cubicBezTo>
                      <a:pt x="44" y="48"/>
                      <a:pt x="46" y="49"/>
                      <a:pt x="47" y="48"/>
                    </a:cubicBezTo>
                    <a:cubicBezTo>
                      <a:pt x="47" y="47"/>
                      <a:pt x="47" y="45"/>
                      <a:pt x="45" y="47"/>
                    </a:cubicBezTo>
                    <a:cubicBezTo>
                      <a:pt x="43" y="50"/>
                      <a:pt x="43" y="48"/>
                      <a:pt x="42" y="48"/>
                    </a:cubicBezTo>
                    <a:cubicBezTo>
                      <a:pt x="41" y="49"/>
                      <a:pt x="42" y="47"/>
                      <a:pt x="41" y="47"/>
                    </a:cubicBezTo>
                    <a:cubicBezTo>
                      <a:pt x="40" y="46"/>
                      <a:pt x="41" y="45"/>
                      <a:pt x="40" y="44"/>
                    </a:cubicBezTo>
                    <a:cubicBezTo>
                      <a:pt x="39" y="44"/>
                      <a:pt x="36" y="45"/>
                      <a:pt x="37" y="43"/>
                    </a:cubicBezTo>
                    <a:cubicBezTo>
                      <a:pt x="38" y="40"/>
                      <a:pt x="37" y="41"/>
                      <a:pt x="37" y="39"/>
                    </a:cubicBezTo>
                    <a:cubicBezTo>
                      <a:pt x="38" y="38"/>
                      <a:pt x="40" y="38"/>
                      <a:pt x="37" y="38"/>
                    </a:cubicBezTo>
                    <a:cubicBezTo>
                      <a:pt x="34" y="38"/>
                      <a:pt x="35" y="36"/>
                      <a:pt x="34" y="34"/>
                    </a:cubicBezTo>
                    <a:cubicBezTo>
                      <a:pt x="33" y="32"/>
                      <a:pt x="36" y="30"/>
                      <a:pt x="34" y="31"/>
                    </a:cubicBezTo>
                    <a:cubicBezTo>
                      <a:pt x="33" y="32"/>
                      <a:pt x="32" y="30"/>
                      <a:pt x="30" y="32"/>
                    </a:cubicBezTo>
                    <a:cubicBezTo>
                      <a:pt x="28" y="33"/>
                      <a:pt x="28" y="32"/>
                      <a:pt x="29" y="31"/>
                    </a:cubicBezTo>
                    <a:cubicBezTo>
                      <a:pt x="30" y="30"/>
                      <a:pt x="26" y="28"/>
                      <a:pt x="29" y="27"/>
                    </a:cubicBezTo>
                    <a:cubicBezTo>
                      <a:pt x="30" y="26"/>
                      <a:pt x="28" y="24"/>
                      <a:pt x="30" y="23"/>
                    </a:cubicBezTo>
                    <a:cubicBezTo>
                      <a:pt x="32" y="23"/>
                      <a:pt x="31" y="21"/>
                      <a:pt x="32" y="21"/>
                    </a:cubicBezTo>
                    <a:cubicBezTo>
                      <a:pt x="33" y="22"/>
                      <a:pt x="32" y="20"/>
                      <a:pt x="34" y="20"/>
                    </a:cubicBezTo>
                    <a:cubicBezTo>
                      <a:pt x="35" y="20"/>
                      <a:pt x="33" y="18"/>
                      <a:pt x="34" y="15"/>
                    </a:cubicBezTo>
                    <a:cubicBezTo>
                      <a:pt x="35" y="12"/>
                      <a:pt x="33" y="11"/>
                      <a:pt x="34" y="10"/>
                    </a:cubicBezTo>
                    <a:cubicBezTo>
                      <a:pt x="35" y="9"/>
                      <a:pt x="34" y="7"/>
                      <a:pt x="33" y="8"/>
                    </a:cubicBezTo>
                    <a:cubicBezTo>
                      <a:pt x="31" y="9"/>
                      <a:pt x="33" y="5"/>
                      <a:pt x="30" y="3"/>
                    </a:cubicBezTo>
                    <a:cubicBezTo>
                      <a:pt x="27" y="0"/>
                      <a:pt x="28" y="3"/>
                      <a:pt x="27" y="4"/>
                    </a:cubicBezTo>
                    <a:cubicBezTo>
                      <a:pt x="28" y="7"/>
                      <a:pt x="24" y="7"/>
                      <a:pt x="25" y="9"/>
                    </a:cubicBezTo>
                    <a:cubicBezTo>
                      <a:pt x="27" y="12"/>
                      <a:pt x="26" y="12"/>
                      <a:pt x="25" y="10"/>
                    </a:cubicBezTo>
                    <a:cubicBezTo>
                      <a:pt x="23" y="8"/>
                      <a:pt x="20" y="11"/>
                      <a:pt x="18" y="13"/>
                    </a:cubicBezTo>
                    <a:cubicBezTo>
                      <a:pt x="16" y="15"/>
                      <a:pt x="16" y="13"/>
                      <a:pt x="16" y="15"/>
                    </a:cubicBezTo>
                    <a:cubicBezTo>
                      <a:pt x="15" y="17"/>
                      <a:pt x="17" y="16"/>
                      <a:pt x="16" y="19"/>
                    </a:cubicBezTo>
                    <a:cubicBezTo>
                      <a:pt x="14" y="23"/>
                      <a:pt x="12" y="23"/>
                      <a:pt x="13" y="24"/>
                    </a:cubicBezTo>
                    <a:cubicBezTo>
                      <a:pt x="15" y="26"/>
                      <a:pt x="12" y="26"/>
                      <a:pt x="11" y="30"/>
                    </a:cubicBezTo>
                    <a:cubicBezTo>
                      <a:pt x="10" y="35"/>
                      <a:pt x="10" y="32"/>
                      <a:pt x="8" y="32"/>
                    </a:cubicBezTo>
                    <a:cubicBezTo>
                      <a:pt x="6" y="31"/>
                      <a:pt x="6" y="29"/>
                      <a:pt x="6" y="34"/>
                    </a:cubicBezTo>
                    <a:cubicBezTo>
                      <a:pt x="7" y="42"/>
                      <a:pt x="5" y="35"/>
                      <a:pt x="5" y="40"/>
                    </a:cubicBezTo>
                    <a:cubicBezTo>
                      <a:pt x="5" y="42"/>
                      <a:pt x="6" y="41"/>
                      <a:pt x="5" y="44"/>
                    </a:cubicBezTo>
                    <a:cubicBezTo>
                      <a:pt x="3" y="47"/>
                      <a:pt x="4" y="42"/>
                      <a:pt x="2" y="45"/>
                    </a:cubicBezTo>
                    <a:cubicBezTo>
                      <a:pt x="3" y="55"/>
                      <a:pt x="0" y="44"/>
                      <a:pt x="0" y="51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7" name="Freeform 20150">
                <a:extLst>
                  <a:ext uri="{FF2B5EF4-FFF2-40B4-BE49-F238E27FC236}">
                    <a16:creationId xmlns:a16="http://schemas.microsoft.com/office/drawing/2014/main" id="{FB443730-BD96-B84A-9096-311FC87DC1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40909" y="3676468"/>
                <a:ext cx="200364" cy="429351"/>
              </a:xfrm>
              <a:custGeom>
                <a:avLst/>
                <a:gdLst/>
                <a:ahLst/>
                <a:cxnLst>
                  <a:cxn ang="0">
                    <a:pos x="27" y="53"/>
                  </a:cxn>
                  <a:cxn ang="0">
                    <a:pos x="21" y="50"/>
                  </a:cxn>
                  <a:cxn ang="0">
                    <a:pos x="17" y="44"/>
                  </a:cxn>
                  <a:cxn ang="0">
                    <a:pos x="12" y="57"/>
                  </a:cxn>
                  <a:cxn ang="0">
                    <a:pos x="10" y="71"/>
                  </a:cxn>
                  <a:cxn ang="0">
                    <a:pos x="15" y="77"/>
                  </a:cxn>
                  <a:cxn ang="0">
                    <a:pos x="22" y="87"/>
                  </a:cxn>
                  <a:cxn ang="0">
                    <a:pos x="23" y="93"/>
                  </a:cxn>
                  <a:cxn ang="0">
                    <a:pos x="20" y="91"/>
                  </a:cxn>
                  <a:cxn ang="0">
                    <a:pos x="16" y="88"/>
                  </a:cxn>
                  <a:cxn ang="0">
                    <a:pos x="13" y="87"/>
                  </a:cxn>
                  <a:cxn ang="0">
                    <a:pos x="10" y="83"/>
                  </a:cxn>
                  <a:cxn ang="0">
                    <a:pos x="5" y="78"/>
                  </a:cxn>
                  <a:cxn ang="0">
                    <a:pos x="6" y="70"/>
                  </a:cxn>
                  <a:cxn ang="0">
                    <a:pos x="7" y="65"/>
                  </a:cxn>
                  <a:cxn ang="0">
                    <a:pos x="12" y="56"/>
                  </a:cxn>
                  <a:cxn ang="0">
                    <a:pos x="11" y="53"/>
                  </a:cxn>
                  <a:cxn ang="0">
                    <a:pos x="7" y="39"/>
                  </a:cxn>
                  <a:cxn ang="0">
                    <a:pos x="6" y="33"/>
                  </a:cxn>
                  <a:cxn ang="0">
                    <a:pos x="7" y="27"/>
                  </a:cxn>
                  <a:cxn ang="0">
                    <a:pos x="5" y="21"/>
                  </a:cxn>
                  <a:cxn ang="0">
                    <a:pos x="0" y="13"/>
                  </a:cxn>
                  <a:cxn ang="0">
                    <a:pos x="3" y="8"/>
                  </a:cxn>
                  <a:cxn ang="0">
                    <a:pos x="6" y="5"/>
                  </a:cxn>
                  <a:cxn ang="0">
                    <a:pos x="11" y="2"/>
                  </a:cxn>
                  <a:cxn ang="0">
                    <a:pos x="15" y="0"/>
                  </a:cxn>
                  <a:cxn ang="0">
                    <a:pos x="17" y="6"/>
                  </a:cxn>
                  <a:cxn ang="0">
                    <a:pos x="21" y="8"/>
                  </a:cxn>
                  <a:cxn ang="0">
                    <a:pos x="19" y="19"/>
                  </a:cxn>
                  <a:cxn ang="0">
                    <a:pos x="27" y="16"/>
                  </a:cxn>
                  <a:cxn ang="0">
                    <a:pos x="33" y="13"/>
                  </a:cxn>
                  <a:cxn ang="0">
                    <a:pos x="39" y="23"/>
                  </a:cxn>
                  <a:cxn ang="0">
                    <a:pos x="43" y="36"/>
                  </a:cxn>
                  <a:cxn ang="0">
                    <a:pos x="38" y="39"/>
                  </a:cxn>
                  <a:cxn ang="0">
                    <a:pos x="27" y="44"/>
                  </a:cxn>
                  <a:cxn ang="0">
                    <a:pos x="28" y="51"/>
                  </a:cxn>
                </a:cxnLst>
                <a:rect l="0" t="0" r="r" b="b"/>
                <a:pathLst>
                  <a:path w="44" h="95">
                    <a:moveTo>
                      <a:pt x="29" y="56"/>
                    </a:moveTo>
                    <a:cubicBezTo>
                      <a:pt x="28" y="56"/>
                      <a:pt x="29" y="54"/>
                      <a:pt x="27" y="53"/>
                    </a:cubicBezTo>
                    <a:cubicBezTo>
                      <a:pt x="26" y="53"/>
                      <a:pt x="25" y="51"/>
                      <a:pt x="23" y="50"/>
                    </a:cubicBezTo>
                    <a:cubicBezTo>
                      <a:pt x="22" y="49"/>
                      <a:pt x="22" y="51"/>
                      <a:pt x="21" y="50"/>
                    </a:cubicBezTo>
                    <a:cubicBezTo>
                      <a:pt x="19" y="49"/>
                      <a:pt x="18" y="52"/>
                      <a:pt x="18" y="49"/>
                    </a:cubicBezTo>
                    <a:cubicBezTo>
                      <a:pt x="19" y="45"/>
                      <a:pt x="20" y="44"/>
                      <a:pt x="17" y="44"/>
                    </a:cubicBezTo>
                    <a:cubicBezTo>
                      <a:pt x="14" y="44"/>
                      <a:pt x="13" y="46"/>
                      <a:pt x="14" y="47"/>
                    </a:cubicBezTo>
                    <a:cubicBezTo>
                      <a:pt x="15" y="47"/>
                      <a:pt x="13" y="55"/>
                      <a:pt x="12" y="57"/>
                    </a:cubicBezTo>
                    <a:cubicBezTo>
                      <a:pt x="12" y="58"/>
                      <a:pt x="12" y="61"/>
                      <a:pt x="11" y="62"/>
                    </a:cubicBezTo>
                    <a:cubicBezTo>
                      <a:pt x="9" y="64"/>
                      <a:pt x="10" y="70"/>
                      <a:pt x="10" y="71"/>
                    </a:cubicBezTo>
                    <a:cubicBezTo>
                      <a:pt x="10" y="74"/>
                      <a:pt x="13" y="70"/>
                      <a:pt x="13" y="72"/>
                    </a:cubicBezTo>
                    <a:cubicBezTo>
                      <a:pt x="13" y="74"/>
                      <a:pt x="14" y="77"/>
                      <a:pt x="15" y="77"/>
                    </a:cubicBezTo>
                    <a:cubicBezTo>
                      <a:pt x="16" y="76"/>
                      <a:pt x="16" y="83"/>
                      <a:pt x="18" y="85"/>
                    </a:cubicBezTo>
                    <a:cubicBezTo>
                      <a:pt x="21" y="89"/>
                      <a:pt x="20" y="85"/>
                      <a:pt x="22" y="87"/>
                    </a:cubicBezTo>
                    <a:cubicBezTo>
                      <a:pt x="24" y="89"/>
                      <a:pt x="24" y="90"/>
                      <a:pt x="25" y="91"/>
                    </a:cubicBezTo>
                    <a:cubicBezTo>
                      <a:pt x="24" y="94"/>
                      <a:pt x="24" y="94"/>
                      <a:pt x="23" y="93"/>
                    </a:cubicBezTo>
                    <a:cubicBezTo>
                      <a:pt x="21" y="91"/>
                      <a:pt x="21" y="95"/>
                      <a:pt x="20" y="94"/>
                    </a:cubicBezTo>
                    <a:cubicBezTo>
                      <a:pt x="19" y="93"/>
                      <a:pt x="20" y="92"/>
                      <a:pt x="20" y="91"/>
                    </a:cubicBezTo>
                    <a:cubicBezTo>
                      <a:pt x="20" y="89"/>
                      <a:pt x="19" y="91"/>
                      <a:pt x="18" y="90"/>
                    </a:cubicBezTo>
                    <a:cubicBezTo>
                      <a:pt x="18" y="88"/>
                      <a:pt x="17" y="89"/>
                      <a:pt x="16" y="88"/>
                    </a:cubicBezTo>
                    <a:cubicBezTo>
                      <a:pt x="15" y="87"/>
                      <a:pt x="15" y="87"/>
                      <a:pt x="15" y="89"/>
                    </a:cubicBezTo>
                    <a:cubicBezTo>
                      <a:pt x="14" y="88"/>
                      <a:pt x="14" y="88"/>
                      <a:pt x="13" y="87"/>
                    </a:cubicBezTo>
                    <a:cubicBezTo>
                      <a:pt x="12" y="86"/>
                      <a:pt x="12" y="85"/>
                      <a:pt x="12" y="84"/>
                    </a:cubicBezTo>
                    <a:cubicBezTo>
                      <a:pt x="12" y="84"/>
                      <a:pt x="11" y="85"/>
                      <a:pt x="10" y="83"/>
                    </a:cubicBezTo>
                    <a:cubicBezTo>
                      <a:pt x="8" y="81"/>
                      <a:pt x="8" y="78"/>
                      <a:pt x="7" y="77"/>
                    </a:cubicBezTo>
                    <a:cubicBezTo>
                      <a:pt x="6" y="77"/>
                      <a:pt x="6" y="80"/>
                      <a:pt x="5" y="78"/>
                    </a:cubicBezTo>
                    <a:cubicBezTo>
                      <a:pt x="5" y="78"/>
                      <a:pt x="4" y="76"/>
                      <a:pt x="5" y="74"/>
                    </a:cubicBezTo>
                    <a:cubicBezTo>
                      <a:pt x="6" y="72"/>
                      <a:pt x="5" y="73"/>
                      <a:pt x="6" y="70"/>
                    </a:cubicBezTo>
                    <a:cubicBezTo>
                      <a:pt x="7" y="69"/>
                      <a:pt x="5" y="70"/>
                      <a:pt x="6" y="68"/>
                    </a:cubicBezTo>
                    <a:cubicBezTo>
                      <a:pt x="7" y="66"/>
                      <a:pt x="8" y="66"/>
                      <a:pt x="7" y="65"/>
                    </a:cubicBezTo>
                    <a:cubicBezTo>
                      <a:pt x="8" y="63"/>
                      <a:pt x="7" y="63"/>
                      <a:pt x="9" y="61"/>
                    </a:cubicBezTo>
                    <a:cubicBezTo>
                      <a:pt x="11" y="58"/>
                      <a:pt x="10" y="58"/>
                      <a:pt x="12" y="56"/>
                    </a:cubicBezTo>
                    <a:cubicBezTo>
                      <a:pt x="13" y="55"/>
                      <a:pt x="12" y="56"/>
                      <a:pt x="12" y="54"/>
                    </a:cubicBezTo>
                    <a:cubicBezTo>
                      <a:pt x="12" y="53"/>
                      <a:pt x="11" y="54"/>
                      <a:pt x="11" y="53"/>
                    </a:cubicBezTo>
                    <a:cubicBezTo>
                      <a:pt x="11" y="52"/>
                      <a:pt x="11" y="50"/>
                      <a:pt x="9" y="47"/>
                    </a:cubicBezTo>
                    <a:cubicBezTo>
                      <a:pt x="11" y="44"/>
                      <a:pt x="10" y="42"/>
                      <a:pt x="7" y="39"/>
                    </a:cubicBezTo>
                    <a:cubicBezTo>
                      <a:pt x="4" y="36"/>
                      <a:pt x="4" y="33"/>
                      <a:pt x="5" y="33"/>
                    </a:cubicBezTo>
                    <a:cubicBezTo>
                      <a:pt x="6" y="34"/>
                      <a:pt x="5" y="32"/>
                      <a:pt x="6" y="33"/>
                    </a:cubicBezTo>
                    <a:cubicBezTo>
                      <a:pt x="7" y="33"/>
                      <a:pt x="6" y="28"/>
                      <a:pt x="7" y="28"/>
                    </a:cubicBezTo>
                    <a:cubicBezTo>
                      <a:pt x="9" y="28"/>
                      <a:pt x="9" y="24"/>
                      <a:pt x="7" y="27"/>
                    </a:cubicBezTo>
                    <a:cubicBezTo>
                      <a:pt x="7" y="27"/>
                      <a:pt x="6" y="25"/>
                      <a:pt x="6" y="23"/>
                    </a:cubicBezTo>
                    <a:cubicBezTo>
                      <a:pt x="6" y="21"/>
                      <a:pt x="6" y="23"/>
                      <a:pt x="5" y="21"/>
                    </a:cubicBezTo>
                    <a:cubicBezTo>
                      <a:pt x="3" y="19"/>
                      <a:pt x="2" y="18"/>
                      <a:pt x="2" y="15"/>
                    </a:cubicBezTo>
                    <a:cubicBezTo>
                      <a:pt x="2" y="12"/>
                      <a:pt x="1" y="15"/>
                      <a:pt x="0" y="13"/>
                    </a:cubicBezTo>
                    <a:cubicBezTo>
                      <a:pt x="0" y="11"/>
                      <a:pt x="3" y="14"/>
                      <a:pt x="2" y="11"/>
                    </a:cubicBezTo>
                    <a:cubicBezTo>
                      <a:pt x="1" y="8"/>
                      <a:pt x="4" y="10"/>
                      <a:pt x="3" y="8"/>
                    </a:cubicBezTo>
                    <a:cubicBezTo>
                      <a:pt x="2" y="6"/>
                      <a:pt x="3" y="7"/>
                      <a:pt x="4" y="5"/>
                    </a:cubicBezTo>
                    <a:cubicBezTo>
                      <a:pt x="4" y="3"/>
                      <a:pt x="4" y="6"/>
                      <a:pt x="6" y="5"/>
                    </a:cubicBezTo>
                    <a:cubicBezTo>
                      <a:pt x="8" y="4"/>
                      <a:pt x="9" y="5"/>
                      <a:pt x="9" y="3"/>
                    </a:cubicBezTo>
                    <a:cubicBezTo>
                      <a:pt x="10" y="1"/>
                      <a:pt x="10" y="3"/>
                      <a:pt x="11" y="2"/>
                    </a:cubicBezTo>
                    <a:cubicBezTo>
                      <a:pt x="12" y="2"/>
                      <a:pt x="10" y="0"/>
                      <a:pt x="12" y="1"/>
                    </a:cubicBezTo>
                    <a:cubicBezTo>
                      <a:pt x="14" y="1"/>
                      <a:pt x="13" y="0"/>
                      <a:pt x="15" y="0"/>
                    </a:cubicBezTo>
                    <a:cubicBezTo>
                      <a:pt x="15" y="2"/>
                      <a:pt x="15" y="0"/>
                      <a:pt x="16" y="1"/>
                    </a:cubicBezTo>
                    <a:cubicBezTo>
                      <a:pt x="18" y="3"/>
                      <a:pt x="15" y="6"/>
                      <a:pt x="17" y="6"/>
                    </a:cubicBezTo>
                    <a:cubicBezTo>
                      <a:pt x="19" y="6"/>
                      <a:pt x="18" y="5"/>
                      <a:pt x="20" y="5"/>
                    </a:cubicBezTo>
                    <a:cubicBezTo>
                      <a:pt x="22" y="6"/>
                      <a:pt x="20" y="7"/>
                      <a:pt x="21" y="8"/>
                    </a:cubicBezTo>
                    <a:cubicBezTo>
                      <a:pt x="22" y="10"/>
                      <a:pt x="19" y="13"/>
                      <a:pt x="20" y="14"/>
                    </a:cubicBezTo>
                    <a:cubicBezTo>
                      <a:pt x="21" y="15"/>
                      <a:pt x="18" y="18"/>
                      <a:pt x="19" y="19"/>
                    </a:cubicBezTo>
                    <a:cubicBezTo>
                      <a:pt x="20" y="19"/>
                      <a:pt x="20" y="19"/>
                      <a:pt x="23" y="16"/>
                    </a:cubicBezTo>
                    <a:cubicBezTo>
                      <a:pt x="26" y="13"/>
                      <a:pt x="25" y="16"/>
                      <a:pt x="27" y="16"/>
                    </a:cubicBezTo>
                    <a:cubicBezTo>
                      <a:pt x="28" y="16"/>
                      <a:pt x="27" y="17"/>
                      <a:pt x="28" y="16"/>
                    </a:cubicBezTo>
                    <a:cubicBezTo>
                      <a:pt x="31" y="15"/>
                      <a:pt x="30" y="12"/>
                      <a:pt x="33" y="13"/>
                    </a:cubicBezTo>
                    <a:cubicBezTo>
                      <a:pt x="35" y="14"/>
                      <a:pt x="35" y="13"/>
                      <a:pt x="36" y="15"/>
                    </a:cubicBezTo>
                    <a:cubicBezTo>
                      <a:pt x="37" y="19"/>
                      <a:pt x="40" y="18"/>
                      <a:pt x="39" y="23"/>
                    </a:cubicBezTo>
                    <a:cubicBezTo>
                      <a:pt x="38" y="28"/>
                      <a:pt x="42" y="28"/>
                      <a:pt x="42" y="29"/>
                    </a:cubicBezTo>
                    <a:cubicBezTo>
                      <a:pt x="42" y="30"/>
                      <a:pt x="44" y="30"/>
                      <a:pt x="43" y="36"/>
                    </a:cubicBezTo>
                    <a:cubicBezTo>
                      <a:pt x="43" y="37"/>
                      <a:pt x="44" y="38"/>
                      <a:pt x="41" y="39"/>
                    </a:cubicBezTo>
                    <a:cubicBezTo>
                      <a:pt x="40" y="40"/>
                      <a:pt x="41" y="38"/>
                      <a:pt x="38" y="39"/>
                    </a:cubicBezTo>
                    <a:cubicBezTo>
                      <a:pt x="35" y="39"/>
                      <a:pt x="30" y="38"/>
                      <a:pt x="29" y="41"/>
                    </a:cubicBezTo>
                    <a:cubicBezTo>
                      <a:pt x="28" y="44"/>
                      <a:pt x="27" y="43"/>
                      <a:pt x="27" y="44"/>
                    </a:cubicBezTo>
                    <a:cubicBezTo>
                      <a:pt x="27" y="45"/>
                      <a:pt x="25" y="43"/>
                      <a:pt x="26" y="46"/>
                    </a:cubicBezTo>
                    <a:cubicBezTo>
                      <a:pt x="28" y="49"/>
                      <a:pt x="26" y="50"/>
                      <a:pt x="28" y="51"/>
                    </a:cubicBezTo>
                    <a:cubicBezTo>
                      <a:pt x="29" y="52"/>
                      <a:pt x="27" y="53"/>
                      <a:pt x="29" y="56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8" name="Freeform 20151">
                <a:extLst>
                  <a:ext uri="{FF2B5EF4-FFF2-40B4-BE49-F238E27FC236}">
                    <a16:creationId xmlns:a16="http://schemas.microsoft.com/office/drawing/2014/main" id="{C9C9B327-C0F5-D048-9DFA-1E68CBB129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55402" y="3584874"/>
                <a:ext cx="175557" cy="444618"/>
              </a:xfrm>
              <a:custGeom>
                <a:avLst/>
                <a:gdLst/>
                <a:ahLst/>
                <a:cxnLst>
                  <a:cxn ang="0">
                    <a:pos x="27" y="12"/>
                  </a:cxn>
                  <a:cxn ang="0">
                    <a:pos x="24" y="9"/>
                  </a:cxn>
                  <a:cxn ang="0">
                    <a:pos x="23" y="4"/>
                  </a:cxn>
                  <a:cxn ang="0">
                    <a:pos x="16" y="1"/>
                  </a:cxn>
                  <a:cxn ang="0">
                    <a:pos x="11" y="5"/>
                  </a:cxn>
                  <a:cxn ang="0">
                    <a:pos x="8" y="5"/>
                  </a:cxn>
                  <a:cxn ang="0">
                    <a:pos x="5" y="7"/>
                  </a:cxn>
                  <a:cxn ang="0">
                    <a:pos x="0" y="7"/>
                  </a:cxn>
                  <a:cxn ang="0">
                    <a:pos x="4" y="12"/>
                  </a:cxn>
                  <a:cxn ang="0">
                    <a:pos x="4" y="15"/>
                  </a:cxn>
                  <a:cxn ang="0">
                    <a:pos x="9" y="17"/>
                  </a:cxn>
                  <a:cxn ang="0">
                    <a:pos x="12" y="20"/>
                  </a:cxn>
                  <a:cxn ang="0">
                    <a:pos x="15" y="22"/>
                  </a:cxn>
                  <a:cxn ang="0">
                    <a:pos x="10" y="26"/>
                  </a:cxn>
                  <a:cxn ang="0">
                    <a:pos x="16" y="31"/>
                  </a:cxn>
                  <a:cxn ang="0">
                    <a:pos x="18" y="36"/>
                  </a:cxn>
                  <a:cxn ang="0">
                    <a:pos x="24" y="46"/>
                  </a:cxn>
                  <a:cxn ang="0">
                    <a:pos x="27" y="49"/>
                  </a:cxn>
                  <a:cxn ang="0">
                    <a:pos x="28" y="57"/>
                  </a:cxn>
                  <a:cxn ang="0">
                    <a:pos x="28" y="64"/>
                  </a:cxn>
                  <a:cxn ang="0">
                    <a:pos x="27" y="72"/>
                  </a:cxn>
                  <a:cxn ang="0">
                    <a:pos x="22" y="76"/>
                  </a:cxn>
                  <a:cxn ang="0">
                    <a:pos x="20" y="80"/>
                  </a:cxn>
                  <a:cxn ang="0">
                    <a:pos x="16" y="81"/>
                  </a:cxn>
                  <a:cxn ang="0">
                    <a:pos x="12" y="84"/>
                  </a:cxn>
                  <a:cxn ang="0">
                    <a:pos x="14" y="92"/>
                  </a:cxn>
                  <a:cxn ang="0">
                    <a:pos x="21" y="91"/>
                  </a:cxn>
                  <a:cxn ang="0">
                    <a:pos x="25" y="83"/>
                  </a:cxn>
                  <a:cxn ang="0">
                    <a:pos x="37" y="76"/>
                  </a:cxn>
                  <a:cxn ang="0">
                    <a:pos x="37" y="67"/>
                  </a:cxn>
                  <a:cxn ang="0">
                    <a:pos x="32" y="49"/>
                  </a:cxn>
                  <a:cxn ang="0">
                    <a:pos x="23" y="36"/>
                  </a:cxn>
                  <a:cxn ang="0">
                    <a:pos x="22" y="22"/>
                  </a:cxn>
                  <a:cxn ang="0">
                    <a:pos x="27" y="16"/>
                  </a:cxn>
                  <a:cxn ang="0">
                    <a:pos x="31" y="13"/>
                  </a:cxn>
                </a:cxnLst>
                <a:rect l="0" t="0" r="r" b="b"/>
                <a:pathLst>
                  <a:path w="39" h="98">
                    <a:moveTo>
                      <a:pt x="31" y="13"/>
                    </a:moveTo>
                    <a:cubicBezTo>
                      <a:pt x="29" y="12"/>
                      <a:pt x="28" y="13"/>
                      <a:pt x="27" y="12"/>
                    </a:cubicBezTo>
                    <a:cubicBezTo>
                      <a:pt x="27" y="11"/>
                      <a:pt x="26" y="12"/>
                      <a:pt x="26" y="11"/>
                    </a:cubicBezTo>
                    <a:cubicBezTo>
                      <a:pt x="25" y="9"/>
                      <a:pt x="24" y="10"/>
                      <a:pt x="24" y="9"/>
                    </a:cubicBezTo>
                    <a:cubicBezTo>
                      <a:pt x="24" y="7"/>
                      <a:pt x="22" y="8"/>
                      <a:pt x="24" y="6"/>
                    </a:cubicBezTo>
                    <a:cubicBezTo>
                      <a:pt x="25" y="4"/>
                      <a:pt x="24" y="4"/>
                      <a:pt x="23" y="4"/>
                    </a:cubicBezTo>
                    <a:cubicBezTo>
                      <a:pt x="21" y="5"/>
                      <a:pt x="22" y="3"/>
                      <a:pt x="20" y="4"/>
                    </a:cubicBezTo>
                    <a:cubicBezTo>
                      <a:pt x="18" y="4"/>
                      <a:pt x="17" y="0"/>
                      <a:pt x="16" y="1"/>
                    </a:cubicBezTo>
                    <a:cubicBezTo>
                      <a:pt x="15" y="3"/>
                      <a:pt x="14" y="2"/>
                      <a:pt x="14" y="3"/>
                    </a:cubicBezTo>
                    <a:cubicBezTo>
                      <a:pt x="15" y="4"/>
                      <a:pt x="12" y="6"/>
                      <a:pt x="11" y="5"/>
                    </a:cubicBezTo>
                    <a:cubicBezTo>
                      <a:pt x="11" y="4"/>
                      <a:pt x="10" y="4"/>
                      <a:pt x="10" y="6"/>
                    </a:cubicBezTo>
                    <a:cubicBezTo>
                      <a:pt x="10" y="8"/>
                      <a:pt x="9" y="6"/>
                      <a:pt x="8" y="5"/>
                    </a:cubicBezTo>
                    <a:cubicBezTo>
                      <a:pt x="8" y="5"/>
                      <a:pt x="8" y="6"/>
                      <a:pt x="7" y="5"/>
                    </a:cubicBezTo>
                    <a:cubicBezTo>
                      <a:pt x="6" y="3"/>
                      <a:pt x="6" y="7"/>
                      <a:pt x="5" y="7"/>
                    </a:cubicBezTo>
                    <a:cubicBezTo>
                      <a:pt x="4" y="7"/>
                      <a:pt x="5" y="6"/>
                      <a:pt x="3" y="5"/>
                    </a:cubicBezTo>
                    <a:cubicBezTo>
                      <a:pt x="1" y="4"/>
                      <a:pt x="2" y="7"/>
                      <a:pt x="0" y="7"/>
                    </a:cubicBezTo>
                    <a:cubicBezTo>
                      <a:pt x="4" y="11"/>
                      <a:pt x="3" y="13"/>
                      <a:pt x="3" y="12"/>
                    </a:cubicBezTo>
                    <a:cubicBezTo>
                      <a:pt x="4" y="10"/>
                      <a:pt x="4" y="12"/>
                      <a:pt x="4" y="12"/>
                    </a:cubicBezTo>
                    <a:cubicBezTo>
                      <a:pt x="5" y="12"/>
                      <a:pt x="4" y="13"/>
                      <a:pt x="4" y="14"/>
                    </a:cubicBezTo>
                    <a:cubicBezTo>
                      <a:pt x="5" y="14"/>
                      <a:pt x="4" y="14"/>
                      <a:pt x="4" y="15"/>
                    </a:cubicBezTo>
                    <a:cubicBezTo>
                      <a:pt x="5" y="16"/>
                      <a:pt x="5" y="18"/>
                      <a:pt x="6" y="17"/>
                    </a:cubicBezTo>
                    <a:cubicBezTo>
                      <a:pt x="7" y="17"/>
                      <a:pt x="8" y="20"/>
                      <a:pt x="9" y="17"/>
                    </a:cubicBezTo>
                    <a:cubicBezTo>
                      <a:pt x="10" y="16"/>
                      <a:pt x="10" y="16"/>
                      <a:pt x="12" y="17"/>
                    </a:cubicBezTo>
                    <a:cubicBezTo>
                      <a:pt x="14" y="18"/>
                      <a:pt x="14" y="19"/>
                      <a:pt x="12" y="20"/>
                    </a:cubicBezTo>
                    <a:cubicBezTo>
                      <a:pt x="11" y="21"/>
                      <a:pt x="13" y="20"/>
                      <a:pt x="13" y="21"/>
                    </a:cubicBezTo>
                    <a:cubicBezTo>
                      <a:pt x="14" y="22"/>
                      <a:pt x="14" y="21"/>
                      <a:pt x="15" y="22"/>
                    </a:cubicBezTo>
                    <a:cubicBezTo>
                      <a:pt x="16" y="23"/>
                      <a:pt x="14" y="23"/>
                      <a:pt x="14" y="25"/>
                    </a:cubicBezTo>
                    <a:cubicBezTo>
                      <a:pt x="13" y="26"/>
                      <a:pt x="9" y="23"/>
                      <a:pt x="10" y="26"/>
                    </a:cubicBezTo>
                    <a:cubicBezTo>
                      <a:pt x="11" y="27"/>
                      <a:pt x="8" y="26"/>
                      <a:pt x="11" y="29"/>
                    </a:cubicBezTo>
                    <a:cubicBezTo>
                      <a:pt x="14" y="31"/>
                      <a:pt x="15" y="31"/>
                      <a:pt x="16" y="31"/>
                    </a:cubicBezTo>
                    <a:cubicBezTo>
                      <a:pt x="16" y="32"/>
                      <a:pt x="15" y="32"/>
                      <a:pt x="16" y="33"/>
                    </a:cubicBezTo>
                    <a:cubicBezTo>
                      <a:pt x="17" y="35"/>
                      <a:pt x="17" y="33"/>
                      <a:pt x="18" y="36"/>
                    </a:cubicBezTo>
                    <a:cubicBezTo>
                      <a:pt x="19" y="38"/>
                      <a:pt x="20" y="40"/>
                      <a:pt x="22" y="40"/>
                    </a:cubicBezTo>
                    <a:cubicBezTo>
                      <a:pt x="24" y="41"/>
                      <a:pt x="23" y="46"/>
                      <a:pt x="24" y="46"/>
                    </a:cubicBezTo>
                    <a:cubicBezTo>
                      <a:pt x="25" y="45"/>
                      <a:pt x="27" y="49"/>
                      <a:pt x="27" y="48"/>
                    </a:cubicBezTo>
                    <a:cubicBezTo>
                      <a:pt x="28" y="48"/>
                      <a:pt x="28" y="49"/>
                      <a:pt x="27" y="49"/>
                    </a:cubicBezTo>
                    <a:cubicBezTo>
                      <a:pt x="26" y="50"/>
                      <a:pt x="26" y="50"/>
                      <a:pt x="28" y="52"/>
                    </a:cubicBezTo>
                    <a:cubicBezTo>
                      <a:pt x="30" y="54"/>
                      <a:pt x="28" y="55"/>
                      <a:pt x="28" y="57"/>
                    </a:cubicBezTo>
                    <a:cubicBezTo>
                      <a:pt x="28" y="58"/>
                      <a:pt x="27" y="61"/>
                      <a:pt x="27" y="61"/>
                    </a:cubicBezTo>
                    <a:cubicBezTo>
                      <a:pt x="28" y="62"/>
                      <a:pt x="28" y="62"/>
                      <a:pt x="28" y="64"/>
                    </a:cubicBezTo>
                    <a:cubicBezTo>
                      <a:pt x="29" y="66"/>
                      <a:pt x="28" y="67"/>
                      <a:pt x="28" y="69"/>
                    </a:cubicBezTo>
                    <a:cubicBezTo>
                      <a:pt x="29" y="71"/>
                      <a:pt x="29" y="73"/>
                      <a:pt x="27" y="72"/>
                    </a:cubicBezTo>
                    <a:cubicBezTo>
                      <a:pt x="26" y="72"/>
                      <a:pt x="26" y="74"/>
                      <a:pt x="24" y="74"/>
                    </a:cubicBezTo>
                    <a:cubicBezTo>
                      <a:pt x="21" y="74"/>
                      <a:pt x="24" y="77"/>
                      <a:pt x="22" y="76"/>
                    </a:cubicBezTo>
                    <a:cubicBezTo>
                      <a:pt x="20" y="75"/>
                      <a:pt x="19" y="76"/>
                      <a:pt x="20" y="77"/>
                    </a:cubicBezTo>
                    <a:cubicBezTo>
                      <a:pt x="20" y="78"/>
                      <a:pt x="19" y="79"/>
                      <a:pt x="20" y="80"/>
                    </a:cubicBezTo>
                    <a:cubicBezTo>
                      <a:pt x="23" y="82"/>
                      <a:pt x="20" y="82"/>
                      <a:pt x="19" y="81"/>
                    </a:cubicBezTo>
                    <a:cubicBezTo>
                      <a:pt x="19" y="79"/>
                      <a:pt x="17" y="82"/>
                      <a:pt x="16" y="81"/>
                    </a:cubicBezTo>
                    <a:cubicBezTo>
                      <a:pt x="16" y="80"/>
                      <a:pt x="15" y="82"/>
                      <a:pt x="15" y="82"/>
                    </a:cubicBezTo>
                    <a:cubicBezTo>
                      <a:pt x="16" y="84"/>
                      <a:pt x="13" y="83"/>
                      <a:pt x="12" y="84"/>
                    </a:cubicBezTo>
                    <a:cubicBezTo>
                      <a:pt x="13" y="87"/>
                      <a:pt x="14" y="84"/>
                      <a:pt x="15" y="86"/>
                    </a:cubicBezTo>
                    <a:cubicBezTo>
                      <a:pt x="16" y="88"/>
                      <a:pt x="14" y="87"/>
                      <a:pt x="14" y="92"/>
                    </a:cubicBezTo>
                    <a:cubicBezTo>
                      <a:pt x="14" y="96"/>
                      <a:pt x="14" y="98"/>
                      <a:pt x="16" y="95"/>
                    </a:cubicBezTo>
                    <a:cubicBezTo>
                      <a:pt x="18" y="93"/>
                      <a:pt x="19" y="92"/>
                      <a:pt x="21" y="91"/>
                    </a:cubicBezTo>
                    <a:cubicBezTo>
                      <a:pt x="23" y="90"/>
                      <a:pt x="21" y="90"/>
                      <a:pt x="22" y="90"/>
                    </a:cubicBezTo>
                    <a:cubicBezTo>
                      <a:pt x="24" y="89"/>
                      <a:pt x="24" y="82"/>
                      <a:pt x="25" y="83"/>
                    </a:cubicBezTo>
                    <a:cubicBezTo>
                      <a:pt x="26" y="84"/>
                      <a:pt x="26" y="86"/>
                      <a:pt x="30" y="82"/>
                    </a:cubicBezTo>
                    <a:cubicBezTo>
                      <a:pt x="33" y="79"/>
                      <a:pt x="36" y="80"/>
                      <a:pt x="37" y="76"/>
                    </a:cubicBezTo>
                    <a:cubicBezTo>
                      <a:pt x="38" y="73"/>
                      <a:pt x="37" y="70"/>
                      <a:pt x="38" y="70"/>
                    </a:cubicBezTo>
                    <a:cubicBezTo>
                      <a:pt x="39" y="70"/>
                      <a:pt x="38" y="68"/>
                      <a:pt x="37" y="67"/>
                    </a:cubicBezTo>
                    <a:cubicBezTo>
                      <a:pt x="37" y="66"/>
                      <a:pt x="38" y="63"/>
                      <a:pt x="37" y="57"/>
                    </a:cubicBezTo>
                    <a:cubicBezTo>
                      <a:pt x="35" y="51"/>
                      <a:pt x="33" y="51"/>
                      <a:pt x="32" y="49"/>
                    </a:cubicBezTo>
                    <a:cubicBezTo>
                      <a:pt x="32" y="46"/>
                      <a:pt x="31" y="47"/>
                      <a:pt x="28" y="44"/>
                    </a:cubicBezTo>
                    <a:cubicBezTo>
                      <a:pt x="25" y="41"/>
                      <a:pt x="23" y="38"/>
                      <a:pt x="23" y="36"/>
                    </a:cubicBezTo>
                    <a:cubicBezTo>
                      <a:pt x="22" y="34"/>
                      <a:pt x="21" y="35"/>
                      <a:pt x="19" y="32"/>
                    </a:cubicBezTo>
                    <a:cubicBezTo>
                      <a:pt x="18" y="28"/>
                      <a:pt x="20" y="24"/>
                      <a:pt x="22" y="22"/>
                    </a:cubicBezTo>
                    <a:cubicBezTo>
                      <a:pt x="25" y="20"/>
                      <a:pt x="23" y="18"/>
                      <a:pt x="25" y="17"/>
                    </a:cubicBezTo>
                    <a:cubicBezTo>
                      <a:pt x="26" y="16"/>
                      <a:pt x="26" y="17"/>
                      <a:pt x="27" y="16"/>
                    </a:cubicBezTo>
                    <a:cubicBezTo>
                      <a:pt x="28" y="16"/>
                      <a:pt x="27" y="15"/>
                      <a:pt x="28" y="14"/>
                    </a:cubicBezTo>
                    <a:cubicBezTo>
                      <a:pt x="30" y="13"/>
                      <a:pt x="31" y="13"/>
                      <a:pt x="31" y="13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9" name="Freeform 20152">
                <a:extLst>
                  <a:ext uri="{FF2B5EF4-FFF2-40B4-BE49-F238E27FC236}">
                    <a16:creationId xmlns:a16="http://schemas.microsoft.com/office/drawing/2014/main" id="{BF56F3A4-5EAF-FD4E-9CE4-10E2709FA7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09604" y="3617315"/>
                <a:ext cx="181281" cy="253794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1" y="14"/>
                  </a:cxn>
                  <a:cxn ang="0">
                    <a:pos x="2" y="19"/>
                  </a:cxn>
                  <a:cxn ang="0">
                    <a:pos x="5" y="18"/>
                  </a:cxn>
                  <a:cxn ang="0">
                    <a:pos x="6" y="21"/>
                  </a:cxn>
                  <a:cxn ang="0">
                    <a:pos x="5" y="27"/>
                  </a:cxn>
                  <a:cxn ang="0">
                    <a:pos x="4" y="32"/>
                  </a:cxn>
                  <a:cxn ang="0">
                    <a:pos x="8" y="29"/>
                  </a:cxn>
                  <a:cxn ang="0">
                    <a:pos x="12" y="29"/>
                  </a:cxn>
                  <a:cxn ang="0">
                    <a:pos x="13" y="29"/>
                  </a:cxn>
                  <a:cxn ang="0">
                    <a:pos x="18" y="26"/>
                  </a:cxn>
                  <a:cxn ang="0">
                    <a:pos x="21" y="28"/>
                  </a:cxn>
                  <a:cxn ang="0">
                    <a:pos x="24" y="36"/>
                  </a:cxn>
                  <a:cxn ang="0">
                    <a:pos x="27" y="42"/>
                  </a:cxn>
                  <a:cxn ang="0">
                    <a:pos x="28" y="49"/>
                  </a:cxn>
                  <a:cxn ang="0">
                    <a:pos x="26" y="52"/>
                  </a:cxn>
                  <a:cxn ang="0">
                    <a:pos x="29" y="54"/>
                  </a:cxn>
                  <a:cxn ang="0">
                    <a:pos x="31" y="53"/>
                  </a:cxn>
                  <a:cxn ang="0">
                    <a:pos x="33" y="51"/>
                  </a:cxn>
                  <a:cxn ang="0">
                    <a:pos x="35" y="52"/>
                  </a:cxn>
                  <a:cxn ang="0">
                    <a:pos x="37" y="51"/>
                  </a:cxn>
                  <a:cxn ang="0">
                    <a:pos x="38" y="50"/>
                  </a:cxn>
                  <a:cxn ang="0">
                    <a:pos x="38" y="45"/>
                  </a:cxn>
                  <a:cxn ang="0">
                    <a:pos x="37" y="42"/>
                  </a:cxn>
                  <a:cxn ang="0">
                    <a:pos x="37" y="41"/>
                  </a:cxn>
                  <a:cxn ang="0">
                    <a:pos x="34" y="39"/>
                  </a:cxn>
                  <a:cxn ang="0">
                    <a:pos x="32" y="33"/>
                  </a:cxn>
                  <a:cxn ang="0">
                    <a:pos x="28" y="29"/>
                  </a:cxn>
                  <a:cxn ang="0">
                    <a:pos x="26" y="26"/>
                  </a:cxn>
                  <a:cxn ang="0">
                    <a:pos x="26" y="24"/>
                  </a:cxn>
                  <a:cxn ang="0">
                    <a:pos x="21" y="22"/>
                  </a:cxn>
                  <a:cxn ang="0">
                    <a:pos x="20" y="19"/>
                  </a:cxn>
                  <a:cxn ang="0">
                    <a:pos x="24" y="18"/>
                  </a:cxn>
                  <a:cxn ang="0">
                    <a:pos x="25" y="15"/>
                  </a:cxn>
                  <a:cxn ang="0">
                    <a:pos x="23" y="14"/>
                  </a:cxn>
                  <a:cxn ang="0">
                    <a:pos x="22" y="13"/>
                  </a:cxn>
                  <a:cxn ang="0">
                    <a:pos x="22" y="10"/>
                  </a:cxn>
                  <a:cxn ang="0">
                    <a:pos x="19" y="10"/>
                  </a:cxn>
                  <a:cxn ang="0">
                    <a:pos x="16" y="10"/>
                  </a:cxn>
                  <a:cxn ang="0">
                    <a:pos x="14" y="8"/>
                  </a:cxn>
                  <a:cxn ang="0">
                    <a:pos x="14" y="7"/>
                  </a:cxn>
                  <a:cxn ang="0">
                    <a:pos x="14" y="5"/>
                  </a:cxn>
                  <a:cxn ang="0">
                    <a:pos x="13" y="5"/>
                  </a:cxn>
                  <a:cxn ang="0">
                    <a:pos x="10" y="0"/>
                  </a:cxn>
                  <a:cxn ang="0">
                    <a:pos x="8" y="3"/>
                  </a:cxn>
                  <a:cxn ang="0">
                    <a:pos x="8" y="7"/>
                  </a:cxn>
                  <a:cxn ang="0">
                    <a:pos x="8" y="8"/>
                  </a:cxn>
                  <a:cxn ang="0">
                    <a:pos x="5" y="6"/>
                  </a:cxn>
                  <a:cxn ang="0">
                    <a:pos x="2" y="9"/>
                  </a:cxn>
                  <a:cxn ang="0">
                    <a:pos x="0" y="13"/>
                  </a:cxn>
                </a:cxnLst>
                <a:rect l="0" t="0" r="r" b="b"/>
                <a:pathLst>
                  <a:path w="40" h="56">
                    <a:moveTo>
                      <a:pt x="0" y="13"/>
                    </a:moveTo>
                    <a:cubicBezTo>
                      <a:pt x="0" y="15"/>
                      <a:pt x="0" y="13"/>
                      <a:pt x="1" y="14"/>
                    </a:cubicBezTo>
                    <a:cubicBezTo>
                      <a:pt x="3" y="16"/>
                      <a:pt x="0" y="19"/>
                      <a:pt x="2" y="19"/>
                    </a:cubicBezTo>
                    <a:cubicBezTo>
                      <a:pt x="4" y="19"/>
                      <a:pt x="3" y="18"/>
                      <a:pt x="5" y="18"/>
                    </a:cubicBezTo>
                    <a:cubicBezTo>
                      <a:pt x="7" y="19"/>
                      <a:pt x="5" y="20"/>
                      <a:pt x="6" y="21"/>
                    </a:cubicBezTo>
                    <a:cubicBezTo>
                      <a:pt x="7" y="23"/>
                      <a:pt x="4" y="26"/>
                      <a:pt x="5" y="27"/>
                    </a:cubicBezTo>
                    <a:cubicBezTo>
                      <a:pt x="6" y="28"/>
                      <a:pt x="3" y="31"/>
                      <a:pt x="4" y="32"/>
                    </a:cubicBezTo>
                    <a:cubicBezTo>
                      <a:pt x="5" y="32"/>
                      <a:pt x="5" y="32"/>
                      <a:pt x="8" y="29"/>
                    </a:cubicBezTo>
                    <a:cubicBezTo>
                      <a:pt x="11" y="26"/>
                      <a:pt x="10" y="29"/>
                      <a:pt x="12" y="29"/>
                    </a:cubicBezTo>
                    <a:cubicBezTo>
                      <a:pt x="13" y="29"/>
                      <a:pt x="12" y="30"/>
                      <a:pt x="13" y="29"/>
                    </a:cubicBezTo>
                    <a:cubicBezTo>
                      <a:pt x="16" y="28"/>
                      <a:pt x="15" y="25"/>
                      <a:pt x="18" y="26"/>
                    </a:cubicBezTo>
                    <a:cubicBezTo>
                      <a:pt x="20" y="27"/>
                      <a:pt x="20" y="26"/>
                      <a:pt x="21" y="28"/>
                    </a:cubicBezTo>
                    <a:cubicBezTo>
                      <a:pt x="22" y="32"/>
                      <a:pt x="25" y="31"/>
                      <a:pt x="24" y="36"/>
                    </a:cubicBezTo>
                    <a:cubicBezTo>
                      <a:pt x="23" y="41"/>
                      <a:pt x="27" y="41"/>
                      <a:pt x="27" y="42"/>
                    </a:cubicBezTo>
                    <a:cubicBezTo>
                      <a:pt x="27" y="43"/>
                      <a:pt x="29" y="43"/>
                      <a:pt x="28" y="49"/>
                    </a:cubicBezTo>
                    <a:cubicBezTo>
                      <a:pt x="28" y="50"/>
                      <a:pt x="29" y="51"/>
                      <a:pt x="26" y="52"/>
                    </a:cubicBezTo>
                    <a:cubicBezTo>
                      <a:pt x="27" y="55"/>
                      <a:pt x="28" y="52"/>
                      <a:pt x="29" y="54"/>
                    </a:cubicBezTo>
                    <a:cubicBezTo>
                      <a:pt x="30" y="56"/>
                      <a:pt x="32" y="55"/>
                      <a:pt x="31" y="53"/>
                    </a:cubicBezTo>
                    <a:cubicBezTo>
                      <a:pt x="29" y="51"/>
                      <a:pt x="32" y="52"/>
                      <a:pt x="33" y="51"/>
                    </a:cubicBezTo>
                    <a:cubicBezTo>
                      <a:pt x="34" y="50"/>
                      <a:pt x="34" y="53"/>
                      <a:pt x="35" y="52"/>
                    </a:cubicBezTo>
                    <a:cubicBezTo>
                      <a:pt x="36" y="52"/>
                      <a:pt x="37" y="50"/>
                      <a:pt x="37" y="51"/>
                    </a:cubicBezTo>
                    <a:cubicBezTo>
                      <a:pt x="38" y="51"/>
                      <a:pt x="38" y="50"/>
                      <a:pt x="38" y="50"/>
                    </a:cubicBezTo>
                    <a:cubicBezTo>
                      <a:pt x="38" y="48"/>
                      <a:pt x="40" y="47"/>
                      <a:pt x="38" y="45"/>
                    </a:cubicBezTo>
                    <a:cubicBezTo>
                      <a:pt x="36" y="43"/>
                      <a:pt x="36" y="43"/>
                      <a:pt x="37" y="42"/>
                    </a:cubicBezTo>
                    <a:cubicBezTo>
                      <a:pt x="38" y="42"/>
                      <a:pt x="38" y="41"/>
                      <a:pt x="37" y="41"/>
                    </a:cubicBezTo>
                    <a:cubicBezTo>
                      <a:pt x="37" y="42"/>
                      <a:pt x="35" y="38"/>
                      <a:pt x="34" y="39"/>
                    </a:cubicBezTo>
                    <a:cubicBezTo>
                      <a:pt x="33" y="39"/>
                      <a:pt x="34" y="34"/>
                      <a:pt x="32" y="33"/>
                    </a:cubicBezTo>
                    <a:cubicBezTo>
                      <a:pt x="30" y="33"/>
                      <a:pt x="29" y="31"/>
                      <a:pt x="28" y="29"/>
                    </a:cubicBezTo>
                    <a:cubicBezTo>
                      <a:pt x="27" y="26"/>
                      <a:pt x="27" y="28"/>
                      <a:pt x="26" y="26"/>
                    </a:cubicBezTo>
                    <a:cubicBezTo>
                      <a:pt x="25" y="25"/>
                      <a:pt x="26" y="25"/>
                      <a:pt x="26" y="24"/>
                    </a:cubicBezTo>
                    <a:cubicBezTo>
                      <a:pt x="25" y="24"/>
                      <a:pt x="24" y="24"/>
                      <a:pt x="21" y="22"/>
                    </a:cubicBezTo>
                    <a:cubicBezTo>
                      <a:pt x="18" y="19"/>
                      <a:pt x="21" y="20"/>
                      <a:pt x="20" y="19"/>
                    </a:cubicBezTo>
                    <a:cubicBezTo>
                      <a:pt x="19" y="16"/>
                      <a:pt x="23" y="19"/>
                      <a:pt x="24" y="18"/>
                    </a:cubicBezTo>
                    <a:cubicBezTo>
                      <a:pt x="24" y="16"/>
                      <a:pt x="26" y="16"/>
                      <a:pt x="25" y="15"/>
                    </a:cubicBezTo>
                    <a:cubicBezTo>
                      <a:pt x="24" y="14"/>
                      <a:pt x="24" y="15"/>
                      <a:pt x="23" y="14"/>
                    </a:cubicBezTo>
                    <a:cubicBezTo>
                      <a:pt x="23" y="13"/>
                      <a:pt x="21" y="14"/>
                      <a:pt x="22" y="13"/>
                    </a:cubicBezTo>
                    <a:cubicBezTo>
                      <a:pt x="24" y="12"/>
                      <a:pt x="24" y="11"/>
                      <a:pt x="22" y="10"/>
                    </a:cubicBezTo>
                    <a:cubicBezTo>
                      <a:pt x="20" y="9"/>
                      <a:pt x="20" y="9"/>
                      <a:pt x="19" y="10"/>
                    </a:cubicBezTo>
                    <a:cubicBezTo>
                      <a:pt x="18" y="13"/>
                      <a:pt x="17" y="10"/>
                      <a:pt x="16" y="10"/>
                    </a:cubicBezTo>
                    <a:cubicBezTo>
                      <a:pt x="15" y="11"/>
                      <a:pt x="15" y="9"/>
                      <a:pt x="14" y="8"/>
                    </a:cubicBezTo>
                    <a:cubicBezTo>
                      <a:pt x="14" y="7"/>
                      <a:pt x="15" y="7"/>
                      <a:pt x="14" y="7"/>
                    </a:cubicBezTo>
                    <a:cubicBezTo>
                      <a:pt x="14" y="6"/>
                      <a:pt x="15" y="5"/>
                      <a:pt x="14" y="5"/>
                    </a:cubicBezTo>
                    <a:cubicBezTo>
                      <a:pt x="14" y="5"/>
                      <a:pt x="14" y="3"/>
                      <a:pt x="13" y="5"/>
                    </a:cubicBezTo>
                    <a:cubicBezTo>
                      <a:pt x="13" y="6"/>
                      <a:pt x="14" y="4"/>
                      <a:pt x="10" y="0"/>
                    </a:cubicBezTo>
                    <a:cubicBezTo>
                      <a:pt x="9" y="0"/>
                      <a:pt x="6" y="0"/>
                      <a:pt x="8" y="3"/>
                    </a:cubicBezTo>
                    <a:cubicBezTo>
                      <a:pt x="9" y="7"/>
                      <a:pt x="8" y="6"/>
                      <a:pt x="8" y="7"/>
                    </a:cubicBezTo>
                    <a:cubicBezTo>
                      <a:pt x="9" y="8"/>
                      <a:pt x="8" y="9"/>
                      <a:pt x="8" y="8"/>
                    </a:cubicBezTo>
                    <a:cubicBezTo>
                      <a:pt x="7" y="7"/>
                      <a:pt x="6" y="10"/>
                      <a:pt x="5" y="6"/>
                    </a:cubicBezTo>
                    <a:cubicBezTo>
                      <a:pt x="4" y="7"/>
                      <a:pt x="2" y="6"/>
                      <a:pt x="2" y="9"/>
                    </a:cubicBezTo>
                    <a:cubicBezTo>
                      <a:pt x="1" y="12"/>
                      <a:pt x="0" y="9"/>
                      <a:pt x="0" y="13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0" name="Freeform 20153">
                <a:extLst>
                  <a:ext uri="{FF2B5EF4-FFF2-40B4-BE49-F238E27FC236}">
                    <a16:creationId xmlns:a16="http://schemas.microsoft.com/office/drawing/2014/main" id="{077FA1E1-DEFD-404F-ACCE-42C27932D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55402" y="3842485"/>
                <a:ext cx="129760" cy="12212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7" y="4"/>
                  </a:cxn>
                  <a:cxn ang="0">
                    <a:pos x="28" y="7"/>
                  </a:cxn>
                  <a:cxn ang="0">
                    <a:pos x="28" y="12"/>
                  </a:cxn>
                  <a:cxn ang="0">
                    <a:pos x="27" y="15"/>
                  </a:cxn>
                  <a:cxn ang="0">
                    <a:pos x="24" y="17"/>
                  </a:cxn>
                  <a:cxn ang="0">
                    <a:pos x="22" y="19"/>
                  </a:cxn>
                  <a:cxn ang="0">
                    <a:pos x="20" y="20"/>
                  </a:cxn>
                  <a:cxn ang="0">
                    <a:pos x="20" y="23"/>
                  </a:cxn>
                  <a:cxn ang="0">
                    <a:pos x="19" y="24"/>
                  </a:cxn>
                  <a:cxn ang="0">
                    <a:pos x="16" y="24"/>
                  </a:cxn>
                  <a:cxn ang="0">
                    <a:pos x="15" y="25"/>
                  </a:cxn>
                  <a:cxn ang="0">
                    <a:pos x="12" y="27"/>
                  </a:cxn>
                  <a:cxn ang="0">
                    <a:pos x="9" y="26"/>
                  </a:cxn>
                  <a:cxn ang="0">
                    <a:pos x="8" y="26"/>
                  </a:cxn>
                  <a:cxn ang="0">
                    <a:pos x="8" y="23"/>
                  </a:cxn>
                  <a:cxn ang="0">
                    <a:pos x="7" y="24"/>
                  </a:cxn>
                  <a:cxn ang="0">
                    <a:pos x="5" y="23"/>
                  </a:cxn>
                  <a:cxn ang="0">
                    <a:pos x="4" y="19"/>
                  </a:cxn>
                  <a:cxn ang="0">
                    <a:pos x="3" y="14"/>
                  </a:cxn>
                  <a:cxn ang="0">
                    <a:pos x="1" y="9"/>
                  </a:cxn>
                  <a:cxn ang="0">
                    <a:pos x="2" y="7"/>
                  </a:cxn>
                  <a:cxn ang="0">
                    <a:pos x="4" y="4"/>
                  </a:cxn>
                  <a:cxn ang="0">
                    <a:pos x="13" y="2"/>
                  </a:cxn>
                  <a:cxn ang="0">
                    <a:pos x="16" y="2"/>
                  </a:cxn>
                  <a:cxn ang="0">
                    <a:pos x="19" y="4"/>
                  </a:cxn>
                  <a:cxn ang="0">
                    <a:pos x="21" y="3"/>
                  </a:cxn>
                  <a:cxn ang="0">
                    <a:pos x="23" y="1"/>
                  </a:cxn>
                  <a:cxn ang="0">
                    <a:pos x="25" y="2"/>
                  </a:cxn>
                  <a:cxn ang="0">
                    <a:pos x="27" y="1"/>
                  </a:cxn>
                  <a:cxn ang="0">
                    <a:pos x="28" y="0"/>
                  </a:cxn>
                </a:cxnLst>
                <a:rect l="0" t="0" r="r" b="b"/>
                <a:pathLst>
                  <a:path w="29" h="27">
                    <a:moveTo>
                      <a:pt x="28" y="0"/>
                    </a:moveTo>
                    <a:cubicBezTo>
                      <a:pt x="28" y="1"/>
                      <a:pt x="27" y="4"/>
                      <a:pt x="27" y="4"/>
                    </a:cubicBezTo>
                    <a:cubicBezTo>
                      <a:pt x="28" y="5"/>
                      <a:pt x="28" y="5"/>
                      <a:pt x="28" y="7"/>
                    </a:cubicBezTo>
                    <a:cubicBezTo>
                      <a:pt x="29" y="9"/>
                      <a:pt x="28" y="10"/>
                      <a:pt x="28" y="12"/>
                    </a:cubicBezTo>
                    <a:cubicBezTo>
                      <a:pt x="29" y="14"/>
                      <a:pt x="29" y="16"/>
                      <a:pt x="27" y="15"/>
                    </a:cubicBezTo>
                    <a:cubicBezTo>
                      <a:pt x="26" y="15"/>
                      <a:pt x="26" y="17"/>
                      <a:pt x="24" y="17"/>
                    </a:cubicBezTo>
                    <a:cubicBezTo>
                      <a:pt x="21" y="17"/>
                      <a:pt x="24" y="20"/>
                      <a:pt x="22" y="19"/>
                    </a:cubicBezTo>
                    <a:cubicBezTo>
                      <a:pt x="20" y="18"/>
                      <a:pt x="19" y="19"/>
                      <a:pt x="20" y="20"/>
                    </a:cubicBezTo>
                    <a:cubicBezTo>
                      <a:pt x="20" y="21"/>
                      <a:pt x="19" y="22"/>
                      <a:pt x="20" y="23"/>
                    </a:cubicBezTo>
                    <a:cubicBezTo>
                      <a:pt x="23" y="25"/>
                      <a:pt x="20" y="25"/>
                      <a:pt x="19" y="24"/>
                    </a:cubicBezTo>
                    <a:cubicBezTo>
                      <a:pt x="19" y="22"/>
                      <a:pt x="17" y="25"/>
                      <a:pt x="16" y="24"/>
                    </a:cubicBezTo>
                    <a:cubicBezTo>
                      <a:pt x="16" y="23"/>
                      <a:pt x="15" y="25"/>
                      <a:pt x="15" y="25"/>
                    </a:cubicBezTo>
                    <a:cubicBezTo>
                      <a:pt x="16" y="27"/>
                      <a:pt x="13" y="26"/>
                      <a:pt x="12" y="27"/>
                    </a:cubicBezTo>
                    <a:cubicBezTo>
                      <a:pt x="11" y="26"/>
                      <a:pt x="10" y="27"/>
                      <a:pt x="9" y="26"/>
                    </a:cubicBezTo>
                    <a:cubicBezTo>
                      <a:pt x="9" y="25"/>
                      <a:pt x="9" y="27"/>
                      <a:pt x="8" y="26"/>
                    </a:cubicBezTo>
                    <a:cubicBezTo>
                      <a:pt x="6" y="25"/>
                      <a:pt x="9" y="25"/>
                      <a:pt x="8" y="23"/>
                    </a:cubicBezTo>
                    <a:cubicBezTo>
                      <a:pt x="6" y="21"/>
                      <a:pt x="7" y="24"/>
                      <a:pt x="7" y="24"/>
                    </a:cubicBezTo>
                    <a:cubicBezTo>
                      <a:pt x="6" y="24"/>
                      <a:pt x="5" y="26"/>
                      <a:pt x="5" y="23"/>
                    </a:cubicBezTo>
                    <a:cubicBezTo>
                      <a:pt x="5" y="21"/>
                      <a:pt x="6" y="22"/>
                      <a:pt x="4" y="19"/>
                    </a:cubicBezTo>
                    <a:cubicBezTo>
                      <a:pt x="2" y="16"/>
                      <a:pt x="4" y="15"/>
                      <a:pt x="3" y="14"/>
                    </a:cubicBezTo>
                    <a:cubicBezTo>
                      <a:pt x="1" y="13"/>
                      <a:pt x="3" y="12"/>
                      <a:pt x="1" y="9"/>
                    </a:cubicBezTo>
                    <a:cubicBezTo>
                      <a:pt x="0" y="6"/>
                      <a:pt x="2" y="8"/>
                      <a:pt x="2" y="7"/>
                    </a:cubicBezTo>
                    <a:cubicBezTo>
                      <a:pt x="2" y="6"/>
                      <a:pt x="3" y="7"/>
                      <a:pt x="4" y="4"/>
                    </a:cubicBezTo>
                    <a:cubicBezTo>
                      <a:pt x="5" y="1"/>
                      <a:pt x="10" y="2"/>
                      <a:pt x="13" y="2"/>
                    </a:cubicBezTo>
                    <a:cubicBezTo>
                      <a:pt x="16" y="1"/>
                      <a:pt x="15" y="3"/>
                      <a:pt x="16" y="2"/>
                    </a:cubicBezTo>
                    <a:cubicBezTo>
                      <a:pt x="17" y="5"/>
                      <a:pt x="18" y="2"/>
                      <a:pt x="19" y="4"/>
                    </a:cubicBezTo>
                    <a:cubicBezTo>
                      <a:pt x="20" y="6"/>
                      <a:pt x="22" y="5"/>
                      <a:pt x="21" y="3"/>
                    </a:cubicBezTo>
                    <a:cubicBezTo>
                      <a:pt x="19" y="1"/>
                      <a:pt x="22" y="2"/>
                      <a:pt x="23" y="1"/>
                    </a:cubicBezTo>
                    <a:cubicBezTo>
                      <a:pt x="24" y="0"/>
                      <a:pt x="24" y="3"/>
                      <a:pt x="25" y="2"/>
                    </a:cubicBezTo>
                    <a:cubicBezTo>
                      <a:pt x="26" y="2"/>
                      <a:pt x="27" y="0"/>
                      <a:pt x="27" y="1"/>
                    </a:cubicBezTo>
                    <a:cubicBezTo>
                      <a:pt x="28" y="1"/>
                      <a:pt x="28" y="0"/>
                      <a:pt x="28" y="0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1" name="Freeform 20249">
                <a:extLst>
                  <a:ext uri="{FF2B5EF4-FFF2-40B4-BE49-F238E27FC236}">
                    <a16:creationId xmlns:a16="http://schemas.microsoft.com/office/drawing/2014/main" id="{8937F2F1-6122-2446-B1FC-66B00CC1D87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006516" y="3726082"/>
                <a:ext cx="230896" cy="425535"/>
              </a:xfrm>
              <a:custGeom>
                <a:avLst/>
                <a:gdLst/>
                <a:ahLst/>
                <a:cxnLst>
                  <a:cxn ang="0">
                    <a:pos x="25" y="24"/>
                  </a:cxn>
                  <a:cxn ang="0">
                    <a:pos x="37" y="33"/>
                  </a:cxn>
                  <a:cxn ang="0">
                    <a:pos x="39" y="50"/>
                  </a:cxn>
                  <a:cxn ang="0">
                    <a:pos x="41" y="54"/>
                  </a:cxn>
                  <a:cxn ang="0">
                    <a:pos x="42" y="52"/>
                  </a:cxn>
                  <a:cxn ang="0">
                    <a:pos x="38" y="46"/>
                  </a:cxn>
                  <a:cxn ang="0">
                    <a:pos x="32" y="61"/>
                  </a:cxn>
                  <a:cxn ang="0">
                    <a:pos x="31" y="50"/>
                  </a:cxn>
                  <a:cxn ang="0">
                    <a:pos x="28" y="58"/>
                  </a:cxn>
                  <a:cxn ang="0">
                    <a:pos x="30" y="51"/>
                  </a:cxn>
                  <a:cxn ang="0">
                    <a:pos x="35" y="42"/>
                  </a:cxn>
                  <a:cxn ang="0">
                    <a:pos x="33" y="42"/>
                  </a:cxn>
                  <a:cxn ang="0">
                    <a:pos x="45" y="51"/>
                  </a:cxn>
                  <a:cxn ang="0">
                    <a:pos x="35" y="48"/>
                  </a:cxn>
                  <a:cxn ang="0">
                    <a:pos x="36" y="52"/>
                  </a:cxn>
                  <a:cxn ang="0">
                    <a:pos x="33" y="56"/>
                  </a:cxn>
                  <a:cxn ang="0">
                    <a:pos x="39" y="57"/>
                  </a:cxn>
                  <a:cxn ang="0">
                    <a:pos x="36" y="56"/>
                  </a:cxn>
                  <a:cxn ang="0">
                    <a:pos x="27" y="73"/>
                  </a:cxn>
                  <a:cxn ang="0">
                    <a:pos x="31" y="71"/>
                  </a:cxn>
                  <a:cxn ang="0">
                    <a:pos x="35" y="70"/>
                  </a:cxn>
                  <a:cxn ang="0">
                    <a:pos x="37" y="79"/>
                  </a:cxn>
                  <a:cxn ang="0">
                    <a:pos x="44" y="83"/>
                  </a:cxn>
                  <a:cxn ang="0">
                    <a:pos x="45" y="73"/>
                  </a:cxn>
                  <a:cxn ang="0">
                    <a:pos x="47" y="76"/>
                  </a:cxn>
                  <a:cxn ang="0">
                    <a:pos x="49" y="70"/>
                  </a:cxn>
                  <a:cxn ang="0">
                    <a:pos x="48" y="62"/>
                  </a:cxn>
                  <a:cxn ang="0">
                    <a:pos x="44" y="60"/>
                  </a:cxn>
                  <a:cxn ang="0">
                    <a:pos x="38" y="66"/>
                  </a:cxn>
                  <a:cxn ang="0">
                    <a:pos x="33" y="64"/>
                  </a:cxn>
                  <a:cxn ang="0">
                    <a:pos x="28" y="68"/>
                  </a:cxn>
                  <a:cxn ang="0">
                    <a:pos x="25" y="78"/>
                  </a:cxn>
                  <a:cxn ang="0">
                    <a:pos x="22" y="81"/>
                  </a:cxn>
                  <a:cxn ang="0">
                    <a:pos x="34" y="62"/>
                  </a:cxn>
                  <a:cxn ang="0">
                    <a:pos x="40" y="61"/>
                  </a:cxn>
                  <a:cxn ang="0">
                    <a:pos x="26" y="39"/>
                  </a:cxn>
                  <a:cxn ang="0">
                    <a:pos x="25" y="34"/>
                  </a:cxn>
                  <a:cxn ang="0">
                    <a:pos x="28" y="40"/>
                  </a:cxn>
                  <a:cxn ang="0">
                    <a:pos x="33" y="39"/>
                  </a:cxn>
                  <a:cxn ang="0">
                    <a:pos x="35" y="41"/>
                  </a:cxn>
                  <a:cxn ang="0">
                    <a:pos x="14" y="53"/>
                  </a:cxn>
                  <a:cxn ang="0">
                    <a:pos x="44" y="47"/>
                  </a:cxn>
                  <a:cxn ang="0">
                    <a:pos x="39" y="43"/>
                  </a:cxn>
                  <a:cxn ang="0">
                    <a:pos x="45" y="49"/>
                  </a:cxn>
                  <a:cxn ang="0">
                    <a:pos x="47" y="56"/>
                  </a:cxn>
                  <a:cxn ang="0">
                    <a:pos x="31" y="49"/>
                  </a:cxn>
                  <a:cxn ang="0">
                    <a:pos x="26" y="45"/>
                  </a:cxn>
                  <a:cxn ang="0">
                    <a:pos x="23" y="40"/>
                  </a:cxn>
                  <a:cxn ang="0">
                    <a:pos x="18" y="36"/>
                  </a:cxn>
                  <a:cxn ang="0">
                    <a:pos x="7" y="60"/>
                  </a:cxn>
                  <a:cxn ang="0">
                    <a:pos x="13" y="47"/>
                  </a:cxn>
                  <a:cxn ang="0">
                    <a:pos x="5" y="60"/>
                  </a:cxn>
                  <a:cxn ang="0">
                    <a:pos x="35" y="36"/>
                  </a:cxn>
                  <a:cxn ang="0">
                    <a:pos x="31" y="32"/>
                  </a:cxn>
                  <a:cxn ang="0">
                    <a:pos x="24" y="26"/>
                  </a:cxn>
                  <a:cxn ang="0">
                    <a:pos x="28" y="12"/>
                  </a:cxn>
                  <a:cxn ang="0">
                    <a:pos x="17" y="5"/>
                  </a:cxn>
                  <a:cxn ang="0">
                    <a:pos x="14" y="18"/>
                  </a:cxn>
                  <a:cxn ang="0">
                    <a:pos x="19" y="26"/>
                  </a:cxn>
                  <a:cxn ang="0">
                    <a:pos x="23" y="31"/>
                  </a:cxn>
                  <a:cxn ang="0">
                    <a:pos x="30" y="33"/>
                  </a:cxn>
                  <a:cxn ang="0">
                    <a:pos x="37" y="38"/>
                  </a:cxn>
                  <a:cxn ang="0">
                    <a:pos x="51" y="91"/>
                  </a:cxn>
                </a:cxnLst>
                <a:rect l="0" t="0" r="r" b="b"/>
                <a:pathLst>
                  <a:path w="51" h="94">
                    <a:moveTo>
                      <a:pt x="25" y="24"/>
                    </a:moveTo>
                    <a:cubicBezTo>
                      <a:pt x="25" y="23"/>
                      <a:pt x="25" y="24"/>
                      <a:pt x="26" y="25"/>
                    </a:cubicBezTo>
                    <a:cubicBezTo>
                      <a:pt x="26" y="26"/>
                      <a:pt x="25" y="27"/>
                      <a:pt x="25" y="26"/>
                    </a:cubicBezTo>
                    <a:cubicBezTo>
                      <a:pt x="25" y="24"/>
                      <a:pt x="24" y="24"/>
                      <a:pt x="25" y="24"/>
                    </a:cubicBezTo>
                    <a:close/>
                    <a:moveTo>
                      <a:pt x="38" y="32"/>
                    </a:moveTo>
                    <a:cubicBezTo>
                      <a:pt x="38" y="31"/>
                      <a:pt x="38" y="31"/>
                      <a:pt x="38" y="31"/>
                    </a:cubicBezTo>
                    <a:cubicBezTo>
                      <a:pt x="37" y="30"/>
                      <a:pt x="36" y="29"/>
                      <a:pt x="37" y="31"/>
                    </a:cubicBezTo>
                    <a:cubicBezTo>
                      <a:pt x="37" y="33"/>
                      <a:pt x="36" y="32"/>
                      <a:pt x="37" y="33"/>
                    </a:cubicBezTo>
                    <a:cubicBezTo>
                      <a:pt x="37" y="34"/>
                      <a:pt x="38" y="33"/>
                      <a:pt x="38" y="32"/>
                    </a:cubicBezTo>
                    <a:close/>
                    <a:moveTo>
                      <a:pt x="38" y="48"/>
                    </a:moveTo>
                    <a:cubicBezTo>
                      <a:pt x="38" y="49"/>
                      <a:pt x="39" y="49"/>
                      <a:pt x="38" y="50"/>
                    </a:cubicBezTo>
                    <a:cubicBezTo>
                      <a:pt x="37" y="50"/>
                      <a:pt x="39" y="51"/>
                      <a:pt x="39" y="50"/>
                    </a:cubicBezTo>
                    <a:cubicBezTo>
                      <a:pt x="39" y="49"/>
                      <a:pt x="41" y="51"/>
                      <a:pt x="40" y="52"/>
                    </a:cubicBezTo>
                    <a:cubicBezTo>
                      <a:pt x="39" y="53"/>
                      <a:pt x="40" y="53"/>
                      <a:pt x="40" y="54"/>
                    </a:cubicBezTo>
                    <a:cubicBezTo>
                      <a:pt x="40" y="55"/>
                      <a:pt x="40" y="55"/>
                      <a:pt x="41" y="55"/>
                    </a:cubicBezTo>
                    <a:cubicBezTo>
                      <a:pt x="42" y="56"/>
                      <a:pt x="41" y="54"/>
                      <a:pt x="41" y="54"/>
                    </a:cubicBezTo>
                    <a:cubicBezTo>
                      <a:pt x="42" y="54"/>
                      <a:pt x="42" y="55"/>
                      <a:pt x="42" y="56"/>
                    </a:cubicBezTo>
                    <a:cubicBezTo>
                      <a:pt x="43" y="57"/>
                      <a:pt x="43" y="56"/>
                      <a:pt x="42" y="55"/>
                    </a:cubicBezTo>
                    <a:cubicBezTo>
                      <a:pt x="42" y="54"/>
                      <a:pt x="44" y="54"/>
                      <a:pt x="43" y="53"/>
                    </a:cubicBezTo>
                    <a:cubicBezTo>
                      <a:pt x="42" y="53"/>
                      <a:pt x="43" y="52"/>
                      <a:pt x="42" y="52"/>
                    </a:cubicBezTo>
                    <a:cubicBezTo>
                      <a:pt x="41" y="51"/>
                      <a:pt x="42" y="48"/>
                      <a:pt x="41" y="48"/>
                    </a:cubicBezTo>
                    <a:cubicBezTo>
                      <a:pt x="41" y="48"/>
                      <a:pt x="42" y="47"/>
                      <a:pt x="41" y="47"/>
                    </a:cubicBezTo>
                    <a:cubicBezTo>
                      <a:pt x="40" y="47"/>
                      <a:pt x="40" y="48"/>
                      <a:pt x="39" y="47"/>
                    </a:cubicBezTo>
                    <a:cubicBezTo>
                      <a:pt x="39" y="47"/>
                      <a:pt x="38" y="46"/>
                      <a:pt x="38" y="46"/>
                    </a:cubicBezTo>
                    <a:cubicBezTo>
                      <a:pt x="37" y="47"/>
                      <a:pt x="38" y="48"/>
                      <a:pt x="38" y="48"/>
                    </a:cubicBezTo>
                    <a:close/>
                    <a:moveTo>
                      <a:pt x="28" y="58"/>
                    </a:moveTo>
                    <a:cubicBezTo>
                      <a:pt x="29" y="60"/>
                      <a:pt x="30" y="59"/>
                      <a:pt x="30" y="61"/>
                    </a:cubicBezTo>
                    <a:cubicBezTo>
                      <a:pt x="31" y="63"/>
                      <a:pt x="32" y="62"/>
                      <a:pt x="32" y="61"/>
                    </a:cubicBezTo>
                    <a:cubicBezTo>
                      <a:pt x="33" y="60"/>
                      <a:pt x="31" y="58"/>
                      <a:pt x="32" y="56"/>
                    </a:cubicBezTo>
                    <a:cubicBezTo>
                      <a:pt x="33" y="55"/>
                      <a:pt x="32" y="55"/>
                      <a:pt x="33" y="53"/>
                    </a:cubicBezTo>
                    <a:cubicBezTo>
                      <a:pt x="34" y="52"/>
                      <a:pt x="34" y="50"/>
                      <a:pt x="33" y="50"/>
                    </a:cubicBezTo>
                    <a:cubicBezTo>
                      <a:pt x="32" y="50"/>
                      <a:pt x="32" y="49"/>
                      <a:pt x="31" y="50"/>
                    </a:cubicBezTo>
                    <a:cubicBezTo>
                      <a:pt x="30" y="51"/>
                      <a:pt x="31" y="52"/>
                      <a:pt x="30" y="52"/>
                    </a:cubicBezTo>
                    <a:cubicBezTo>
                      <a:pt x="29" y="53"/>
                      <a:pt x="31" y="55"/>
                      <a:pt x="30" y="56"/>
                    </a:cubicBezTo>
                    <a:cubicBezTo>
                      <a:pt x="28" y="57"/>
                      <a:pt x="28" y="55"/>
                      <a:pt x="28" y="57"/>
                    </a:cubicBezTo>
                    <a:cubicBezTo>
                      <a:pt x="28" y="57"/>
                      <a:pt x="28" y="58"/>
                      <a:pt x="28" y="58"/>
                    </a:cubicBezTo>
                    <a:close/>
                    <a:moveTo>
                      <a:pt x="30" y="51"/>
                    </a:moveTo>
                    <a:cubicBezTo>
                      <a:pt x="29" y="51"/>
                      <a:pt x="28" y="52"/>
                      <a:pt x="29" y="52"/>
                    </a:cubicBezTo>
                    <a:cubicBezTo>
                      <a:pt x="29" y="53"/>
                      <a:pt x="28" y="53"/>
                      <a:pt x="29" y="53"/>
                    </a:cubicBezTo>
                    <a:cubicBezTo>
                      <a:pt x="29" y="54"/>
                      <a:pt x="30" y="52"/>
                      <a:pt x="30" y="51"/>
                    </a:cubicBezTo>
                    <a:close/>
                    <a:moveTo>
                      <a:pt x="33" y="42"/>
                    </a:moveTo>
                    <a:cubicBezTo>
                      <a:pt x="34" y="41"/>
                      <a:pt x="34" y="44"/>
                      <a:pt x="35" y="44"/>
                    </a:cubicBezTo>
                    <a:cubicBezTo>
                      <a:pt x="36" y="44"/>
                      <a:pt x="37" y="46"/>
                      <a:pt x="37" y="45"/>
                    </a:cubicBezTo>
                    <a:cubicBezTo>
                      <a:pt x="36" y="43"/>
                      <a:pt x="36" y="42"/>
                      <a:pt x="35" y="42"/>
                    </a:cubicBezTo>
                    <a:cubicBezTo>
                      <a:pt x="34" y="41"/>
                      <a:pt x="34" y="40"/>
                      <a:pt x="33" y="40"/>
                    </a:cubicBezTo>
                    <a:cubicBezTo>
                      <a:pt x="33" y="40"/>
                      <a:pt x="32" y="39"/>
                      <a:pt x="32" y="40"/>
                    </a:cubicBezTo>
                    <a:cubicBezTo>
                      <a:pt x="32" y="41"/>
                      <a:pt x="32" y="42"/>
                      <a:pt x="32" y="44"/>
                    </a:cubicBezTo>
                    <a:cubicBezTo>
                      <a:pt x="31" y="44"/>
                      <a:pt x="33" y="43"/>
                      <a:pt x="33" y="42"/>
                    </a:cubicBezTo>
                    <a:close/>
                    <a:moveTo>
                      <a:pt x="39" y="46"/>
                    </a:moveTo>
                    <a:cubicBezTo>
                      <a:pt x="40" y="47"/>
                      <a:pt x="39" y="45"/>
                      <a:pt x="39" y="45"/>
                    </a:cubicBezTo>
                    <a:cubicBezTo>
                      <a:pt x="38" y="45"/>
                      <a:pt x="38" y="46"/>
                      <a:pt x="39" y="46"/>
                    </a:cubicBezTo>
                    <a:close/>
                    <a:moveTo>
                      <a:pt x="45" y="51"/>
                    </a:moveTo>
                    <a:cubicBezTo>
                      <a:pt x="46" y="51"/>
                      <a:pt x="45" y="51"/>
                      <a:pt x="45" y="51"/>
                    </a:cubicBezTo>
                    <a:cubicBezTo>
                      <a:pt x="45" y="51"/>
                      <a:pt x="45" y="52"/>
                      <a:pt x="45" y="51"/>
                    </a:cubicBezTo>
                    <a:close/>
                    <a:moveTo>
                      <a:pt x="35" y="49"/>
                    </a:moveTo>
                    <a:cubicBezTo>
                      <a:pt x="35" y="49"/>
                      <a:pt x="35" y="47"/>
                      <a:pt x="35" y="48"/>
                    </a:cubicBezTo>
                    <a:cubicBezTo>
                      <a:pt x="34" y="48"/>
                      <a:pt x="35" y="49"/>
                      <a:pt x="35" y="49"/>
                    </a:cubicBezTo>
                    <a:close/>
                    <a:moveTo>
                      <a:pt x="34" y="58"/>
                    </a:moveTo>
                    <a:cubicBezTo>
                      <a:pt x="34" y="56"/>
                      <a:pt x="34" y="57"/>
                      <a:pt x="34" y="56"/>
                    </a:cubicBezTo>
                    <a:cubicBezTo>
                      <a:pt x="34" y="54"/>
                      <a:pt x="37" y="54"/>
                      <a:pt x="36" y="52"/>
                    </a:cubicBezTo>
                    <a:cubicBezTo>
                      <a:pt x="36" y="51"/>
                      <a:pt x="37" y="51"/>
                      <a:pt x="37" y="50"/>
                    </a:cubicBezTo>
                    <a:cubicBezTo>
                      <a:pt x="36" y="49"/>
                      <a:pt x="37" y="46"/>
                      <a:pt x="36" y="49"/>
                    </a:cubicBezTo>
                    <a:cubicBezTo>
                      <a:pt x="35" y="51"/>
                      <a:pt x="35" y="50"/>
                      <a:pt x="35" y="52"/>
                    </a:cubicBezTo>
                    <a:cubicBezTo>
                      <a:pt x="34" y="54"/>
                      <a:pt x="33" y="55"/>
                      <a:pt x="33" y="56"/>
                    </a:cubicBezTo>
                    <a:cubicBezTo>
                      <a:pt x="33" y="57"/>
                      <a:pt x="33" y="57"/>
                      <a:pt x="33" y="59"/>
                    </a:cubicBezTo>
                    <a:cubicBezTo>
                      <a:pt x="33" y="60"/>
                      <a:pt x="33" y="59"/>
                      <a:pt x="34" y="58"/>
                    </a:cubicBezTo>
                    <a:close/>
                    <a:moveTo>
                      <a:pt x="38" y="58"/>
                    </a:moveTo>
                    <a:cubicBezTo>
                      <a:pt x="39" y="57"/>
                      <a:pt x="39" y="58"/>
                      <a:pt x="39" y="57"/>
                    </a:cubicBezTo>
                    <a:cubicBezTo>
                      <a:pt x="39" y="56"/>
                      <a:pt x="40" y="55"/>
                      <a:pt x="39" y="55"/>
                    </a:cubicBezTo>
                    <a:cubicBezTo>
                      <a:pt x="39" y="55"/>
                      <a:pt x="39" y="56"/>
                      <a:pt x="38" y="55"/>
                    </a:cubicBezTo>
                    <a:cubicBezTo>
                      <a:pt x="38" y="55"/>
                      <a:pt x="37" y="54"/>
                      <a:pt x="37" y="55"/>
                    </a:cubicBezTo>
                    <a:cubicBezTo>
                      <a:pt x="37" y="55"/>
                      <a:pt x="36" y="56"/>
                      <a:pt x="36" y="56"/>
                    </a:cubicBezTo>
                    <a:cubicBezTo>
                      <a:pt x="35" y="56"/>
                      <a:pt x="35" y="57"/>
                      <a:pt x="35" y="58"/>
                    </a:cubicBezTo>
                    <a:cubicBezTo>
                      <a:pt x="36" y="59"/>
                      <a:pt x="38" y="58"/>
                      <a:pt x="38" y="58"/>
                    </a:cubicBezTo>
                    <a:close/>
                    <a:moveTo>
                      <a:pt x="26" y="75"/>
                    </a:moveTo>
                    <a:cubicBezTo>
                      <a:pt x="27" y="76"/>
                      <a:pt x="27" y="74"/>
                      <a:pt x="27" y="73"/>
                    </a:cubicBezTo>
                    <a:cubicBezTo>
                      <a:pt x="28" y="72"/>
                      <a:pt x="27" y="72"/>
                      <a:pt x="28" y="72"/>
                    </a:cubicBezTo>
                    <a:cubicBezTo>
                      <a:pt x="29" y="71"/>
                      <a:pt x="28" y="71"/>
                      <a:pt x="29" y="70"/>
                    </a:cubicBezTo>
                    <a:cubicBezTo>
                      <a:pt x="30" y="69"/>
                      <a:pt x="30" y="70"/>
                      <a:pt x="30" y="71"/>
                    </a:cubicBezTo>
                    <a:cubicBezTo>
                      <a:pt x="29" y="72"/>
                      <a:pt x="31" y="72"/>
                      <a:pt x="31" y="71"/>
                    </a:cubicBezTo>
                    <a:cubicBezTo>
                      <a:pt x="32" y="69"/>
                      <a:pt x="31" y="72"/>
                      <a:pt x="32" y="72"/>
                    </a:cubicBezTo>
                    <a:cubicBezTo>
                      <a:pt x="33" y="72"/>
                      <a:pt x="34" y="73"/>
                      <a:pt x="33" y="72"/>
                    </a:cubicBezTo>
                    <a:cubicBezTo>
                      <a:pt x="33" y="71"/>
                      <a:pt x="34" y="70"/>
                      <a:pt x="33" y="70"/>
                    </a:cubicBezTo>
                    <a:cubicBezTo>
                      <a:pt x="33" y="70"/>
                      <a:pt x="34" y="69"/>
                      <a:pt x="35" y="70"/>
                    </a:cubicBezTo>
                    <a:cubicBezTo>
                      <a:pt x="35" y="71"/>
                      <a:pt x="36" y="70"/>
                      <a:pt x="37" y="71"/>
                    </a:cubicBezTo>
                    <a:cubicBezTo>
                      <a:pt x="37" y="73"/>
                      <a:pt x="37" y="72"/>
                      <a:pt x="37" y="73"/>
                    </a:cubicBezTo>
                    <a:cubicBezTo>
                      <a:pt x="37" y="73"/>
                      <a:pt x="35" y="74"/>
                      <a:pt x="36" y="76"/>
                    </a:cubicBezTo>
                    <a:cubicBezTo>
                      <a:pt x="36" y="77"/>
                      <a:pt x="36" y="79"/>
                      <a:pt x="37" y="79"/>
                    </a:cubicBezTo>
                    <a:cubicBezTo>
                      <a:pt x="38" y="80"/>
                      <a:pt x="36" y="80"/>
                      <a:pt x="38" y="81"/>
                    </a:cubicBezTo>
                    <a:cubicBezTo>
                      <a:pt x="40" y="82"/>
                      <a:pt x="41" y="83"/>
                      <a:pt x="42" y="81"/>
                    </a:cubicBezTo>
                    <a:cubicBezTo>
                      <a:pt x="42" y="80"/>
                      <a:pt x="43" y="80"/>
                      <a:pt x="43" y="81"/>
                    </a:cubicBezTo>
                    <a:cubicBezTo>
                      <a:pt x="42" y="82"/>
                      <a:pt x="43" y="85"/>
                      <a:pt x="44" y="83"/>
                    </a:cubicBezTo>
                    <a:cubicBezTo>
                      <a:pt x="45" y="82"/>
                      <a:pt x="45" y="80"/>
                      <a:pt x="45" y="79"/>
                    </a:cubicBezTo>
                    <a:cubicBezTo>
                      <a:pt x="44" y="78"/>
                      <a:pt x="44" y="77"/>
                      <a:pt x="44" y="77"/>
                    </a:cubicBezTo>
                    <a:cubicBezTo>
                      <a:pt x="43" y="77"/>
                      <a:pt x="43" y="75"/>
                      <a:pt x="44" y="75"/>
                    </a:cubicBezTo>
                    <a:cubicBezTo>
                      <a:pt x="45" y="74"/>
                      <a:pt x="44" y="73"/>
                      <a:pt x="45" y="73"/>
                    </a:cubicBezTo>
                    <a:cubicBezTo>
                      <a:pt x="46" y="72"/>
                      <a:pt x="45" y="73"/>
                      <a:pt x="46" y="74"/>
                    </a:cubicBezTo>
                    <a:cubicBezTo>
                      <a:pt x="46" y="75"/>
                      <a:pt x="46" y="75"/>
                      <a:pt x="47" y="76"/>
                    </a:cubicBezTo>
                    <a:cubicBezTo>
                      <a:pt x="47" y="77"/>
                      <a:pt x="46" y="76"/>
                      <a:pt x="47" y="79"/>
                    </a:cubicBezTo>
                    <a:cubicBezTo>
                      <a:pt x="48" y="80"/>
                      <a:pt x="48" y="78"/>
                      <a:pt x="47" y="76"/>
                    </a:cubicBezTo>
                    <a:cubicBezTo>
                      <a:pt x="47" y="74"/>
                      <a:pt x="49" y="77"/>
                      <a:pt x="48" y="75"/>
                    </a:cubicBezTo>
                    <a:cubicBezTo>
                      <a:pt x="48" y="74"/>
                      <a:pt x="49" y="76"/>
                      <a:pt x="49" y="74"/>
                    </a:cubicBezTo>
                    <a:cubicBezTo>
                      <a:pt x="50" y="73"/>
                      <a:pt x="50" y="72"/>
                      <a:pt x="49" y="71"/>
                    </a:cubicBezTo>
                    <a:cubicBezTo>
                      <a:pt x="49" y="70"/>
                      <a:pt x="49" y="70"/>
                      <a:pt x="49" y="70"/>
                    </a:cubicBezTo>
                    <a:cubicBezTo>
                      <a:pt x="48" y="69"/>
                      <a:pt x="49" y="67"/>
                      <a:pt x="49" y="67"/>
                    </a:cubicBezTo>
                    <a:cubicBezTo>
                      <a:pt x="48" y="66"/>
                      <a:pt x="49" y="65"/>
                      <a:pt x="48" y="65"/>
                    </a:cubicBezTo>
                    <a:cubicBezTo>
                      <a:pt x="47" y="65"/>
                      <a:pt x="47" y="65"/>
                      <a:pt x="47" y="64"/>
                    </a:cubicBezTo>
                    <a:cubicBezTo>
                      <a:pt x="48" y="64"/>
                      <a:pt x="49" y="63"/>
                      <a:pt x="48" y="62"/>
                    </a:cubicBezTo>
                    <a:cubicBezTo>
                      <a:pt x="47" y="61"/>
                      <a:pt x="48" y="60"/>
                      <a:pt x="47" y="60"/>
                    </a:cubicBezTo>
                    <a:cubicBezTo>
                      <a:pt x="46" y="61"/>
                      <a:pt x="47" y="59"/>
                      <a:pt x="45" y="59"/>
                    </a:cubicBezTo>
                    <a:cubicBezTo>
                      <a:pt x="44" y="58"/>
                      <a:pt x="45" y="58"/>
                      <a:pt x="44" y="57"/>
                    </a:cubicBezTo>
                    <a:cubicBezTo>
                      <a:pt x="43" y="57"/>
                      <a:pt x="43" y="57"/>
                      <a:pt x="44" y="60"/>
                    </a:cubicBezTo>
                    <a:cubicBezTo>
                      <a:pt x="45" y="63"/>
                      <a:pt x="43" y="62"/>
                      <a:pt x="43" y="62"/>
                    </a:cubicBezTo>
                    <a:cubicBezTo>
                      <a:pt x="42" y="61"/>
                      <a:pt x="43" y="64"/>
                      <a:pt x="41" y="63"/>
                    </a:cubicBezTo>
                    <a:cubicBezTo>
                      <a:pt x="40" y="61"/>
                      <a:pt x="40" y="63"/>
                      <a:pt x="40" y="65"/>
                    </a:cubicBezTo>
                    <a:cubicBezTo>
                      <a:pt x="40" y="67"/>
                      <a:pt x="38" y="63"/>
                      <a:pt x="38" y="66"/>
                    </a:cubicBezTo>
                    <a:cubicBezTo>
                      <a:pt x="37" y="68"/>
                      <a:pt x="37" y="67"/>
                      <a:pt x="36" y="68"/>
                    </a:cubicBezTo>
                    <a:cubicBezTo>
                      <a:pt x="34" y="69"/>
                      <a:pt x="36" y="68"/>
                      <a:pt x="35" y="66"/>
                    </a:cubicBezTo>
                    <a:cubicBezTo>
                      <a:pt x="35" y="65"/>
                      <a:pt x="35" y="64"/>
                      <a:pt x="34" y="65"/>
                    </a:cubicBezTo>
                    <a:cubicBezTo>
                      <a:pt x="33" y="65"/>
                      <a:pt x="34" y="64"/>
                      <a:pt x="33" y="64"/>
                    </a:cubicBezTo>
                    <a:cubicBezTo>
                      <a:pt x="33" y="64"/>
                      <a:pt x="33" y="65"/>
                      <a:pt x="32" y="65"/>
                    </a:cubicBezTo>
                    <a:cubicBezTo>
                      <a:pt x="31" y="65"/>
                      <a:pt x="30" y="66"/>
                      <a:pt x="31" y="67"/>
                    </a:cubicBezTo>
                    <a:cubicBezTo>
                      <a:pt x="31" y="67"/>
                      <a:pt x="30" y="68"/>
                      <a:pt x="30" y="68"/>
                    </a:cubicBezTo>
                    <a:cubicBezTo>
                      <a:pt x="29" y="67"/>
                      <a:pt x="29" y="68"/>
                      <a:pt x="28" y="68"/>
                    </a:cubicBezTo>
                    <a:cubicBezTo>
                      <a:pt x="27" y="68"/>
                      <a:pt x="26" y="69"/>
                      <a:pt x="26" y="70"/>
                    </a:cubicBezTo>
                    <a:cubicBezTo>
                      <a:pt x="26" y="71"/>
                      <a:pt x="26" y="72"/>
                      <a:pt x="25" y="73"/>
                    </a:cubicBezTo>
                    <a:cubicBezTo>
                      <a:pt x="25" y="74"/>
                      <a:pt x="25" y="74"/>
                      <a:pt x="26" y="75"/>
                    </a:cubicBezTo>
                    <a:close/>
                    <a:moveTo>
                      <a:pt x="25" y="78"/>
                    </a:moveTo>
                    <a:cubicBezTo>
                      <a:pt x="25" y="79"/>
                      <a:pt x="27" y="78"/>
                      <a:pt x="27" y="78"/>
                    </a:cubicBezTo>
                    <a:cubicBezTo>
                      <a:pt x="27" y="77"/>
                      <a:pt x="25" y="76"/>
                      <a:pt x="25" y="78"/>
                    </a:cubicBezTo>
                    <a:close/>
                    <a:moveTo>
                      <a:pt x="21" y="82"/>
                    </a:moveTo>
                    <a:cubicBezTo>
                      <a:pt x="22" y="82"/>
                      <a:pt x="23" y="81"/>
                      <a:pt x="22" y="81"/>
                    </a:cubicBezTo>
                    <a:cubicBezTo>
                      <a:pt x="22" y="81"/>
                      <a:pt x="21" y="79"/>
                      <a:pt x="20" y="81"/>
                    </a:cubicBezTo>
                    <a:cubicBezTo>
                      <a:pt x="19" y="82"/>
                      <a:pt x="21" y="81"/>
                      <a:pt x="21" y="82"/>
                    </a:cubicBezTo>
                    <a:close/>
                    <a:moveTo>
                      <a:pt x="33" y="61"/>
                    </a:moveTo>
                    <a:cubicBezTo>
                      <a:pt x="33" y="61"/>
                      <a:pt x="34" y="62"/>
                      <a:pt x="34" y="62"/>
                    </a:cubicBezTo>
                    <a:cubicBezTo>
                      <a:pt x="35" y="61"/>
                      <a:pt x="34" y="60"/>
                      <a:pt x="34" y="61"/>
                    </a:cubicBezTo>
                    <a:cubicBezTo>
                      <a:pt x="34" y="61"/>
                      <a:pt x="34" y="61"/>
                      <a:pt x="33" y="61"/>
                    </a:cubicBezTo>
                    <a:close/>
                    <a:moveTo>
                      <a:pt x="40" y="62"/>
                    </a:moveTo>
                    <a:cubicBezTo>
                      <a:pt x="41" y="61"/>
                      <a:pt x="40" y="61"/>
                      <a:pt x="40" y="61"/>
                    </a:cubicBezTo>
                    <a:cubicBezTo>
                      <a:pt x="39" y="61"/>
                      <a:pt x="40" y="62"/>
                      <a:pt x="40" y="62"/>
                    </a:cubicBezTo>
                    <a:close/>
                    <a:moveTo>
                      <a:pt x="25" y="41"/>
                    </a:moveTo>
                    <a:cubicBezTo>
                      <a:pt x="25" y="42"/>
                      <a:pt x="26" y="42"/>
                      <a:pt x="26" y="41"/>
                    </a:cubicBezTo>
                    <a:cubicBezTo>
                      <a:pt x="26" y="39"/>
                      <a:pt x="27" y="39"/>
                      <a:pt x="26" y="39"/>
                    </a:cubicBezTo>
                    <a:cubicBezTo>
                      <a:pt x="25" y="40"/>
                      <a:pt x="26" y="39"/>
                      <a:pt x="25" y="41"/>
                    </a:cubicBezTo>
                    <a:close/>
                    <a:moveTo>
                      <a:pt x="26" y="35"/>
                    </a:moveTo>
                    <a:cubicBezTo>
                      <a:pt x="26" y="35"/>
                      <a:pt x="27" y="34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5" y="36"/>
                      <a:pt x="26" y="35"/>
                    </a:cubicBezTo>
                    <a:close/>
                    <a:moveTo>
                      <a:pt x="28" y="41"/>
                    </a:moveTo>
                    <a:cubicBezTo>
                      <a:pt x="29" y="41"/>
                      <a:pt x="29" y="42"/>
                      <a:pt x="29" y="41"/>
                    </a:cubicBezTo>
                    <a:cubicBezTo>
                      <a:pt x="30" y="40"/>
                      <a:pt x="28" y="40"/>
                      <a:pt x="28" y="40"/>
                    </a:cubicBezTo>
                    <a:cubicBezTo>
                      <a:pt x="28" y="41"/>
                      <a:pt x="28" y="41"/>
                      <a:pt x="28" y="41"/>
                    </a:cubicBezTo>
                    <a:close/>
                    <a:moveTo>
                      <a:pt x="31" y="37"/>
                    </a:moveTo>
                    <a:cubicBezTo>
                      <a:pt x="31" y="38"/>
                      <a:pt x="31" y="38"/>
                      <a:pt x="32" y="38"/>
                    </a:cubicBezTo>
                    <a:cubicBezTo>
                      <a:pt x="32" y="38"/>
                      <a:pt x="32" y="38"/>
                      <a:pt x="33" y="39"/>
                    </a:cubicBezTo>
                    <a:cubicBezTo>
                      <a:pt x="33" y="39"/>
                      <a:pt x="32" y="38"/>
                      <a:pt x="32" y="38"/>
                    </a:cubicBezTo>
                    <a:cubicBezTo>
                      <a:pt x="32" y="37"/>
                      <a:pt x="31" y="36"/>
                      <a:pt x="31" y="36"/>
                    </a:cubicBezTo>
                    <a:cubicBezTo>
                      <a:pt x="30" y="36"/>
                      <a:pt x="30" y="37"/>
                      <a:pt x="31" y="37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4" y="39"/>
                      <a:pt x="34" y="39"/>
                    </a:cubicBezTo>
                    <a:cubicBezTo>
                      <a:pt x="34" y="39"/>
                      <a:pt x="35" y="41"/>
                      <a:pt x="35" y="41"/>
                    </a:cubicBezTo>
                    <a:close/>
                    <a:moveTo>
                      <a:pt x="15" y="52"/>
                    </a:moveTo>
                    <a:cubicBezTo>
                      <a:pt x="16" y="52"/>
                      <a:pt x="15" y="51"/>
                      <a:pt x="14" y="53"/>
                    </a:cubicBezTo>
                    <a:cubicBezTo>
                      <a:pt x="14" y="54"/>
                      <a:pt x="15" y="53"/>
                      <a:pt x="15" y="52"/>
                    </a:cubicBezTo>
                    <a:close/>
                    <a:moveTo>
                      <a:pt x="45" y="49"/>
                    </a:moveTo>
                    <a:cubicBezTo>
                      <a:pt x="46" y="50"/>
                      <a:pt x="45" y="49"/>
                      <a:pt x="45" y="48"/>
                    </a:cubicBezTo>
                    <a:cubicBezTo>
                      <a:pt x="44" y="48"/>
                      <a:pt x="45" y="47"/>
                      <a:pt x="44" y="47"/>
                    </a:cubicBezTo>
                    <a:cubicBezTo>
                      <a:pt x="43" y="46"/>
                      <a:pt x="44" y="42"/>
                      <a:pt x="43" y="41"/>
                    </a:cubicBezTo>
                    <a:cubicBezTo>
                      <a:pt x="43" y="41"/>
                      <a:pt x="43" y="40"/>
                      <a:pt x="42" y="40"/>
                    </a:cubicBezTo>
                    <a:cubicBezTo>
                      <a:pt x="41" y="39"/>
                      <a:pt x="40" y="40"/>
                      <a:pt x="38" y="40"/>
                    </a:cubicBezTo>
                    <a:cubicBezTo>
                      <a:pt x="37" y="39"/>
                      <a:pt x="38" y="42"/>
                      <a:pt x="39" y="43"/>
                    </a:cubicBezTo>
                    <a:cubicBezTo>
                      <a:pt x="41" y="44"/>
                      <a:pt x="40" y="44"/>
                      <a:pt x="41" y="45"/>
                    </a:cubicBezTo>
                    <a:cubicBezTo>
                      <a:pt x="42" y="45"/>
                      <a:pt x="41" y="45"/>
                      <a:pt x="41" y="46"/>
                    </a:cubicBezTo>
                    <a:cubicBezTo>
                      <a:pt x="40" y="46"/>
                      <a:pt x="42" y="47"/>
                      <a:pt x="42" y="49"/>
                    </a:cubicBezTo>
                    <a:cubicBezTo>
                      <a:pt x="42" y="50"/>
                      <a:pt x="44" y="48"/>
                      <a:pt x="45" y="49"/>
                    </a:cubicBezTo>
                    <a:close/>
                    <a:moveTo>
                      <a:pt x="45" y="53"/>
                    </a:moveTo>
                    <a:cubicBezTo>
                      <a:pt x="45" y="52"/>
                      <a:pt x="43" y="55"/>
                      <a:pt x="44" y="56"/>
                    </a:cubicBezTo>
                    <a:cubicBezTo>
                      <a:pt x="46" y="58"/>
                      <a:pt x="45" y="55"/>
                      <a:pt x="45" y="53"/>
                    </a:cubicBezTo>
                    <a:close/>
                    <a:moveTo>
                      <a:pt x="47" y="56"/>
                    </a:moveTo>
                    <a:cubicBezTo>
                      <a:pt x="47" y="55"/>
                      <a:pt x="47" y="55"/>
                      <a:pt x="46" y="56"/>
                    </a:cubicBezTo>
                    <a:cubicBezTo>
                      <a:pt x="46" y="58"/>
                      <a:pt x="48" y="58"/>
                      <a:pt x="47" y="56"/>
                    </a:cubicBezTo>
                    <a:close/>
                    <a:moveTo>
                      <a:pt x="28" y="52"/>
                    </a:moveTo>
                    <a:cubicBezTo>
                      <a:pt x="29" y="52"/>
                      <a:pt x="30" y="50"/>
                      <a:pt x="31" y="49"/>
                    </a:cubicBezTo>
                    <a:cubicBezTo>
                      <a:pt x="32" y="48"/>
                      <a:pt x="32" y="46"/>
                      <a:pt x="31" y="46"/>
                    </a:cubicBezTo>
                    <a:cubicBezTo>
                      <a:pt x="30" y="47"/>
                      <a:pt x="30" y="45"/>
                      <a:pt x="29" y="46"/>
                    </a:cubicBezTo>
                    <a:cubicBezTo>
                      <a:pt x="29" y="47"/>
                      <a:pt x="27" y="44"/>
                      <a:pt x="26" y="44"/>
                    </a:cubicBezTo>
                    <a:cubicBezTo>
                      <a:pt x="25" y="43"/>
                      <a:pt x="24" y="44"/>
                      <a:pt x="26" y="45"/>
                    </a:cubicBezTo>
                    <a:cubicBezTo>
                      <a:pt x="27" y="46"/>
                      <a:pt x="26" y="47"/>
                      <a:pt x="26" y="49"/>
                    </a:cubicBezTo>
                    <a:cubicBezTo>
                      <a:pt x="26" y="50"/>
                      <a:pt x="25" y="49"/>
                      <a:pt x="25" y="52"/>
                    </a:cubicBezTo>
                    <a:cubicBezTo>
                      <a:pt x="25" y="55"/>
                      <a:pt x="27" y="52"/>
                      <a:pt x="28" y="52"/>
                    </a:cubicBezTo>
                    <a:close/>
                    <a:moveTo>
                      <a:pt x="23" y="40"/>
                    </a:moveTo>
                    <a:cubicBezTo>
                      <a:pt x="24" y="38"/>
                      <a:pt x="23" y="39"/>
                      <a:pt x="23" y="37"/>
                    </a:cubicBezTo>
                    <a:cubicBezTo>
                      <a:pt x="24" y="35"/>
                      <a:pt x="22" y="34"/>
                      <a:pt x="19" y="34"/>
                    </a:cubicBezTo>
                    <a:cubicBezTo>
                      <a:pt x="17" y="33"/>
                      <a:pt x="16" y="34"/>
                      <a:pt x="17" y="34"/>
                    </a:cubicBezTo>
                    <a:cubicBezTo>
                      <a:pt x="18" y="35"/>
                      <a:pt x="18" y="35"/>
                      <a:pt x="18" y="36"/>
                    </a:cubicBezTo>
                    <a:cubicBezTo>
                      <a:pt x="19" y="36"/>
                      <a:pt x="20" y="39"/>
                      <a:pt x="21" y="41"/>
                    </a:cubicBezTo>
                    <a:cubicBezTo>
                      <a:pt x="21" y="43"/>
                      <a:pt x="22" y="42"/>
                      <a:pt x="23" y="40"/>
                    </a:cubicBezTo>
                    <a:close/>
                    <a:moveTo>
                      <a:pt x="3" y="65"/>
                    </a:moveTo>
                    <a:cubicBezTo>
                      <a:pt x="3" y="64"/>
                      <a:pt x="4" y="63"/>
                      <a:pt x="7" y="60"/>
                    </a:cubicBezTo>
                    <a:cubicBezTo>
                      <a:pt x="11" y="57"/>
                      <a:pt x="8" y="57"/>
                      <a:pt x="10" y="56"/>
                    </a:cubicBezTo>
                    <a:cubicBezTo>
                      <a:pt x="12" y="56"/>
                      <a:pt x="11" y="54"/>
                      <a:pt x="12" y="54"/>
                    </a:cubicBezTo>
                    <a:cubicBezTo>
                      <a:pt x="13" y="54"/>
                      <a:pt x="14" y="53"/>
                      <a:pt x="13" y="51"/>
                    </a:cubicBezTo>
                    <a:cubicBezTo>
                      <a:pt x="13" y="50"/>
                      <a:pt x="14" y="47"/>
                      <a:pt x="13" y="47"/>
                    </a:cubicBezTo>
                    <a:cubicBezTo>
                      <a:pt x="12" y="47"/>
                      <a:pt x="12" y="50"/>
                      <a:pt x="11" y="50"/>
                    </a:cubicBezTo>
                    <a:cubicBezTo>
                      <a:pt x="10" y="50"/>
                      <a:pt x="12" y="51"/>
                      <a:pt x="11" y="53"/>
                    </a:cubicBezTo>
                    <a:cubicBezTo>
                      <a:pt x="11" y="54"/>
                      <a:pt x="11" y="52"/>
                      <a:pt x="10" y="54"/>
                    </a:cubicBezTo>
                    <a:cubicBezTo>
                      <a:pt x="9" y="56"/>
                      <a:pt x="6" y="59"/>
                      <a:pt x="5" y="60"/>
                    </a:cubicBezTo>
                    <a:cubicBezTo>
                      <a:pt x="4" y="61"/>
                      <a:pt x="2" y="63"/>
                      <a:pt x="1" y="66"/>
                    </a:cubicBezTo>
                    <a:cubicBezTo>
                      <a:pt x="0" y="67"/>
                      <a:pt x="2" y="66"/>
                      <a:pt x="3" y="65"/>
                    </a:cubicBezTo>
                    <a:close/>
                    <a:moveTo>
                      <a:pt x="37" y="38"/>
                    </a:moveTo>
                    <a:cubicBezTo>
                      <a:pt x="37" y="37"/>
                      <a:pt x="37" y="36"/>
                      <a:pt x="35" y="36"/>
                    </a:cubicBezTo>
                    <a:cubicBezTo>
                      <a:pt x="33" y="36"/>
                      <a:pt x="36" y="36"/>
                      <a:pt x="34" y="34"/>
                    </a:cubicBezTo>
                    <a:cubicBezTo>
                      <a:pt x="32" y="32"/>
                      <a:pt x="35" y="33"/>
                      <a:pt x="36" y="33"/>
                    </a:cubicBezTo>
                    <a:cubicBezTo>
                      <a:pt x="36" y="32"/>
                      <a:pt x="35" y="32"/>
                      <a:pt x="33" y="31"/>
                    </a:cubicBezTo>
                    <a:cubicBezTo>
                      <a:pt x="31" y="29"/>
                      <a:pt x="32" y="33"/>
                      <a:pt x="31" y="32"/>
                    </a:cubicBezTo>
                    <a:cubicBezTo>
                      <a:pt x="30" y="32"/>
                      <a:pt x="32" y="30"/>
                      <a:pt x="29" y="29"/>
                    </a:cubicBezTo>
                    <a:cubicBezTo>
                      <a:pt x="27" y="28"/>
                      <a:pt x="28" y="30"/>
                      <a:pt x="27" y="29"/>
                    </a:cubicBezTo>
                    <a:cubicBezTo>
                      <a:pt x="25" y="29"/>
                      <a:pt x="27" y="31"/>
                      <a:pt x="26" y="31"/>
                    </a:cubicBezTo>
                    <a:cubicBezTo>
                      <a:pt x="24" y="30"/>
                      <a:pt x="23" y="27"/>
                      <a:pt x="24" y="26"/>
                    </a:cubicBezTo>
                    <a:cubicBezTo>
                      <a:pt x="24" y="25"/>
                      <a:pt x="22" y="23"/>
                      <a:pt x="23" y="21"/>
                    </a:cubicBezTo>
                    <a:cubicBezTo>
                      <a:pt x="24" y="19"/>
                      <a:pt x="23" y="19"/>
                      <a:pt x="24" y="17"/>
                    </a:cubicBezTo>
                    <a:cubicBezTo>
                      <a:pt x="26" y="16"/>
                      <a:pt x="25" y="18"/>
                      <a:pt x="26" y="18"/>
                    </a:cubicBezTo>
                    <a:cubicBezTo>
                      <a:pt x="27" y="17"/>
                      <a:pt x="28" y="13"/>
                      <a:pt x="28" y="12"/>
                    </a:cubicBezTo>
                    <a:cubicBezTo>
                      <a:pt x="28" y="10"/>
                      <a:pt x="25" y="9"/>
                      <a:pt x="27" y="5"/>
                    </a:cubicBezTo>
                    <a:cubicBezTo>
                      <a:pt x="28" y="2"/>
                      <a:pt x="27" y="1"/>
                      <a:pt x="26" y="3"/>
                    </a:cubicBezTo>
                    <a:cubicBezTo>
                      <a:pt x="24" y="5"/>
                      <a:pt x="22" y="0"/>
                      <a:pt x="19" y="1"/>
                    </a:cubicBezTo>
                    <a:cubicBezTo>
                      <a:pt x="17" y="2"/>
                      <a:pt x="18" y="2"/>
                      <a:pt x="17" y="5"/>
                    </a:cubicBezTo>
                    <a:cubicBezTo>
                      <a:pt x="16" y="8"/>
                      <a:pt x="18" y="9"/>
                      <a:pt x="17" y="13"/>
                    </a:cubicBezTo>
                    <a:cubicBezTo>
                      <a:pt x="15" y="16"/>
                      <a:pt x="18" y="15"/>
                      <a:pt x="17" y="17"/>
                    </a:cubicBezTo>
                    <a:cubicBezTo>
                      <a:pt x="16" y="20"/>
                      <a:pt x="15" y="15"/>
                      <a:pt x="14" y="16"/>
                    </a:cubicBezTo>
                    <a:cubicBezTo>
                      <a:pt x="13" y="16"/>
                      <a:pt x="13" y="18"/>
                      <a:pt x="14" y="18"/>
                    </a:cubicBezTo>
                    <a:cubicBezTo>
                      <a:pt x="15" y="19"/>
                      <a:pt x="14" y="18"/>
                      <a:pt x="15" y="23"/>
                    </a:cubicBezTo>
                    <a:cubicBezTo>
                      <a:pt x="15" y="28"/>
                      <a:pt x="16" y="25"/>
                      <a:pt x="17" y="27"/>
                    </a:cubicBezTo>
                    <a:cubicBezTo>
                      <a:pt x="17" y="29"/>
                      <a:pt x="18" y="28"/>
                      <a:pt x="18" y="27"/>
                    </a:cubicBezTo>
                    <a:cubicBezTo>
                      <a:pt x="18" y="25"/>
                      <a:pt x="18" y="25"/>
                      <a:pt x="19" y="26"/>
                    </a:cubicBezTo>
                    <a:cubicBezTo>
                      <a:pt x="20" y="27"/>
                      <a:pt x="20" y="28"/>
                      <a:pt x="19" y="28"/>
                    </a:cubicBezTo>
                    <a:cubicBezTo>
                      <a:pt x="18" y="29"/>
                      <a:pt x="17" y="32"/>
                      <a:pt x="19" y="32"/>
                    </a:cubicBezTo>
                    <a:cubicBezTo>
                      <a:pt x="20" y="31"/>
                      <a:pt x="20" y="33"/>
                      <a:pt x="22" y="33"/>
                    </a:cubicBezTo>
                    <a:cubicBezTo>
                      <a:pt x="23" y="33"/>
                      <a:pt x="22" y="32"/>
                      <a:pt x="23" y="31"/>
                    </a:cubicBezTo>
                    <a:cubicBezTo>
                      <a:pt x="24" y="31"/>
                      <a:pt x="24" y="31"/>
                      <a:pt x="26" y="33"/>
                    </a:cubicBezTo>
                    <a:cubicBezTo>
                      <a:pt x="28" y="34"/>
                      <a:pt x="27" y="36"/>
                      <a:pt x="29" y="36"/>
                    </a:cubicBezTo>
                    <a:cubicBezTo>
                      <a:pt x="30" y="36"/>
                      <a:pt x="28" y="34"/>
                      <a:pt x="28" y="32"/>
                    </a:cubicBezTo>
                    <a:cubicBezTo>
                      <a:pt x="28" y="31"/>
                      <a:pt x="30" y="32"/>
                      <a:pt x="30" y="33"/>
                    </a:cubicBezTo>
                    <a:cubicBezTo>
                      <a:pt x="30" y="34"/>
                      <a:pt x="31" y="34"/>
                      <a:pt x="32" y="35"/>
                    </a:cubicBezTo>
                    <a:cubicBezTo>
                      <a:pt x="32" y="36"/>
                      <a:pt x="31" y="37"/>
                      <a:pt x="33" y="38"/>
                    </a:cubicBezTo>
                    <a:cubicBezTo>
                      <a:pt x="36" y="39"/>
                      <a:pt x="35" y="39"/>
                      <a:pt x="36" y="40"/>
                    </a:cubicBezTo>
                    <a:cubicBezTo>
                      <a:pt x="36" y="41"/>
                      <a:pt x="37" y="40"/>
                      <a:pt x="37" y="38"/>
                    </a:cubicBezTo>
                    <a:close/>
                    <a:moveTo>
                      <a:pt x="50" y="92"/>
                    </a:moveTo>
                    <a:cubicBezTo>
                      <a:pt x="50" y="92"/>
                      <a:pt x="51" y="92"/>
                      <a:pt x="50" y="93"/>
                    </a:cubicBezTo>
                    <a:cubicBezTo>
                      <a:pt x="49" y="94"/>
                      <a:pt x="51" y="94"/>
                      <a:pt x="51" y="93"/>
                    </a:cubicBezTo>
                    <a:cubicBezTo>
                      <a:pt x="51" y="92"/>
                      <a:pt x="51" y="92"/>
                      <a:pt x="51" y="91"/>
                    </a:cubicBezTo>
                    <a:cubicBezTo>
                      <a:pt x="51" y="91"/>
                      <a:pt x="51" y="90"/>
                      <a:pt x="50" y="90"/>
                    </a:cubicBezTo>
                    <a:cubicBezTo>
                      <a:pt x="50" y="90"/>
                      <a:pt x="50" y="91"/>
                      <a:pt x="50" y="92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2" name="Freeform 20250">
                <a:extLst>
                  <a:ext uri="{FF2B5EF4-FFF2-40B4-BE49-F238E27FC236}">
                    <a16:creationId xmlns:a16="http://schemas.microsoft.com/office/drawing/2014/main" id="{938EF11A-3821-3941-A184-9EDF18F3891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405247" y="4720269"/>
                <a:ext cx="85871" cy="66789"/>
              </a:xfrm>
              <a:custGeom>
                <a:avLst/>
                <a:gdLst/>
                <a:ahLst/>
                <a:cxnLst>
                  <a:cxn ang="0">
                    <a:pos x="6" y="14"/>
                  </a:cxn>
                  <a:cxn ang="0">
                    <a:pos x="7" y="9"/>
                  </a:cxn>
                  <a:cxn ang="0">
                    <a:pos x="11" y="11"/>
                  </a:cxn>
                  <a:cxn ang="0">
                    <a:pos x="11" y="14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13" y="5"/>
                  </a:cxn>
                  <a:cxn ang="0">
                    <a:pos x="15" y="5"/>
                  </a:cxn>
                  <a:cxn ang="0">
                    <a:pos x="17" y="5"/>
                  </a:cxn>
                  <a:cxn ang="0">
                    <a:pos x="17" y="3"/>
                  </a:cxn>
                  <a:cxn ang="0">
                    <a:pos x="17" y="2"/>
                  </a:cxn>
                  <a:cxn ang="0">
                    <a:pos x="14" y="2"/>
                  </a:cxn>
                  <a:cxn ang="0">
                    <a:pos x="12" y="4"/>
                  </a:cxn>
                  <a:cxn ang="0">
                    <a:pos x="11" y="6"/>
                  </a:cxn>
                  <a:cxn ang="0">
                    <a:pos x="13" y="5"/>
                  </a:cxn>
                </a:cxnLst>
                <a:rect l="0" t="0" r="r" b="b"/>
                <a:pathLst>
                  <a:path w="19" h="15">
                    <a:moveTo>
                      <a:pt x="6" y="14"/>
                    </a:moveTo>
                    <a:cubicBezTo>
                      <a:pt x="0" y="13"/>
                      <a:pt x="6" y="9"/>
                      <a:pt x="7" y="9"/>
                    </a:cubicBezTo>
                    <a:cubicBezTo>
                      <a:pt x="8" y="9"/>
                      <a:pt x="11" y="9"/>
                      <a:pt x="11" y="11"/>
                    </a:cubicBezTo>
                    <a:cubicBezTo>
                      <a:pt x="10" y="13"/>
                      <a:pt x="12" y="13"/>
                      <a:pt x="11" y="14"/>
                    </a:cubicBezTo>
                    <a:cubicBezTo>
                      <a:pt x="10" y="15"/>
                      <a:pt x="9" y="13"/>
                      <a:pt x="9" y="14"/>
                    </a:cubicBezTo>
                    <a:cubicBezTo>
                      <a:pt x="8" y="15"/>
                      <a:pt x="7" y="14"/>
                      <a:pt x="6" y="14"/>
                    </a:cubicBezTo>
                    <a:close/>
                    <a:moveTo>
                      <a:pt x="13" y="5"/>
                    </a:moveTo>
                    <a:cubicBezTo>
                      <a:pt x="15" y="4"/>
                      <a:pt x="14" y="6"/>
                      <a:pt x="15" y="5"/>
                    </a:cubicBezTo>
                    <a:cubicBezTo>
                      <a:pt x="16" y="4"/>
                      <a:pt x="18" y="5"/>
                      <a:pt x="17" y="5"/>
                    </a:cubicBezTo>
                    <a:cubicBezTo>
                      <a:pt x="17" y="5"/>
                      <a:pt x="18" y="2"/>
                      <a:pt x="17" y="3"/>
                    </a:cubicBezTo>
                    <a:cubicBezTo>
                      <a:pt x="16" y="5"/>
                      <a:pt x="16" y="3"/>
                      <a:pt x="17" y="2"/>
                    </a:cubicBezTo>
                    <a:cubicBezTo>
                      <a:pt x="19" y="0"/>
                      <a:pt x="16" y="1"/>
                      <a:pt x="14" y="2"/>
                    </a:cubicBezTo>
                    <a:cubicBezTo>
                      <a:pt x="13" y="4"/>
                      <a:pt x="12" y="2"/>
                      <a:pt x="12" y="4"/>
                    </a:cubicBezTo>
                    <a:cubicBezTo>
                      <a:pt x="11" y="5"/>
                      <a:pt x="9" y="3"/>
                      <a:pt x="11" y="6"/>
                    </a:cubicBezTo>
                    <a:cubicBezTo>
                      <a:pt x="11" y="7"/>
                      <a:pt x="11" y="7"/>
                      <a:pt x="13" y="5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" name="Freeform 20251">
                <a:extLst>
                  <a:ext uri="{FF2B5EF4-FFF2-40B4-BE49-F238E27FC236}">
                    <a16:creationId xmlns:a16="http://schemas.microsoft.com/office/drawing/2014/main" id="{446CD9A5-48D9-9844-9A90-B46F5AEB52B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934002" y="4119177"/>
                <a:ext cx="32440" cy="3244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4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4" y="2"/>
                  </a:cxn>
                  <a:cxn ang="0">
                    <a:pos x="6" y="5"/>
                  </a:cxn>
                  <a:cxn ang="0">
                    <a:pos x="7" y="4"/>
                  </a:cxn>
                  <a:cxn ang="0">
                    <a:pos x="6" y="1"/>
                  </a:cxn>
                  <a:cxn ang="0">
                    <a:pos x="5" y="2"/>
                  </a:cxn>
                  <a:cxn ang="0">
                    <a:pos x="6" y="5"/>
                  </a:cxn>
                </a:cxnLst>
                <a:rect l="0" t="0" r="r" b="b"/>
                <a:pathLst>
                  <a:path w="7" h="7">
                    <a:moveTo>
                      <a:pt x="4" y="2"/>
                    </a:moveTo>
                    <a:cubicBezTo>
                      <a:pt x="4" y="3"/>
                      <a:pt x="4" y="4"/>
                      <a:pt x="4" y="4"/>
                    </a:cubicBezTo>
                    <a:cubicBezTo>
                      <a:pt x="5" y="4"/>
                      <a:pt x="4" y="7"/>
                      <a:pt x="3" y="7"/>
                    </a:cubicBezTo>
                    <a:cubicBezTo>
                      <a:pt x="2" y="7"/>
                      <a:pt x="3" y="5"/>
                      <a:pt x="2" y="5"/>
                    </a:cubicBezTo>
                    <a:cubicBezTo>
                      <a:pt x="1" y="6"/>
                      <a:pt x="2" y="4"/>
                      <a:pt x="0" y="3"/>
                    </a:cubicBezTo>
                    <a:cubicBezTo>
                      <a:pt x="2" y="3"/>
                      <a:pt x="4" y="1"/>
                      <a:pt x="5" y="1"/>
                    </a:cubicBezTo>
                    <a:cubicBezTo>
                      <a:pt x="5" y="0"/>
                      <a:pt x="6" y="0"/>
                      <a:pt x="5" y="1"/>
                    </a:cubicBezTo>
                    <a:cubicBezTo>
                      <a:pt x="5" y="2"/>
                      <a:pt x="4" y="2"/>
                      <a:pt x="4" y="2"/>
                    </a:cubicBezTo>
                    <a:close/>
                    <a:moveTo>
                      <a:pt x="6" y="5"/>
                    </a:moveTo>
                    <a:cubicBezTo>
                      <a:pt x="7" y="5"/>
                      <a:pt x="7" y="6"/>
                      <a:pt x="7" y="4"/>
                    </a:cubicBezTo>
                    <a:cubicBezTo>
                      <a:pt x="6" y="2"/>
                      <a:pt x="7" y="3"/>
                      <a:pt x="6" y="1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4"/>
                      <a:pt x="5" y="5"/>
                      <a:pt x="6" y="5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4" name="Freeform 20252">
                <a:extLst>
                  <a:ext uri="{FF2B5EF4-FFF2-40B4-BE49-F238E27FC236}">
                    <a16:creationId xmlns:a16="http://schemas.microsoft.com/office/drawing/2014/main" id="{A46AB87A-C86D-CF43-9A43-2AE9CEAC917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548452" y="4300460"/>
                <a:ext cx="374012" cy="293866"/>
              </a:xfrm>
              <a:custGeom>
                <a:avLst/>
                <a:gdLst/>
                <a:ahLst/>
                <a:cxnLst>
                  <a:cxn ang="0">
                    <a:pos x="15" y="13"/>
                  </a:cxn>
                  <a:cxn ang="0">
                    <a:pos x="30" y="24"/>
                  </a:cxn>
                  <a:cxn ang="0">
                    <a:pos x="37" y="29"/>
                  </a:cxn>
                  <a:cxn ang="0">
                    <a:pos x="35" y="35"/>
                  </a:cxn>
                  <a:cxn ang="0">
                    <a:pos x="46" y="49"/>
                  </a:cxn>
                  <a:cxn ang="0">
                    <a:pos x="53" y="56"/>
                  </a:cxn>
                  <a:cxn ang="0">
                    <a:pos x="45" y="56"/>
                  </a:cxn>
                  <a:cxn ang="0">
                    <a:pos x="27" y="42"/>
                  </a:cxn>
                  <a:cxn ang="0">
                    <a:pos x="19" y="39"/>
                  </a:cxn>
                  <a:cxn ang="0">
                    <a:pos x="16" y="45"/>
                  </a:cxn>
                  <a:cxn ang="0">
                    <a:pos x="11" y="50"/>
                  </a:cxn>
                  <a:cxn ang="0">
                    <a:pos x="0" y="44"/>
                  </a:cxn>
                  <a:cxn ang="0">
                    <a:pos x="45" y="30"/>
                  </a:cxn>
                  <a:cxn ang="0">
                    <a:pos x="59" y="28"/>
                  </a:cxn>
                  <a:cxn ang="0">
                    <a:pos x="62" y="23"/>
                  </a:cxn>
                  <a:cxn ang="0">
                    <a:pos x="60" y="18"/>
                  </a:cxn>
                  <a:cxn ang="0">
                    <a:pos x="54" y="26"/>
                  </a:cxn>
                  <a:cxn ang="0">
                    <a:pos x="52" y="24"/>
                  </a:cxn>
                  <a:cxn ang="0">
                    <a:pos x="43" y="27"/>
                  </a:cxn>
                  <a:cxn ang="0">
                    <a:pos x="36" y="6"/>
                  </a:cxn>
                  <a:cxn ang="0">
                    <a:pos x="33" y="5"/>
                  </a:cxn>
                  <a:cxn ang="0">
                    <a:pos x="54" y="8"/>
                  </a:cxn>
                  <a:cxn ang="0">
                    <a:pos x="54" y="8"/>
                  </a:cxn>
                  <a:cxn ang="0">
                    <a:pos x="64" y="17"/>
                  </a:cxn>
                  <a:cxn ang="0">
                    <a:pos x="66" y="16"/>
                  </a:cxn>
                  <a:cxn ang="0">
                    <a:pos x="56" y="9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77" y="27"/>
                  </a:cxn>
                  <a:cxn ang="0">
                    <a:pos x="76" y="28"/>
                  </a:cxn>
                  <a:cxn ang="0">
                    <a:pos x="82" y="35"/>
                  </a:cxn>
                  <a:cxn ang="0">
                    <a:pos x="41" y="27"/>
                  </a:cxn>
                  <a:cxn ang="0">
                    <a:pos x="41" y="27"/>
                  </a:cxn>
                  <a:cxn ang="0">
                    <a:pos x="36" y="25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65" y="49"/>
                  </a:cxn>
                  <a:cxn ang="0">
                    <a:pos x="67" y="49"/>
                  </a:cxn>
                  <a:cxn ang="0">
                    <a:pos x="68" y="64"/>
                  </a:cxn>
                  <a:cxn ang="0">
                    <a:pos x="53" y="50"/>
                  </a:cxn>
                  <a:cxn ang="0">
                    <a:pos x="53" y="50"/>
                  </a:cxn>
                  <a:cxn ang="0">
                    <a:pos x="56" y="52"/>
                  </a:cxn>
                  <a:cxn ang="0">
                    <a:pos x="54" y="53"/>
                  </a:cxn>
                  <a:cxn ang="0">
                    <a:pos x="58" y="56"/>
                  </a:cxn>
                  <a:cxn ang="0">
                    <a:pos x="56" y="54"/>
                  </a:cxn>
                </a:cxnLst>
                <a:rect l="0" t="0" r="r" b="b"/>
                <a:pathLst>
                  <a:path w="83" h="65">
                    <a:moveTo>
                      <a:pt x="0" y="7"/>
                    </a:moveTo>
                    <a:cubicBezTo>
                      <a:pt x="4" y="6"/>
                      <a:pt x="11" y="12"/>
                      <a:pt x="15" y="13"/>
                    </a:cubicBezTo>
                    <a:cubicBezTo>
                      <a:pt x="19" y="14"/>
                      <a:pt x="19" y="16"/>
                      <a:pt x="21" y="16"/>
                    </a:cubicBezTo>
                    <a:cubicBezTo>
                      <a:pt x="23" y="16"/>
                      <a:pt x="30" y="22"/>
                      <a:pt x="30" y="24"/>
                    </a:cubicBezTo>
                    <a:cubicBezTo>
                      <a:pt x="29" y="26"/>
                      <a:pt x="28" y="26"/>
                      <a:pt x="32" y="27"/>
                    </a:cubicBezTo>
                    <a:cubicBezTo>
                      <a:pt x="35" y="28"/>
                      <a:pt x="34" y="30"/>
                      <a:pt x="37" y="29"/>
                    </a:cubicBezTo>
                    <a:cubicBezTo>
                      <a:pt x="39" y="29"/>
                      <a:pt x="41" y="33"/>
                      <a:pt x="40" y="34"/>
                    </a:cubicBezTo>
                    <a:cubicBezTo>
                      <a:pt x="39" y="35"/>
                      <a:pt x="37" y="34"/>
                      <a:pt x="35" y="35"/>
                    </a:cubicBezTo>
                    <a:cubicBezTo>
                      <a:pt x="34" y="35"/>
                      <a:pt x="39" y="41"/>
                      <a:pt x="41" y="42"/>
                    </a:cubicBezTo>
                    <a:cubicBezTo>
                      <a:pt x="43" y="43"/>
                      <a:pt x="42" y="50"/>
                      <a:pt x="46" y="49"/>
                    </a:cubicBezTo>
                    <a:cubicBezTo>
                      <a:pt x="51" y="47"/>
                      <a:pt x="44" y="52"/>
                      <a:pt x="49" y="52"/>
                    </a:cubicBezTo>
                    <a:cubicBezTo>
                      <a:pt x="54" y="52"/>
                      <a:pt x="46" y="54"/>
                      <a:pt x="53" y="56"/>
                    </a:cubicBezTo>
                    <a:cubicBezTo>
                      <a:pt x="57" y="57"/>
                      <a:pt x="55" y="59"/>
                      <a:pt x="53" y="59"/>
                    </a:cubicBezTo>
                    <a:cubicBezTo>
                      <a:pt x="50" y="59"/>
                      <a:pt x="52" y="58"/>
                      <a:pt x="45" y="56"/>
                    </a:cubicBezTo>
                    <a:cubicBezTo>
                      <a:pt x="38" y="55"/>
                      <a:pt x="39" y="55"/>
                      <a:pt x="35" y="50"/>
                    </a:cubicBezTo>
                    <a:cubicBezTo>
                      <a:pt x="31" y="45"/>
                      <a:pt x="32" y="42"/>
                      <a:pt x="27" y="42"/>
                    </a:cubicBezTo>
                    <a:cubicBezTo>
                      <a:pt x="23" y="41"/>
                      <a:pt x="26" y="39"/>
                      <a:pt x="22" y="41"/>
                    </a:cubicBezTo>
                    <a:cubicBezTo>
                      <a:pt x="20" y="41"/>
                      <a:pt x="20" y="41"/>
                      <a:pt x="19" y="39"/>
                    </a:cubicBezTo>
                    <a:cubicBezTo>
                      <a:pt x="20" y="44"/>
                      <a:pt x="18" y="41"/>
                      <a:pt x="18" y="43"/>
                    </a:cubicBezTo>
                    <a:cubicBezTo>
                      <a:pt x="18" y="45"/>
                      <a:pt x="13" y="44"/>
                      <a:pt x="16" y="45"/>
                    </a:cubicBezTo>
                    <a:cubicBezTo>
                      <a:pt x="17" y="46"/>
                      <a:pt x="18" y="49"/>
                      <a:pt x="16" y="49"/>
                    </a:cubicBezTo>
                    <a:cubicBezTo>
                      <a:pt x="15" y="49"/>
                      <a:pt x="14" y="52"/>
                      <a:pt x="11" y="50"/>
                    </a:cubicBezTo>
                    <a:cubicBezTo>
                      <a:pt x="9" y="49"/>
                      <a:pt x="5" y="51"/>
                      <a:pt x="4" y="50"/>
                    </a:cubicBezTo>
                    <a:cubicBezTo>
                      <a:pt x="3" y="48"/>
                      <a:pt x="3" y="46"/>
                      <a:pt x="0" y="44"/>
                    </a:cubicBezTo>
                    <a:lnTo>
                      <a:pt x="0" y="7"/>
                    </a:lnTo>
                    <a:close/>
                    <a:moveTo>
                      <a:pt x="45" y="30"/>
                    </a:moveTo>
                    <a:cubicBezTo>
                      <a:pt x="48" y="32"/>
                      <a:pt x="47" y="29"/>
                      <a:pt x="49" y="31"/>
                    </a:cubicBezTo>
                    <a:cubicBezTo>
                      <a:pt x="51" y="33"/>
                      <a:pt x="58" y="30"/>
                      <a:pt x="59" y="28"/>
                    </a:cubicBezTo>
                    <a:cubicBezTo>
                      <a:pt x="60" y="26"/>
                      <a:pt x="60" y="28"/>
                      <a:pt x="62" y="27"/>
                    </a:cubicBezTo>
                    <a:cubicBezTo>
                      <a:pt x="64" y="25"/>
                      <a:pt x="61" y="23"/>
                      <a:pt x="62" y="23"/>
                    </a:cubicBezTo>
                    <a:cubicBezTo>
                      <a:pt x="64" y="23"/>
                      <a:pt x="65" y="20"/>
                      <a:pt x="64" y="19"/>
                    </a:cubicBezTo>
                    <a:cubicBezTo>
                      <a:pt x="63" y="18"/>
                      <a:pt x="62" y="18"/>
                      <a:pt x="60" y="18"/>
                    </a:cubicBezTo>
                    <a:cubicBezTo>
                      <a:pt x="58" y="18"/>
                      <a:pt x="62" y="24"/>
                      <a:pt x="59" y="23"/>
                    </a:cubicBezTo>
                    <a:cubicBezTo>
                      <a:pt x="57" y="22"/>
                      <a:pt x="57" y="28"/>
                      <a:pt x="54" y="26"/>
                    </a:cubicBezTo>
                    <a:cubicBezTo>
                      <a:pt x="53" y="25"/>
                      <a:pt x="53" y="28"/>
                      <a:pt x="52" y="26"/>
                    </a:cubicBezTo>
                    <a:cubicBezTo>
                      <a:pt x="51" y="24"/>
                      <a:pt x="53" y="24"/>
                      <a:pt x="52" y="24"/>
                    </a:cubicBezTo>
                    <a:cubicBezTo>
                      <a:pt x="52" y="23"/>
                      <a:pt x="51" y="23"/>
                      <a:pt x="51" y="26"/>
                    </a:cubicBezTo>
                    <a:cubicBezTo>
                      <a:pt x="51" y="28"/>
                      <a:pt x="43" y="25"/>
                      <a:pt x="43" y="27"/>
                    </a:cubicBezTo>
                    <a:cubicBezTo>
                      <a:pt x="43" y="29"/>
                      <a:pt x="44" y="28"/>
                      <a:pt x="45" y="30"/>
                    </a:cubicBezTo>
                    <a:close/>
                    <a:moveTo>
                      <a:pt x="36" y="6"/>
                    </a:moveTo>
                    <a:cubicBezTo>
                      <a:pt x="38" y="6"/>
                      <a:pt x="38" y="5"/>
                      <a:pt x="37" y="4"/>
                    </a:cubicBezTo>
                    <a:cubicBezTo>
                      <a:pt x="36" y="4"/>
                      <a:pt x="33" y="4"/>
                      <a:pt x="33" y="5"/>
                    </a:cubicBezTo>
                    <a:cubicBezTo>
                      <a:pt x="33" y="7"/>
                      <a:pt x="34" y="6"/>
                      <a:pt x="36" y="6"/>
                    </a:cubicBezTo>
                    <a:close/>
                    <a:moveTo>
                      <a:pt x="54" y="8"/>
                    </a:moveTo>
                    <a:cubicBezTo>
                      <a:pt x="55" y="8"/>
                      <a:pt x="52" y="6"/>
                      <a:pt x="52" y="7"/>
                    </a:cubicBezTo>
                    <a:cubicBezTo>
                      <a:pt x="51" y="8"/>
                      <a:pt x="53" y="9"/>
                      <a:pt x="54" y="8"/>
                    </a:cubicBezTo>
                    <a:close/>
                    <a:moveTo>
                      <a:pt x="60" y="12"/>
                    </a:moveTo>
                    <a:cubicBezTo>
                      <a:pt x="60" y="13"/>
                      <a:pt x="63" y="14"/>
                      <a:pt x="64" y="17"/>
                    </a:cubicBezTo>
                    <a:cubicBezTo>
                      <a:pt x="66" y="19"/>
                      <a:pt x="65" y="19"/>
                      <a:pt x="66" y="22"/>
                    </a:cubicBezTo>
                    <a:cubicBezTo>
                      <a:pt x="67" y="24"/>
                      <a:pt x="69" y="18"/>
                      <a:pt x="66" y="16"/>
                    </a:cubicBezTo>
                    <a:cubicBezTo>
                      <a:pt x="63" y="15"/>
                      <a:pt x="63" y="13"/>
                      <a:pt x="61" y="12"/>
                    </a:cubicBezTo>
                    <a:cubicBezTo>
                      <a:pt x="57" y="10"/>
                      <a:pt x="56" y="7"/>
                      <a:pt x="56" y="9"/>
                    </a:cubicBezTo>
                    <a:cubicBezTo>
                      <a:pt x="53" y="10"/>
                      <a:pt x="57" y="9"/>
                      <a:pt x="60" y="12"/>
                    </a:cubicBezTo>
                    <a:close/>
                    <a:moveTo>
                      <a:pt x="50" y="2"/>
                    </a:moveTo>
                    <a:cubicBezTo>
                      <a:pt x="51" y="2"/>
                      <a:pt x="50" y="0"/>
                      <a:pt x="49" y="1"/>
                    </a:cubicBezTo>
                    <a:cubicBezTo>
                      <a:pt x="49" y="2"/>
                      <a:pt x="49" y="2"/>
                      <a:pt x="50" y="2"/>
                    </a:cubicBezTo>
                    <a:close/>
                    <a:moveTo>
                      <a:pt x="81" y="31"/>
                    </a:moveTo>
                    <a:cubicBezTo>
                      <a:pt x="79" y="30"/>
                      <a:pt x="79" y="27"/>
                      <a:pt x="77" y="27"/>
                    </a:cubicBezTo>
                    <a:cubicBezTo>
                      <a:pt x="76" y="26"/>
                      <a:pt x="76" y="22"/>
                      <a:pt x="75" y="24"/>
                    </a:cubicBezTo>
                    <a:cubicBezTo>
                      <a:pt x="74" y="25"/>
                      <a:pt x="76" y="25"/>
                      <a:pt x="76" y="28"/>
                    </a:cubicBezTo>
                    <a:cubicBezTo>
                      <a:pt x="75" y="30"/>
                      <a:pt x="78" y="31"/>
                      <a:pt x="79" y="33"/>
                    </a:cubicBezTo>
                    <a:cubicBezTo>
                      <a:pt x="79" y="35"/>
                      <a:pt x="80" y="35"/>
                      <a:pt x="82" y="35"/>
                    </a:cubicBezTo>
                    <a:cubicBezTo>
                      <a:pt x="83" y="34"/>
                      <a:pt x="82" y="31"/>
                      <a:pt x="81" y="31"/>
                    </a:cubicBezTo>
                    <a:close/>
                    <a:moveTo>
                      <a:pt x="41" y="27"/>
                    </a:moveTo>
                    <a:cubicBezTo>
                      <a:pt x="40" y="25"/>
                      <a:pt x="39" y="27"/>
                      <a:pt x="40" y="28"/>
                    </a:cubicBezTo>
                    <a:cubicBezTo>
                      <a:pt x="41" y="29"/>
                      <a:pt x="42" y="28"/>
                      <a:pt x="41" y="27"/>
                    </a:cubicBezTo>
                    <a:close/>
                    <a:moveTo>
                      <a:pt x="37" y="26"/>
                    </a:moveTo>
                    <a:cubicBezTo>
                      <a:pt x="38" y="26"/>
                      <a:pt x="36" y="24"/>
                      <a:pt x="36" y="25"/>
                    </a:cubicBezTo>
                    <a:cubicBezTo>
                      <a:pt x="35" y="26"/>
                      <a:pt x="37" y="27"/>
                      <a:pt x="37" y="26"/>
                    </a:cubicBezTo>
                    <a:close/>
                    <a:moveTo>
                      <a:pt x="30" y="22"/>
                    </a:moveTo>
                    <a:cubicBezTo>
                      <a:pt x="31" y="23"/>
                      <a:pt x="32" y="21"/>
                      <a:pt x="31" y="20"/>
                    </a:cubicBezTo>
                    <a:cubicBezTo>
                      <a:pt x="30" y="20"/>
                      <a:pt x="29" y="21"/>
                      <a:pt x="30" y="22"/>
                    </a:cubicBezTo>
                    <a:close/>
                    <a:moveTo>
                      <a:pt x="67" y="49"/>
                    </a:moveTo>
                    <a:cubicBezTo>
                      <a:pt x="66" y="48"/>
                      <a:pt x="64" y="48"/>
                      <a:pt x="65" y="49"/>
                    </a:cubicBezTo>
                    <a:cubicBezTo>
                      <a:pt x="66" y="49"/>
                      <a:pt x="65" y="50"/>
                      <a:pt x="66" y="50"/>
                    </a:cubicBezTo>
                    <a:cubicBezTo>
                      <a:pt x="67" y="50"/>
                      <a:pt x="68" y="50"/>
                      <a:pt x="67" y="49"/>
                    </a:cubicBezTo>
                    <a:close/>
                    <a:moveTo>
                      <a:pt x="71" y="65"/>
                    </a:moveTo>
                    <a:cubicBezTo>
                      <a:pt x="70" y="64"/>
                      <a:pt x="67" y="62"/>
                      <a:pt x="68" y="64"/>
                    </a:cubicBezTo>
                    <a:cubicBezTo>
                      <a:pt x="68" y="64"/>
                      <a:pt x="71" y="65"/>
                      <a:pt x="71" y="65"/>
                    </a:cubicBezTo>
                    <a:close/>
                    <a:moveTo>
                      <a:pt x="53" y="50"/>
                    </a:moveTo>
                    <a:cubicBezTo>
                      <a:pt x="52" y="49"/>
                      <a:pt x="51" y="50"/>
                      <a:pt x="52" y="51"/>
                    </a:cubicBezTo>
                    <a:cubicBezTo>
                      <a:pt x="53" y="53"/>
                      <a:pt x="54" y="51"/>
                      <a:pt x="53" y="50"/>
                    </a:cubicBezTo>
                    <a:close/>
                    <a:moveTo>
                      <a:pt x="54" y="53"/>
                    </a:moveTo>
                    <a:cubicBezTo>
                      <a:pt x="55" y="53"/>
                      <a:pt x="56" y="53"/>
                      <a:pt x="56" y="52"/>
                    </a:cubicBezTo>
                    <a:cubicBezTo>
                      <a:pt x="56" y="51"/>
                      <a:pt x="54" y="50"/>
                      <a:pt x="54" y="51"/>
                    </a:cubicBezTo>
                    <a:cubicBezTo>
                      <a:pt x="54" y="52"/>
                      <a:pt x="53" y="53"/>
                      <a:pt x="54" y="53"/>
                    </a:cubicBezTo>
                    <a:close/>
                    <a:moveTo>
                      <a:pt x="56" y="54"/>
                    </a:moveTo>
                    <a:cubicBezTo>
                      <a:pt x="56" y="55"/>
                      <a:pt x="57" y="57"/>
                      <a:pt x="58" y="56"/>
                    </a:cubicBezTo>
                    <a:cubicBezTo>
                      <a:pt x="58" y="54"/>
                      <a:pt x="58" y="54"/>
                      <a:pt x="58" y="54"/>
                    </a:cubicBezTo>
                    <a:cubicBezTo>
                      <a:pt x="57" y="55"/>
                      <a:pt x="56" y="53"/>
                      <a:pt x="56" y="54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5" name="Freeform 20253">
                <a:extLst>
                  <a:ext uri="{FF2B5EF4-FFF2-40B4-BE49-F238E27FC236}">
                    <a16:creationId xmlns:a16="http://schemas.microsoft.com/office/drawing/2014/main" id="{730CFB77-B031-F247-BCE5-077A414C08C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914832" y="4449301"/>
                <a:ext cx="156475" cy="15265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3"/>
                  </a:cxn>
                  <a:cxn ang="0">
                    <a:pos x="9" y="5"/>
                  </a:cxn>
                  <a:cxn ang="0">
                    <a:pos x="6" y="3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15" y="8"/>
                  </a:cxn>
                  <a:cxn ang="0">
                    <a:pos x="21" y="12"/>
                  </a:cxn>
                  <a:cxn ang="0">
                    <a:pos x="19" y="9"/>
                  </a:cxn>
                  <a:cxn ang="0">
                    <a:pos x="16" y="7"/>
                  </a:cxn>
                  <a:cxn ang="0">
                    <a:pos x="15" y="8"/>
                  </a:cxn>
                  <a:cxn ang="0">
                    <a:pos x="28" y="18"/>
                  </a:cxn>
                  <a:cxn ang="0">
                    <a:pos x="29" y="18"/>
                  </a:cxn>
                  <a:cxn ang="0">
                    <a:pos x="28" y="15"/>
                  </a:cxn>
                  <a:cxn ang="0">
                    <a:pos x="26" y="11"/>
                  </a:cxn>
                  <a:cxn ang="0">
                    <a:pos x="26" y="16"/>
                  </a:cxn>
                  <a:cxn ang="0">
                    <a:pos x="28" y="18"/>
                  </a:cxn>
                  <a:cxn ang="0">
                    <a:pos x="23" y="21"/>
                  </a:cxn>
                  <a:cxn ang="0">
                    <a:pos x="26" y="21"/>
                  </a:cxn>
                  <a:cxn ang="0">
                    <a:pos x="25" y="18"/>
                  </a:cxn>
                  <a:cxn ang="0">
                    <a:pos x="22" y="18"/>
                  </a:cxn>
                  <a:cxn ang="0">
                    <a:pos x="20" y="19"/>
                  </a:cxn>
                  <a:cxn ang="0">
                    <a:pos x="23" y="21"/>
                  </a:cxn>
                  <a:cxn ang="0">
                    <a:pos x="30" y="25"/>
                  </a:cxn>
                  <a:cxn ang="0">
                    <a:pos x="34" y="27"/>
                  </a:cxn>
                  <a:cxn ang="0">
                    <a:pos x="33" y="25"/>
                  </a:cxn>
                  <a:cxn ang="0">
                    <a:pos x="29" y="23"/>
                  </a:cxn>
                  <a:cxn ang="0">
                    <a:pos x="30" y="25"/>
                  </a:cxn>
                  <a:cxn ang="0">
                    <a:pos x="26" y="33"/>
                  </a:cxn>
                  <a:cxn ang="0">
                    <a:pos x="22" y="31"/>
                  </a:cxn>
                  <a:cxn ang="0">
                    <a:pos x="26" y="33"/>
                  </a:cxn>
                  <a:cxn ang="0">
                    <a:pos x="11" y="11"/>
                  </a:cxn>
                  <a:cxn ang="0">
                    <a:pos x="10" y="9"/>
                  </a:cxn>
                  <a:cxn ang="0">
                    <a:pos x="9" y="11"/>
                  </a:cxn>
                  <a:cxn ang="0">
                    <a:pos x="11" y="13"/>
                  </a:cxn>
                  <a:cxn ang="0">
                    <a:pos x="11" y="11"/>
                  </a:cxn>
                  <a:cxn ang="0">
                    <a:pos x="8" y="10"/>
                  </a:cxn>
                  <a:cxn ang="0">
                    <a:pos x="7" y="8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4" y="7"/>
                  </a:cxn>
                  <a:cxn ang="0">
                    <a:pos x="6" y="8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2" y="1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1" y="3"/>
                  </a:cxn>
                </a:cxnLst>
                <a:rect l="0" t="0" r="r" b="b"/>
                <a:pathLst>
                  <a:path w="35" h="34">
                    <a:moveTo>
                      <a:pt x="4" y="0"/>
                    </a:moveTo>
                    <a:cubicBezTo>
                      <a:pt x="7" y="2"/>
                      <a:pt x="7" y="2"/>
                      <a:pt x="8" y="3"/>
                    </a:cubicBezTo>
                    <a:cubicBezTo>
                      <a:pt x="8" y="5"/>
                      <a:pt x="11" y="5"/>
                      <a:pt x="9" y="5"/>
                    </a:cubicBezTo>
                    <a:cubicBezTo>
                      <a:pt x="8" y="6"/>
                      <a:pt x="6" y="4"/>
                      <a:pt x="6" y="3"/>
                    </a:cubicBezTo>
                    <a:cubicBezTo>
                      <a:pt x="5" y="2"/>
                      <a:pt x="4" y="2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  <a:moveTo>
                      <a:pt x="15" y="8"/>
                    </a:moveTo>
                    <a:cubicBezTo>
                      <a:pt x="15" y="9"/>
                      <a:pt x="20" y="11"/>
                      <a:pt x="21" y="12"/>
                    </a:cubicBezTo>
                    <a:cubicBezTo>
                      <a:pt x="23" y="14"/>
                      <a:pt x="21" y="10"/>
                      <a:pt x="19" y="9"/>
                    </a:cubicBezTo>
                    <a:cubicBezTo>
                      <a:pt x="17" y="8"/>
                      <a:pt x="18" y="7"/>
                      <a:pt x="16" y="7"/>
                    </a:cubicBezTo>
                    <a:cubicBezTo>
                      <a:pt x="15" y="6"/>
                      <a:pt x="15" y="6"/>
                      <a:pt x="15" y="8"/>
                    </a:cubicBezTo>
                    <a:close/>
                    <a:moveTo>
                      <a:pt x="28" y="18"/>
                    </a:moveTo>
                    <a:cubicBezTo>
                      <a:pt x="29" y="20"/>
                      <a:pt x="31" y="20"/>
                      <a:pt x="29" y="18"/>
                    </a:cubicBezTo>
                    <a:cubicBezTo>
                      <a:pt x="29" y="17"/>
                      <a:pt x="30" y="17"/>
                      <a:pt x="28" y="15"/>
                    </a:cubicBezTo>
                    <a:cubicBezTo>
                      <a:pt x="27" y="14"/>
                      <a:pt x="28" y="12"/>
                      <a:pt x="26" y="11"/>
                    </a:cubicBezTo>
                    <a:cubicBezTo>
                      <a:pt x="24" y="11"/>
                      <a:pt x="26" y="12"/>
                      <a:pt x="26" y="16"/>
                    </a:cubicBezTo>
                    <a:cubicBezTo>
                      <a:pt x="27" y="17"/>
                      <a:pt x="27" y="17"/>
                      <a:pt x="28" y="18"/>
                    </a:cubicBezTo>
                    <a:close/>
                    <a:moveTo>
                      <a:pt x="23" y="21"/>
                    </a:moveTo>
                    <a:cubicBezTo>
                      <a:pt x="25" y="20"/>
                      <a:pt x="24" y="21"/>
                      <a:pt x="26" y="21"/>
                    </a:cubicBezTo>
                    <a:cubicBezTo>
                      <a:pt x="28" y="22"/>
                      <a:pt x="26" y="20"/>
                      <a:pt x="25" y="18"/>
                    </a:cubicBezTo>
                    <a:cubicBezTo>
                      <a:pt x="24" y="17"/>
                      <a:pt x="23" y="19"/>
                      <a:pt x="22" y="18"/>
                    </a:cubicBezTo>
                    <a:cubicBezTo>
                      <a:pt x="21" y="17"/>
                      <a:pt x="20" y="17"/>
                      <a:pt x="20" y="19"/>
                    </a:cubicBezTo>
                    <a:cubicBezTo>
                      <a:pt x="20" y="20"/>
                      <a:pt x="22" y="21"/>
                      <a:pt x="23" y="21"/>
                    </a:cubicBezTo>
                    <a:close/>
                    <a:moveTo>
                      <a:pt x="30" y="25"/>
                    </a:moveTo>
                    <a:cubicBezTo>
                      <a:pt x="30" y="26"/>
                      <a:pt x="33" y="27"/>
                      <a:pt x="34" y="27"/>
                    </a:cubicBezTo>
                    <a:cubicBezTo>
                      <a:pt x="35" y="27"/>
                      <a:pt x="34" y="25"/>
                      <a:pt x="33" y="25"/>
                    </a:cubicBezTo>
                    <a:cubicBezTo>
                      <a:pt x="32" y="25"/>
                      <a:pt x="30" y="23"/>
                      <a:pt x="29" y="23"/>
                    </a:cubicBezTo>
                    <a:cubicBezTo>
                      <a:pt x="28" y="24"/>
                      <a:pt x="30" y="24"/>
                      <a:pt x="30" y="25"/>
                    </a:cubicBezTo>
                    <a:close/>
                    <a:moveTo>
                      <a:pt x="26" y="33"/>
                    </a:moveTo>
                    <a:cubicBezTo>
                      <a:pt x="26" y="33"/>
                      <a:pt x="23" y="30"/>
                      <a:pt x="22" y="31"/>
                    </a:cubicBezTo>
                    <a:cubicBezTo>
                      <a:pt x="22" y="32"/>
                      <a:pt x="25" y="34"/>
                      <a:pt x="26" y="33"/>
                    </a:cubicBezTo>
                    <a:close/>
                    <a:moveTo>
                      <a:pt x="11" y="11"/>
                    </a:moveTo>
                    <a:cubicBezTo>
                      <a:pt x="10" y="10"/>
                      <a:pt x="11" y="9"/>
                      <a:pt x="10" y="9"/>
                    </a:cubicBezTo>
                    <a:cubicBezTo>
                      <a:pt x="9" y="8"/>
                      <a:pt x="8" y="12"/>
                      <a:pt x="9" y="11"/>
                    </a:cubicBezTo>
                    <a:cubicBezTo>
                      <a:pt x="10" y="11"/>
                      <a:pt x="10" y="11"/>
                      <a:pt x="11" y="13"/>
                    </a:cubicBezTo>
                    <a:cubicBezTo>
                      <a:pt x="11" y="13"/>
                      <a:pt x="12" y="12"/>
                      <a:pt x="11" y="11"/>
                    </a:cubicBezTo>
                    <a:close/>
                    <a:moveTo>
                      <a:pt x="8" y="10"/>
                    </a:moveTo>
                    <a:cubicBezTo>
                      <a:pt x="8" y="9"/>
                      <a:pt x="7" y="7"/>
                      <a:pt x="7" y="8"/>
                    </a:cubicBezTo>
                    <a:cubicBezTo>
                      <a:pt x="6" y="9"/>
                      <a:pt x="7" y="11"/>
                      <a:pt x="8" y="10"/>
                    </a:cubicBezTo>
                    <a:close/>
                    <a:moveTo>
                      <a:pt x="6" y="8"/>
                    </a:moveTo>
                    <a:cubicBezTo>
                      <a:pt x="7" y="7"/>
                      <a:pt x="4" y="6"/>
                      <a:pt x="4" y="7"/>
                    </a:cubicBezTo>
                    <a:cubicBezTo>
                      <a:pt x="4" y="7"/>
                      <a:pt x="5" y="9"/>
                      <a:pt x="6" y="8"/>
                    </a:cubicBezTo>
                    <a:close/>
                    <a:moveTo>
                      <a:pt x="12" y="13"/>
                    </a:moveTo>
                    <a:cubicBezTo>
                      <a:pt x="11" y="14"/>
                      <a:pt x="12" y="14"/>
                      <a:pt x="13" y="14"/>
                    </a:cubicBezTo>
                    <a:cubicBezTo>
                      <a:pt x="13" y="13"/>
                      <a:pt x="12" y="12"/>
                      <a:pt x="12" y="13"/>
                    </a:cubicBezTo>
                    <a:close/>
                    <a:moveTo>
                      <a:pt x="1" y="3"/>
                    </a:moveTo>
                    <a:cubicBezTo>
                      <a:pt x="1" y="3"/>
                      <a:pt x="0" y="2"/>
                      <a:pt x="0" y="3"/>
                    </a:cubicBezTo>
                    <a:cubicBezTo>
                      <a:pt x="0" y="4"/>
                      <a:pt x="1" y="4"/>
                      <a:pt x="1" y="3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6" name="Freeform 20254">
                <a:extLst>
                  <a:ext uri="{FF2B5EF4-FFF2-40B4-BE49-F238E27FC236}">
                    <a16:creationId xmlns:a16="http://schemas.microsoft.com/office/drawing/2014/main" id="{5708F4D9-A6F5-674B-A987-0065D68E1B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66719" y="4680197"/>
                <a:ext cx="72512" cy="148842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7"/>
                  </a:cxn>
                  <a:cxn ang="0">
                    <a:pos x="5" y="10"/>
                  </a:cxn>
                  <a:cxn ang="0">
                    <a:pos x="7" y="12"/>
                  </a:cxn>
                  <a:cxn ang="0">
                    <a:pos x="4" y="9"/>
                  </a:cxn>
                  <a:cxn ang="0">
                    <a:pos x="5" y="10"/>
                  </a:cxn>
                  <a:cxn ang="0">
                    <a:pos x="11" y="21"/>
                  </a:cxn>
                  <a:cxn ang="0">
                    <a:pos x="9" y="19"/>
                  </a:cxn>
                  <a:cxn ang="0">
                    <a:pos x="11" y="21"/>
                  </a:cxn>
                  <a:cxn ang="0">
                    <a:pos x="9" y="13"/>
                  </a:cxn>
                  <a:cxn ang="0">
                    <a:pos x="10" y="14"/>
                  </a:cxn>
                  <a:cxn ang="0">
                    <a:pos x="9" y="13"/>
                  </a:cxn>
                  <a:cxn ang="0">
                    <a:pos x="9" y="10"/>
                  </a:cxn>
                  <a:cxn ang="0">
                    <a:pos x="8" y="11"/>
                  </a:cxn>
                  <a:cxn ang="0">
                    <a:pos x="9" y="10"/>
                  </a:cxn>
                  <a:cxn ang="0">
                    <a:pos x="8" y="4"/>
                  </a:cxn>
                  <a:cxn ang="0">
                    <a:pos x="7" y="6"/>
                  </a:cxn>
                  <a:cxn ang="0">
                    <a:pos x="8" y="4"/>
                  </a:cxn>
                  <a:cxn ang="0">
                    <a:pos x="15" y="28"/>
                  </a:cxn>
                  <a:cxn ang="0">
                    <a:pos x="13" y="26"/>
                  </a:cxn>
                  <a:cxn ang="0">
                    <a:pos x="15" y="28"/>
                  </a:cxn>
                  <a:cxn ang="0">
                    <a:pos x="16" y="33"/>
                  </a:cxn>
                  <a:cxn ang="0">
                    <a:pos x="15" y="31"/>
                  </a:cxn>
                  <a:cxn ang="0">
                    <a:pos x="16" y="33"/>
                  </a:cxn>
                </a:cxnLst>
                <a:rect l="0" t="0" r="r" b="b"/>
                <a:pathLst>
                  <a:path w="16" h="33">
                    <a:moveTo>
                      <a:pt x="3" y="7"/>
                    </a:moveTo>
                    <a:cubicBezTo>
                      <a:pt x="1" y="7"/>
                      <a:pt x="2" y="7"/>
                      <a:pt x="1" y="5"/>
                    </a:cubicBezTo>
                    <a:cubicBezTo>
                      <a:pt x="0" y="4"/>
                      <a:pt x="1" y="4"/>
                      <a:pt x="1" y="2"/>
                    </a:cubicBezTo>
                    <a:cubicBezTo>
                      <a:pt x="0" y="0"/>
                      <a:pt x="1" y="0"/>
                      <a:pt x="2" y="2"/>
                    </a:cubicBezTo>
                    <a:cubicBezTo>
                      <a:pt x="2" y="5"/>
                      <a:pt x="3" y="1"/>
                      <a:pt x="3" y="3"/>
                    </a:cubicBezTo>
                    <a:cubicBezTo>
                      <a:pt x="4" y="5"/>
                      <a:pt x="5" y="6"/>
                      <a:pt x="3" y="7"/>
                    </a:cubicBezTo>
                    <a:close/>
                    <a:moveTo>
                      <a:pt x="5" y="10"/>
                    </a:moveTo>
                    <a:cubicBezTo>
                      <a:pt x="6" y="11"/>
                      <a:pt x="5" y="13"/>
                      <a:pt x="7" y="12"/>
                    </a:cubicBezTo>
                    <a:cubicBezTo>
                      <a:pt x="8" y="12"/>
                      <a:pt x="4" y="7"/>
                      <a:pt x="4" y="9"/>
                    </a:cubicBezTo>
                    <a:cubicBezTo>
                      <a:pt x="4" y="10"/>
                      <a:pt x="3" y="10"/>
                      <a:pt x="5" y="10"/>
                    </a:cubicBezTo>
                    <a:close/>
                    <a:moveTo>
                      <a:pt x="11" y="21"/>
                    </a:moveTo>
                    <a:cubicBezTo>
                      <a:pt x="12" y="21"/>
                      <a:pt x="10" y="18"/>
                      <a:pt x="9" y="19"/>
                    </a:cubicBezTo>
                    <a:cubicBezTo>
                      <a:pt x="9" y="20"/>
                      <a:pt x="10" y="21"/>
                      <a:pt x="11" y="21"/>
                    </a:cubicBezTo>
                    <a:close/>
                    <a:moveTo>
                      <a:pt x="9" y="13"/>
                    </a:moveTo>
                    <a:cubicBezTo>
                      <a:pt x="9" y="12"/>
                      <a:pt x="8" y="14"/>
                      <a:pt x="10" y="14"/>
                    </a:cubicBezTo>
                    <a:cubicBezTo>
                      <a:pt x="10" y="15"/>
                      <a:pt x="10" y="14"/>
                      <a:pt x="9" y="13"/>
                    </a:cubicBezTo>
                    <a:close/>
                    <a:moveTo>
                      <a:pt x="9" y="10"/>
                    </a:moveTo>
                    <a:cubicBezTo>
                      <a:pt x="9" y="9"/>
                      <a:pt x="7" y="10"/>
                      <a:pt x="8" y="11"/>
                    </a:cubicBezTo>
                    <a:cubicBezTo>
                      <a:pt x="8" y="12"/>
                      <a:pt x="10" y="12"/>
                      <a:pt x="9" y="10"/>
                    </a:cubicBezTo>
                    <a:close/>
                    <a:moveTo>
                      <a:pt x="8" y="4"/>
                    </a:moveTo>
                    <a:cubicBezTo>
                      <a:pt x="8" y="4"/>
                      <a:pt x="6" y="5"/>
                      <a:pt x="7" y="6"/>
                    </a:cubicBezTo>
                    <a:cubicBezTo>
                      <a:pt x="7" y="6"/>
                      <a:pt x="9" y="5"/>
                      <a:pt x="8" y="4"/>
                    </a:cubicBezTo>
                    <a:close/>
                    <a:moveTo>
                      <a:pt x="15" y="28"/>
                    </a:moveTo>
                    <a:cubicBezTo>
                      <a:pt x="16" y="28"/>
                      <a:pt x="14" y="25"/>
                      <a:pt x="13" y="26"/>
                    </a:cubicBezTo>
                    <a:cubicBezTo>
                      <a:pt x="13" y="27"/>
                      <a:pt x="14" y="29"/>
                      <a:pt x="15" y="28"/>
                    </a:cubicBezTo>
                    <a:close/>
                    <a:moveTo>
                      <a:pt x="16" y="33"/>
                    </a:moveTo>
                    <a:cubicBezTo>
                      <a:pt x="16" y="33"/>
                      <a:pt x="15" y="30"/>
                      <a:pt x="15" y="31"/>
                    </a:cubicBezTo>
                    <a:cubicBezTo>
                      <a:pt x="14" y="31"/>
                      <a:pt x="15" y="33"/>
                      <a:pt x="16" y="33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7" name="Freeform 20255">
                <a:extLst>
                  <a:ext uri="{FF2B5EF4-FFF2-40B4-BE49-F238E27FC236}">
                    <a16:creationId xmlns:a16="http://schemas.microsoft.com/office/drawing/2014/main" id="{36E6F013-6BCD-774F-9B67-2433FBB5411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03746" y="4842396"/>
                <a:ext cx="108769" cy="66789"/>
              </a:xfrm>
              <a:custGeom>
                <a:avLst/>
                <a:gdLst/>
                <a:ahLst/>
                <a:cxnLst>
                  <a:cxn ang="0">
                    <a:pos x="22" y="9"/>
                  </a:cxn>
                  <a:cxn ang="0">
                    <a:pos x="23" y="8"/>
                  </a:cxn>
                  <a:cxn ang="0">
                    <a:pos x="22" y="9"/>
                  </a:cxn>
                  <a:cxn ang="0">
                    <a:pos x="19" y="4"/>
                  </a:cxn>
                  <a:cxn ang="0">
                    <a:pos x="17" y="4"/>
                  </a:cxn>
                  <a:cxn ang="0">
                    <a:pos x="18" y="6"/>
                  </a:cxn>
                  <a:cxn ang="0">
                    <a:pos x="19" y="4"/>
                  </a:cxn>
                  <a:cxn ang="0">
                    <a:pos x="10" y="9"/>
                  </a:cxn>
                  <a:cxn ang="0">
                    <a:pos x="8" y="7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4"/>
                  </a:cxn>
                  <a:cxn ang="0">
                    <a:pos x="2" y="5"/>
                  </a:cxn>
                  <a:cxn ang="0">
                    <a:pos x="4" y="6"/>
                  </a:cxn>
                  <a:cxn ang="0">
                    <a:pos x="4" y="7"/>
                  </a:cxn>
                  <a:cxn ang="0">
                    <a:pos x="5" y="8"/>
                  </a:cxn>
                  <a:cxn ang="0">
                    <a:pos x="5" y="8"/>
                  </a:cxn>
                  <a:cxn ang="0">
                    <a:pos x="6" y="9"/>
                  </a:cxn>
                  <a:cxn ang="0">
                    <a:pos x="7" y="9"/>
                  </a:cxn>
                  <a:cxn ang="0">
                    <a:pos x="10" y="12"/>
                  </a:cxn>
                  <a:cxn ang="0">
                    <a:pos x="13" y="14"/>
                  </a:cxn>
                  <a:cxn ang="0">
                    <a:pos x="13" y="15"/>
                  </a:cxn>
                  <a:cxn ang="0">
                    <a:pos x="11" y="10"/>
                  </a:cxn>
                  <a:cxn ang="0">
                    <a:pos x="10" y="9"/>
                  </a:cxn>
                </a:cxnLst>
                <a:rect l="0" t="0" r="r" b="b"/>
                <a:pathLst>
                  <a:path w="24" h="15">
                    <a:moveTo>
                      <a:pt x="22" y="9"/>
                    </a:moveTo>
                    <a:cubicBezTo>
                      <a:pt x="21" y="8"/>
                      <a:pt x="22" y="7"/>
                      <a:pt x="23" y="8"/>
                    </a:cubicBezTo>
                    <a:cubicBezTo>
                      <a:pt x="24" y="10"/>
                      <a:pt x="22" y="10"/>
                      <a:pt x="22" y="9"/>
                    </a:cubicBezTo>
                    <a:close/>
                    <a:moveTo>
                      <a:pt x="19" y="4"/>
                    </a:moveTo>
                    <a:cubicBezTo>
                      <a:pt x="18" y="3"/>
                      <a:pt x="17" y="3"/>
                      <a:pt x="17" y="4"/>
                    </a:cubicBezTo>
                    <a:cubicBezTo>
                      <a:pt x="18" y="4"/>
                      <a:pt x="16" y="5"/>
                      <a:pt x="18" y="6"/>
                    </a:cubicBezTo>
                    <a:cubicBezTo>
                      <a:pt x="20" y="7"/>
                      <a:pt x="20" y="5"/>
                      <a:pt x="19" y="4"/>
                    </a:cubicBezTo>
                    <a:close/>
                    <a:moveTo>
                      <a:pt x="10" y="9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8" y="5"/>
                      <a:pt x="3" y="2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2" y="5"/>
                      <a:pt x="2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7" y="10"/>
                      <a:pt x="9" y="11"/>
                      <a:pt x="10" y="12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4"/>
                      <a:pt x="13" y="15"/>
                      <a:pt x="13" y="15"/>
                    </a:cubicBezTo>
                    <a:cubicBezTo>
                      <a:pt x="17" y="13"/>
                      <a:pt x="17" y="15"/>
                      <a:pt x="11" y="10"/>
                    </a:cubicBezTo>
                    <a:cubicBezTo>
                      <a:pt x="11" y="9"/>
                      <a:pt x="10" y="8"/>
                      <a:pt x="10" y="9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8" name="Freeform 20256">
                <a:extLst>
                  <a:ext uri="{FF2B5EF4-FFF2-40B4-BE49-F238E27FC236}">
                    <a16:creationId xmlns:a16="http://schemas.microsoft.com/office/drawing/2014/main" id="{9E2E822D-7009-C54F-91F5-458A1307FF4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609604" y="4065748"/>
                <a:ext cx="450341" cy="179373"/>
              </a:xfrm>
              <a:custGeom>
                <a:avLst/>
                <a:gdLst/>
                <a:ahLst/>
                <a:cxnLst>
                  <a:cxn ang="0">
                    <a:pos x="78" y="17"/>
                  </a:cxn>
                  <a:cxn ang="0">
                    <a:pos x="78" y="13"/>
                  </a:cxn>
                  <a:cxn ang="0">
                    <a:pos x="79" y="10"/>
                  </a:cxn>
                  <a:cxn ang="0">
                    <a:pos x="82" y="8"/>
                  </a:cxn>
                  <a:cxn ang="0">
                    <a:pos x="84" y="4"/>
                  </a:cxn>
                  <a:cxn ang="0">
                    <a:pos x="87" y="3"/>
                  </a:cxn>
                  <a:cxn ang="0">
                    <a:pos x="90" y="3"/>
                  </a:cxn>
                  <a:cxn ang="0">
                    <a:pos x="91" y="6"/>
                  </a:cxn>
                  <a:cxn ang="0">
                    <a:pos x="92" y="8"/>
                  </a:cxn>
                  <a:cxn ang="0">
                    <a:pos x="96" y="9"/>
                  </a:cxn>
                  <a:cxn ang="0">
                    <a:pos x="99" y="10"/>
                  </a:cxn>
                  <a:cxn ang="0">
                    <a:pos x="94" y="13"/>
                  </a:cxn>
                  <a:cxn ang="0">
                    <a:pos x="94" y="17"/>
                  </a:cxn>
                  <a:cxn ang="0">
                    <a:pos x="90" y="18"/>
                  </a:cxn>
                  <a:cxn ang="0">
                    <a:pos x="81" y="18"/>
                  </a:cxn>
                  <a:cxn ang="0">
                    <a:pos x="78" y="26"/>
                  </a:cxn>
                  <a:cxn ang="0">
                    <a:pos x="76" y="31"/>
                  </a:cxn>
                  <a:cxn ang="0">
                    <a:pos x="71" y="36"/>
                  </a:cxn>
                  <a:cxn ang="0">
                    <a:pos x="65" y="34"/>
                  </a:cxn>
                  <a:cxn ang="0">
                    <a:pos x="58" y="38"/>
                  </a:cxn>
                  <a:cxn ang="0">
                    <a:pos x="50" y="35"/>
                  </a:cxn>
                  <a:cxn ang="0">
                    <a:pos x="49" y="31"/>
                  </a:cxn>
                  <a:cxn ang="0">
                    <a:pos x="53" y="33"/>
                  </a:cxn>
                  <a:cxn ang="0">
                    <a:pos x="56" y="35"/>
                  </a:cxn>
                  <a:cxn ang="0">
                    <a:pos x="57" y="32"/>
                  </a:cxn>
                  <a:cxn ang="0">
                    <a:pos x="58" y="29"/>
                  </a:cxn>
                  <a:cxn ang="0">
                    <a:pos x="67" y="24"/>
                  </a:cxn>
                  <a:cxn ang="0">
                    <a:pos x="72" y="15"/>
                  </a:cxn>
                  <a:cxn ang="0">
                    <a:pos x="75" y="19"/>
                  </a:cxn>
                  <a:cxn ang="0">
                    <a:pos x="76" y="14"/>
                  </a:cxn>
                  <a:cxn ang="0">
                    <a:pos x="77" y="14"/>
                  </a:cxn>
                  <a:cxn ang="0">
                    <a:pos x="5" y="8"/>
                  </a:cxn>
                  <a:cxn ang="0">
                    <a:pos x="3" y="4"/>
                  </a:cxn>
                  <a:cxn ang="0">
                    <a:pos x="0" y="3"/>
                  </a:cxn>
                  <a:cxn ang="0">
                    <a:pos x="2" y="16"/>
                  </a:cxn>
                  <a:cxn ang="0">
                    <a:pos x="6" y="25"/>
                  </a:cxn>
                  <a:cxn ang="0">
                    <a:pos x="17" y="35"/>
                  </a:cxn>
                  <a:cxn ang="0">
                    <a:pos x="20" y="34"/>
                  </a:cxn>
                  <a:cxn ang="0">
                    <a:pos x="21" y="32"/>
                  </a:cxn>
                  <a:cxn ang="0">
                    <a:pos x="17" y="21"/>
                  </a:cxn>
                  <a:cxn ang="0">
                    <a:pos x="17" y="13"/>
                  </a:cxn>
                  <a:cxn ang="0">
                    <a:pos x="10" y="5"/>
                  </a:cxn>
                </a:cxnLst>
                <a:rect l="0" t="0" r="r" b="b"/>
                <a:pathLst>
                  <a:path w="100" h="40">
                    <a:moveTo>
                      <a:pt x="77" y="14"/>
                    </a:moveTo>
                    <a:cubicBezTo>
                      <a:pt x="77" y="16"/>
                      <a:pt x="77" y="17"/>
                      <a:pt x="78" y="17"/>
                    </a:cubicBezTo>
                    <a:cubicBezTo>
                      <a:pt x="79" y="17"/>
                      <a:pt x="79" y="18"/>
                      <a:pt x="79" y="16"/>
                    </a:cubicBezTo>
                    <a:cubicBezTo>
                      <a:pt x="78" y="14"/>
                      <a:pt x="79" y="15"/>
                      <a:pt x="78" y="13"/>
                    </a:cubicBezTo>
                    <a:cubicBezTo>
                      <a:pt x="79" y="12"/>
                      <a:pt x="78" y="14"/>
                      <a:pt x="80" y="13"/>
                    </a:cubicBezTo>
                    <a:cubicBezTo>
                      <a:pt x="81" y="11"/>
                      <a:pt x="79" y="11"/>
                      <a:pt x="79" y="10"/>
                    </a:cubicBezTo>
                    <a:cubicBezTo>
                      <a:pt x="79" y="10"/>
                      <a:pt x="80" y="9"/>
                      <a:pt x="81" y="9"/>
                    </a:cubicBezTo>
                    <a:cubicBezTo>
                      <a:pt x="81" y="10"/>
                      <a:pt x="82" y="10"/>
                      <a:pt x="82" y="8"/>
                    </a:cubicBezTo>
                    <a:cubicBezTo>
                      <a:pt x="82" y="7"/>
                      <a:pt x="82" y="8"/>
                      <a:pt x="83" y="6"/>
                    </a:cubicBezTo>
                    <a:cubicBezTo>
                      <a:pt x="83" y="5"/>
                      <a:pt x="83" y="6"/>
                      <a:pt x="84" y="4"/>
                    </a:cubicBezTo>
                    <a:cubicBezTo>
                      <a:pt x="86" y="1"/>
                      <a:pt x="85" y="0"/>
                      <a:pt x="86" y="0"/>
                    </a:cubicBezTo>
                    <a:cubicBezTo>
                      <a:pt x="87" y="0"/>
                      <a:pt x="86" y="4"/>
                      <a:pt x="87" y="3"/>
                    </a:cubicBezTo>
                    <a:cubicBezTo>
                      <a:pt x="88" y="2"/>
                      <a:pt x="87" y="0"/>
                      <a:pt x="88" y="0"/>
                    </a:cubicBezTo>
                    <a:cubicBezTo>
                      <a:pt x="89" y="0"/>
                      <a:pt x="89" y="3"/>
                      <a:pt x="90" y="3"/>
                    </a:cubicBezTo>
                    <a:cubicBezTo>
                      <a:pt x="90" y="3"/>
                      <a:pt x="90" y="2"/>
                      <a:pt x="91" y="3"/>
                    </a:cubicBezTo>
                    <a:cubicBezTo>
                      <a:pt x="92" y="4"/>
                      <a:pt x="90" y="5"/>
                      <a:pt x="91" y="6"/>
                    </a:cubicBezTo>
                    <a:cubicBezTo>
                      <a:pt x="91" y="7"/>
                      <a:pt x="92" y="5"/>
                      <a:pt x="93" y="7"/>
                    </a:cubicBezTo>
                    <a:cubicBezTo>
                      <a:pt x="93" y="8"/>
                      <a:pt x="92" y="7"/>
                      <a:pt x="92" y="8"/>
                    </a:cubicBezTo>
                    <a:cubicBezTo>
                      <a:pt x="93" y="9"/>
                      <a:pt x="93" y="8"/>
                      <a:pt x="94" y="8"/>
                    </a:cubicBezTo>
                    <a:cubicBezTo>
                      <a:pt x="94" y="7"/>
                      <a:pt x="95" y="8"/>
                      <a:pt x="96" y="9"/>
                    </a:cubicBezTo>
                    <a:cubicBezTo>
                      <a:pt x="96" y="9"/>
                      <a:pt x="97" y="9"/>
                      <a:pt x="97" y="10"/>
                    </a:cubicBezTo>
                    <a:cubicBezTo>
                      <a:pt x="98" y="11"/>
                      <a:pt x="99" y="9"/>
                      <a:pt x="99" y="10"/>
                    </a:cubicBezTo>
                    <a:cubicBezTo>
                      <a:pt x="100" y="12"/>
                      <a:pt x="98" y="12"/>
                      <a:pt x="96" y="13"/>
                    </a:cubicBezTo>
                    <a:cubicBezTo>
                      <a:pt x="94" y="13"/>
                      <a:pt x="95" y="12"/>
                      <a:pt x="94" y="13"/>
                    </a:cubicBezTo>
                    <a:cubicBezTo>
                      <a:pt x="93" y="13"/>
                      <a:pt x="93" y="14"/>
                      <a:pt x="95" y="15"/>
                    </a:cubicBezTo>
                    <a:cubicBezTo>
                      <a:pt x="97" y="17"/>
                      <a:pt x="95" y="17"/>
                      <a:pt x="94" y="17"/>
                    </a:cubicBezTo>
                    <a:cubicBezTo>
                      <a:pt x="93" y="17"/>
                      <a:pt x="93" y="18"/>
                      <a:pt x="92" y="17"/>
                    </a:cubicBezTo>
                    <a:cubicBezTo>
                      <a:pt x="90" y="15"/>
                      <a:pt x="92" y="18"/>
                      <a:pt x="90" y="18"/>
                    </a:cubicBezTo>
                    <a:cubicBezTo>
                      <a:pt x="88" y="16"/>
                      <a:pt x="89" y="17"/>
                      <a:pt x="87" y="17"/>
                    </a:cubicBezTo>
                    <a:cubicBezTo>
                      <a:pt x="84" y="17"/>
                      <a:pt x="82" y="16"/>
                      <a:pt x="81" y="18"/>
                    </a:cubicBezTo>
                    <a:cubicBezTo>
                      <a:pt x="80" y="20"/>
                      <a:pt x="80" y="22"/>
                      <a:pt x="80" y="24"/>
                    </a:cubicBezTo>
                    <a:cubicBezTo>
                      <a:pt x="80" y="26"/>
                      <a:pt x="78" y="24"/>
                      <a:pt x="78" y="26"/>
                    </a:cubicBezTo>
                    <a:cubicBezTo>
                      <a:pt x="77" y="28"/>
                      <a:pt x="77" y="28"/>
                      <a:pt x="78" y="28"/>
                    </a:cubicBezTo>
                    <a:cubicBezTo>
                      <a:pt x="79" y="29"/>
                      <a:pt x="76" y="29"/>
                      <a:pt x="76" y="31"/>
                    </a:cubicBezTo>
                    <a:cubicBezTo>
                      <a:pt x="76" y="32"/>
                      <a:pt x="76" y="33"/>
                      <a:pt x="75" y="34"/>
                    </a:cubicBezTo>
                    <a:cubicBezTo>
                      <a:pt x="75" y="36"/>
                      <a:pt x="72" y="34"/>
                      <a:pt x="71" y="36"/>
                    </a:cubicBezTo>
                    <a:cubicBezTo>
                      <a:pt x="70" y="37"/>
                      <a:pt x="68" y="36"/>
                      <a:pt x="67" y="35"/>
                    </a:cubicBezTo>
                    <a:cubicBezTo>
                      <a:pt x="66" y="35"/>
                      <a:pt x="68" y="34"/>
                      <a:pt x="65" y="34"/>
                    </a:cubicBezTo>
                    <a:cubicBezTo>
                      <a:pt x="61" y="34"/>
                      <a:pt x="63" y="37"/>
                      <a:pt x="62" y="37"/>
                    </a:cubicBezTo>
                    <a:cubicBezTo>
                      <a:pt x="60" y="37"/>
                      <a:pt x="61" y="39"/>
                      <a:pt x="58" y="38"/>
                    </a:cubicBezTo>
                    <a:cubicBezTo>
                      <a:pt x="55" y="37"/>
                      <a:pt x="55" y="40"/>
                      <a:pt x="53" y="38"/>
                    </a:cubicBezTo>
                    <a:cubicBezTo>
                      <a:pt x="52" y="37"/>
                      <a:pt x="51" y="35"/>
                      <a:pt x="50" y="35"/>
                    </a:cubicBezTo>
                    <a:cubicBezTo>
                      <a:pt x="49" y="35"/>
                      <a:pt x="50" y="34"/>
                      <a:pt x="49" y="33"/>
                    </a:cubicBezTo>
                    <a:cubicBezTo>
                      <a:pt x="48" y="33"/>
                      <a:pt x="49" y="31"/>
                      <a:pt x="49" y="31"/>
                    </a:cubicBezTo>
                    <a:cubicBezTo>
                      <a:pt x="49" y="33"/>
                      <a:pt x="51" y="34"/>
                      <a:pt x="52" y="33"/>
                    </a:cubicBezTo>
                    <a:cubicBezTo>
                      <a:pt x="53" y="33"/>
                      <a:pt x="52" y="32"/>
                      <a:pt x="53" y="33"/>
                    </a:cubicBezTo>
                    <a:cubicBezTo>
                      <a:pt x="53" y="34"/>
                      <a:pt x="54" y="33"/>
                      <a:pt x="54" y="34"/>
                    </a:cubicBezTo>
                    <a:cubicBezTo>
                      <a:pt x="53" y="35"/>
                      <a:pt x="55" y="34"/>
                      <a:pt x="56" y="35"/>
                    </a:cubicBezTo>
                    <a:cubicBezTo>
                      <a:pt x="57" y="35"/>
                      <a:pt x="58" y="36"/>
                      <a:pt x="57" y="35"/>
                    </a:cubicBezTo>
                    <a:cubicBezTo>
                      <a:pt x="56" y="34"/>
                      <a:pt x="57" y="34"/>
                      <a:pt x="57" y="32"/>
                    </a:cubicBezTo>
                    <a:cubicBezTo>
                      <a:pt x="57" y="31"/>
                      <a:pt x="58" y="31"/>
                      <a:pt x="57" y="31"/>
                    </a:cubicBezTo>
                    <a:cubicBezTo>
                      <a:pt x="57" y="30"/>
                      <a:pt x="57" y="28"/>
                      <a:pt x="58" y="29"/>
                    </a:cubicBezTo>
                    <a:cubicBezTo>
                      <a:pt x="59" y="30"/>
                      <a:pt x="58" y="28"/>
                      <a:pt x="59" y="27"/>
                    </a:cubicBezTo>
                    <a:cubicBezTo>
                      <a:pt x="60" y="25"/>
                      <a:pt x="67" y="26"/>
                      <a:pt x="67" y="24"/>
                    </a:cubicBezTo>
                    <a:cubicBezTo>
                      <a:pt x="68" y="20"/>
                      <a:pt x="72" y="19"/>
                      <a:pt x="72" y="17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4" y="16"/>
                      <a:pt x="73" y="18"/>
                      <a:pt x="74" y="17"/>
                    </a:cubicBezTo>
                    <a:cubicBezTo>
                      <a:pt x="75" y="17"/>
                      <a:pt x="74" y="19"/>
                      <a:pt x="75" y="19"/>
                    </a:cubicBezTo>
                    <a:cubicBezTo>
                      <a:pt x="76" y="19"/>
                      <a:pt x="77" y="16"/>
                      <a:pt x="76" y="16"/>
                    </a:cubicBezTo>
                    <a:cubicBezTo>
                      <a:pt x="76" y="16"/>
                      <a:pt x="76" y="15"/>
                      <a:pt x="76" y="14"/>
                    </a:cubicBezTo>
                    <a:cubicBezTo>
                      <a:pt x="76" y="14"/>
                      <a:pt x="77" y="14"/>
                      <a:pt x="77" y="13"/>
                    </a:cubicBezTo>
                    <a:lnTo>
                      <a:pt x="77" y="14"/>
                    </a:lnTo>
                    <a:close/>
                    <a:moveTo>
                      <a:pt x="8" y="7"/>
                    </a:moveTo>
                    <a:cubicBezTo>
                      <a:pt x="6" y="5"/>
                      <a:pt x="6" y="9"/>
                      <a:pt x="5" y="8"/>
                    </a:cubicBezTo>
                    <a:cubicBezTo>
                      <a:pt x="4" y="7"/>
                      <a:pt x="5" y="6"/>
                      <a:pt x="5" y="5"/>
                    </a:cubicBezTo>
                    <a:cubicBezTo>
                      <a:pt x="5" y="3"/>
                      <a:pt x="4" y="5"/>
                      <a:pt x="3" y="4"/>
                    </a:cubicBezTo>
                    <a:cubicBezTo>
                      <a:pt x="3" y="2"/>
                      <a:pt x="2" y="3"/>
                      <a:pt x="1" y="2"/>
                    </a:cubicBezTo>
                    <a:cubicBezTo>
                      <a:pt x="0" y="1"/>
                      <a:pt x="0" y="1"/>
                      <a:pt x="0" y="3"/>
                    </a:cubicBezTo>
                    <a:cubicBezTo>
                      <a:pt x="2" y="6"/>
                      <a:pt x="1" y="10"/>
                      <a:pt x="1" y="11"/>
                    </a:cubicBezTo>
                    <a:cubicBezTo>
                      <a:pt x="0" y="13"/>
                      <a:pt x="2" y="12"/>
                      <a:pt x="2" y="16"/>
                    </a:cubicBezTo>
                    <a:cubicBezTo>
                      <a:pt x="2" y="19"/>
                      <a:pt x="3" y="18"/>
                      <a:pt x="3" y="19"/>
                    </a:cubicBezTo>
                    <a:cubicBezTo>
                      <a:pt x="2" y="20"/>
                      <a:pt x="7" y="23"/>
                      <a:pt x="6" y="25"/>
                    </a:cubicBezTo>
                    <a:cubicBezTo>
                      <a:pt x="5" y="27"/>
                      <a:pt x="6" y="26"/>
                      <a:pt x="11" y="31"/>
                    </a:cubicBezTo>
                    <a:cubicBezTo>
                      <a:pt x="15" y="35"/>
                      <a:pt x="16" y="33"/>
                      <a:pt x="17" y="35"/>
                    </a:cubicBezTo>
                    <a:cubicBezTo>
                      <a:pt x="18" y="37"/>
                      <a:pt x="17" y="34"/>
                      <a:pt x="19" y="35"/>
                    </a:cubicBezTo>
                    <a:cubicBezTo>
                      <a:pt x="20" y="35"/>
                      <a:pt x="19" y="34"/>
                      <a:pt x="20" y="34"/>
                    </a:cubicBezTo>
                    <a:cubicBezTo>
                      <a:pt x="21" y="35"/>
                      <a:pt x="20" y="35"/>
                      <a:pt x="21" y="35"/>
                    </a:cubicBezTo>
                    <a:cubicBezTo>
                      <a:pt x="22" y="36"/>
                      <a:pt x="21" y="33"/>
                      <a:pt x="21" y="32"/>
                    </a:cubicBezTo>
                    <a:cubicBezTo>
                      <a:pt x="19" y="31"/>
                      <a:pt x="20" y="29"/>
                      <a:pt x="18" y="27"/>
                    </a:cubicBezTo>
                    <a:cubicBezTo>
                      <a:pt x="15" y="25"/>
                      <a:pt x="18" y="22"/>
                      <a:pt x="17" y="21"/>
                    </a:cubicBezTo>
                    <a:cubicBezTo>
                      <a:pt x="16" y="20"/>
                      <a:pt x="17" y="19"/>
                      <a:pt x="17" y="18"/>
                    </a:cubicBezTo>
                    <a:cubicBezTo>
                      <a:pt x="17" y="18"/>
                      <a:pt x="18" y="16"/>
                      <a:pt x="17" y="13"/>
                    </a:cubicBezTo>
                    <a:cubicBezTo>
                      <a:pt x="16" y="10"/>
                      <a:pt x="12" y="8"/>
                      <a:pt x="12" y="6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9" y="8"/>
                      <a:pt x="9" y="8"/>
                      <a:pt x="8" y="7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9" name="Freeform 20257">
                <a:extLst>
                  <a:ext uri="{FF2B5EF4-FFF2-40B4-BE49-F238E27FC236}">
                    <a16:creationId xmlns:a16="http://schemas.microsoft.com/office/drawing/2014/main" id="{1E92B750-7EB7-3D43-BB14-5EC0D1E961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89751" y="4222221"/>
                <a:ext cx="9542" cy="954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1" y="2"/>
                      <a:pt x="0" y="1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0" name="Freeform 20271">
                <a:extLst>
                  <a:ext uri="{FF2B5EF4-FFF2-40B4-BE49-F238E27FC236}">
                    <a16:creationId xmlns:a16="http://schemas.microsoft.com/office/drawing/2014/main" id="{065E7D40-AA72-CA44-A423-7D084D69FDD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907288" y="4561886"/>
                <a:ext cx="965564" cy="1007544"/>
              </a:xfrm>
              <a:custGeom>
                <a:avLst/>
                <a:gdLst/>
                <a:ahLst/>
                <a:cxnLst>
                  <a:cxn ang="0">
                    <a:pos x="56" y="40"/>
                  </a:cxn>
                  <a:cxn ang="0">
                    <a:pos x="69" y="23"/>
                  </a:cxn>
                  <a:cxn ang="0">
                    <a:pos x="87" y="28"/>
                  </a:cxn>
                  <a:cxn ang="0">
                    <a:pos x="99" y="11"/>
                  </a:cxn>
                  <a:cxn ang="0">
                    <a:pos x="101" y="4"/>
                  </a:cxn>
                  <a:cxn ang="0">
                    <a:pos x="113" y="9"/>
                  </a:cxn>
                  <a:cxn ang="0">
                    <a:pos x="121" y="12"/>
                  </a:cxn>
                  <a:cxn ang="0">
                    <a:pos x="123" y="16"/>
                  </a:cxn>
                  <a:cxn ang="0">
                    <a:pos x="123" y="33"/>
                  </a:cxn>
                  <a:cxn ang="0">
                    <a:pos x="144" y="45"/>
                  </a:cxn>
                  <a:cxn ang="0">
                    <a:pos x="149" y="19"/>
                  </a:cxn>
                  <a:cxn ang="0">
                    <a:pos x="152" y="4"/>
                  </a:cxn>
                  <a:cxn ang="0">
                    <a:pos x="158" y="12"/>
                  </a:cxn>
                  <a:cxn ang="0">
                    <a:pos x="168" y="27"/>
                  </a:cxn>
                  <a:cxn ang="0">
                    <a:pos x="178" y="56"/>
                  </a:cxn>
                  <a:cxn ang="0">
                    <a:pos x="191" y="70"/>
                  </a:cxn>
                  <a:cxn ang="0">
                    <a:pos x="197" y="76"/>
                  </a:cxn>
                  <a:cxn ang="0">
                    <a:pos x="208" y="96"/>
                  </a:cxn>
                  <a:cxn ang="0">
                    <a:pos x="212" y="120"/>
                  </a:cxn>
                  <a:cxn ang="0">
                    <a:pos x="204" y="147"/>
                  </a:cxn>
                  <a:cxn ang="0">
                    <a:pos x="193" y="176"/>
                  </a:cxn>
                  <a:cxn ang="0">
                    <a:pos x="174" y="190"/>
                  </a:cxn>
                  <a:cxn ang="0">
                    <a:pos x="168" y="182"/>
                  </a:cxn>
                  <a:cxn ang="0">
                    <a:pos x="150" y="185"/>
                  </a:cxn>
                  <a:cxn ang="0">
                    <a:pos x="136" y="166"/>
                  </a:cxn>
                  <a:cxn ang="0">
                    <a:pos x="128" y="163"/>
                  </a:cxn>
                  <a:cxn ang="0">
                    <a:pos x="131" y="147"/>
                  </a:cxn>
                  <a:cxn ang="0">
                    <a:pos x="122" y="156"/>
                  </a:cxn>
                  <a:cxn ang="0">
                    <a:pos x="110" y="143"/>
                  </a:cxn>
                  <a:cxn ang="0">
                    <a:pos x="70" y="143"/>
                  </a:cxn>
                  <a:cxn ang="0">
                    <a:pos x="46" y="153"/>
                  </a:cxn>
                  <a:cxn ang="0">
                    <a:pos x="22" y="162"/>
                  </a:cxn>
                  <a:cxn ang="0">
                    <a:pos x="14" y="147"/>
                  </a:cxn>
                  <a:cxn ang="0">
                    <a:pos x="6" y="112"/>
                  </a:cxn>
                  <a:cxn ang="0">
                    <a:pos x="3" y="97"/>
                  </a:cxn>
                  <a:cxn ang="0">
                    <a:pos x="5" y="75"/>
                  </a:cxn>
                  <a:cxn ang="0">
                    <a:pos x="25" y="65"/>
                  </a:cxn>
                  <a:cxn ang="0">
                    <a:pos x="47" y="50"/>
                  </a:cxn>
                  <a:cxn ang="0">
                    <a:pos x="170" y="218"/>
                  </a:cxn>
                  <a:cxn ang="0">
                    <a:pos x="179" y="220"/>
                  </a:cxn>
                  <a:cxn ang="0">
                    <a:pos x="182" y="218"/>
                  </a:cxn>
                  <a:cxn ang="0">
                    <a:pos x="183" y="211"/>
                  </a:cxn>
                  <a:cxn ang="0">
                    <a:pos x="183" y="202"/>
                  </a:cxn>
                  <a:cxn ang="0">
                    <a:pos x="169" y="202"/>
                  </a:cxn>
                  <a:cxn ang="0">
                    <a:pos x="162" y="197"/>
                  </a:cxn>
                  <a:cxn ang="0">
                    <a:pos x="182" y="196"/>
                  </a:cxn>
                  <a:cxn ang="0">
                    <a:pos x="184" y="196"/>
                  </a:cxn>
                  <a:cxn ang="0">
                    <a:pos x="185" y="199"/>
                  </a:cxn>
                  <a:cxn ang="0">
                    <a:pos x="129" y="168"/>
                  </a:cxn>
                  <a:cxn ang="0">
                    <a:pos x="123" y="168"/>
                  </a:cxn>
                  <a:cxn ang="0">
                    <a:pos x="92" y="5"/>
                  </a:cxn>
                  <a:cxn ang="0">
                    <a:pos x="91" y="7"/>
                  </a:cxn>
                  <a:cxn ang="0">
                    <a:pos x="91" y="7"/>
                  </a:cxn>
                  <a:cxn ang="0">
                    <a:pos x="125" y="22"/>
                  </a:cxn>
                  <a:cxn ang="0">
                    <a:pos x="211" y="92"/>
                  </a:cxn>
                  <a:cxn ang="0">
                    <a:pos x="209" y="99"/>
                  </a:cxn>
                  <a:cxn ang="0">
                    <a:pos x="140" y="38"/>
                  </a:cxn>
                </a:cxnLst>
                <a:rect l="0" t="0" r="r" b="b"/>
                <a:pathLst>
                  <a:path w="214" h="223">
                    <a:moveTo>
                      <a:pt x="47" y="50"/>
                    </a:moveTo>
                    <a:cubicBezTo>
                      <a:pt x="51" y="47"/>
                      <a:pt x="46" y="47"/>
                      <a:pt x="50" y="40"/>
                    </a:cubicBezTo>
                    <a:cubicBezTo>
                      <a:pt x="55" y="34"/>
                      <a:pt x="55" y="48"/>
                      <a:pt x="56" y="40"/>
                    </a:cubicBezTo>
                    <a:cubicBezTo>
                      <a:pt x="56" y="31"/>
                      <a:pt x="60" y="42"/>
                      <a:pt x="60" y="35"/>
                    </a:cubicBezTo>
                    <a:cubicBezTo>
                      <a:pt x="60" y="30"/>
                      <a:pt x="61" y="33"/>
                      <a:pt x="64" y="27"/>
                    </a:cubicBezTo>
                    <a:cubicBezTo>
                      <a:pt x="67" y="21"/>
                      <a:pt x="68" y="27"/>
                      <a:pt x="69" y="23"/>
                    </a:cubicBezTo>
                    <a:cubicBezTo>
                      <a:pt x="69" y="19"/>
                      <a:pt x="72" y="25"/>
                      <a:pt x="72" y="21"/>
                    </a:cubicBezTo>
                    <a:cubicBezTo>
                      <a:pt x="72" y="17"/>
                      <a:pt x="79" y="28"/>
                      <a:pt x="82" y="27"/>
                    </a:cubicBezTo>
                    <a:cubicBezTo>
                      <a:pt x="85" y="27"/>
                      <a:pt x="85" y="30"/>
                      <a:pt x="87" y="28"/>
                    </a:cubicBezTo>
                    <a:cubicBezTo>
                      <a:pt x="89" y="26"/>
                      <a:pt x="83" y="27"/>
                      <a:pt x="87" y="21"/>
                    </a:cubicBezTo>
                    <a:cubicBezTo>
                      <a:pt x="91" y="16"/>
                      <a:pt x="87" y="17"/>
                      <a:pt x="92" y="13"/>
                    </a:cubicBezTo>
                    <a:cubicBezTo>
                      <a:pt x="98" y="8"/>
                      <a:pt x="95" y="12"/>
                      <a:pt x="99" y="11"/>
                    </a:cubicBezTo>
                    <a:cubicBezTo>
                      <a:pt x="103" y="10"/>
                      <a:pt x="102" y="13"/>
                      <a:pt x="103" y="9"/>
                    </a:cubicBezTo>
                    <a:cubicBezTo>
                      <a:pt x="104" y="5"/>
                      <a:pt x="100" y="7"/>
                      <a:pt x="99" y="6"/>
                    </a:cubicBezTo>
                    <a:cubicBezTo>
                      <a:pt x="98" y="4"/>
                      <a:pt x="99" y="4"/>
                      <a:pt x="101" y="4"/>
                    </a:cubicBezTo>
                    <a:cubicBezTo>
                      <a:pt x="103" y="4"/>
                      <a:pt x="102" y="6"/>
                      <a:pt x="104" y="5"/>
                    </a:cubicBezTo>
                    <a:cubicBezTo>
                      <a:pt x="106" y="5"/>
                      <a:pt x="104" y="8"/>
                      <a:pt x="108" y="8"/>
                    </a:cubicBezTo>
                    <a:cubicBezTo>
                      <a:pt x="111" y="7"/>
                      <a:pt x="110" y="11"/>
                      <a:pt x="113" y="9"/>
                    </a:cubicBezTo>
                    <a:cubicBezTo>
                      <a:pt x="115" y="9"/>
                      <a:pt x="114" y="13"/>
                      <a:pt x="118" y="9"/>
                    </a:cubicBezTo>
                    <a:cubicBezTo>
                      <a:pt x="122" y="6"/>
                      <a:pt x="119" y="10"/>
                      <a:pt x="120" y="10"/>
                    </a:cubicBezTo>
                    <a:cubicBezTo>
                      <a:pt x="121" y="10"/>
                      <a:pt x="120" y="13"/>
                      <a:pt x="121" y="12"/>
                    </a:cubicBezTo>
                    <a:cubicBezTo>
                      <a:pt x="123" y="11"/>
                      <a:pt x="121" y="11"/>
                      <a:pt x="122" y="9"/>
                    </a:cubicBezTo>
                    <a:cubicBezTo>
                      <a:pt x="124" y="8"/>
                      <a:pt x="123" y="9"/>
                      <a:pt x="125" y="11"/>
                    </a:cubicBezTo>
                    <a:cubicBezTo>
                      <a:pt x="128" y="12"/>
                      <a:pt x="124" y="12"/>
                      <a:pt x="123" y="16"/>
                    </a:cubicBezTo>
                    <a:cubicBezTo>
                      <a:pt x="123" y="21"/>
                      <a:pt x="123" y="14"/>
                      <a:pt x="120" y="18"/>
                    </a:cubicBezTo>
                    <a:cubicBezTo>
                      <a:pt x="118" y="23"/>
                      <a:pt x="123" y="18"/>
                      <a:pt x="119" y="24"/>
                    </a:cubicBezTo>
                    <a:cubicBezTo>
                      <a:pt x="116" y="30"/>
                      <a:pt x="118" y="28"/>
                      <a:pt x="123" y="33"/>
                    </a:cubicBezTo>
                    <a:cubicBezTo>
                      <a:pt x="125" y="36"/>
                      <a:pt x="125" y="33"/>
                      <a:pt x="130" y="37"/>
                    </a:cubicBezTo>
                    <a:cubicBezTo>
                      <a:pt x="135" y="42"/>
                      <a:pt x="136" y="39"/>
                      <a:pt x="137" y="42"/>
                    </a:cubicBezTo>
                    <a:cubicBezTo>
                      <a:pt x="137" y="44"/>
                      <a:pt x="142" y="47"/>
                      <a:pt x="144" y="45"/>
                    </a:cubicBezTo>
                    <a:cubicBezTo>
                      <a:pt x="147" y="43"/>
                      <a:pt x="145" y="42"/>
                      <a:pt x="148" y="38"/>
                    </a:cubicBezTo>
                    <a:cubicBezTo>
                      <a:pt x="150" y="35"/>
                      <a:pt x="148" y="35"/>
                      <a:pt x="149" y="31"/>
                    </a:cubicBezTo>
                    <a:cubicBezTo>
                      <a:pt x="151" y="26"/>
                      <a:pt x="148" y="22"/>
                      <a:pt x="149" y="19"/>
                    </a:cubicBezTo>
                    <a:cubicBezTo>
                      <a:pt x="150" y="16"/>
                      <a:pt x="149" y="16"/>
                      <a:pt x="150" y="14"/>
                    </a:cubicBezTo>
                    <a:cubicBezTo>
                      <a:pt x="152" y="13"/>
                      <a:pt x="149" y="14"/>
                      <a:pt x="150" y="11"/>
                    </a:cubicBezTo>
                    <a:cubicBezTo>
                      <a:pt x="152" y="7"/>
                      <a:pt x="152" y="6"/>
                      <a:pt x="152" y="4"/>
                    </a:cubicBezTo>
                    <a:cubicBezTo>
                      <a:pt x="153" y="1"/>
                      <a:pt x="155" y="0"/>
                      <a:pt x="156" y="3"/>
                    </a:cubicBezTo>
                    <a:cubicBezTo>
                      <a:pt x="156" y="6"/>
                      <a:pt x="156" y="8"/>
                      <a:pt x="157" y="9"/>
                    </a:cubicBezTo>
                    <a:cubicBezTo>
                      <a:pt x="159" y="10"/>
                      <a:pt x="157" y="10"/>
                      <a:pt x="158" y="12"/>
                    </a:cubicBezTo>
                    <a:cubicBezTo>
                      <a:pt x="160" y="15"/>
                      <a:pt x="160" y="17"/>
                      <a:pt x="160" y="20"/>
                    </a:cubicBezTo>
                    <a:cubicBezTo>
                      <a:pt x="160" y="23"/>
                      <a:pt x="162" y="27"/>
                      <a:pt x="163" y="24"/>
                    </a:cubicBezTo>
                    <a:cubicBezTo>
                      <a:pt x="165" y="21"/>
                      <a:pt x="164" y="25"/>
                      <a:pt x="168" y="27"/>
                    </a:cubicBezTo>
                    <a:cubicBezTo>
                      <a:pt x="171" y="29"/>
                      <a:pt x="168" y="36"/>
                      <a:pt x="171" y="40"/>
                    </a:cubicBezTo>
                    <a:cubicBezTo>
                      <a:pt x="174" y="43"/>
                      <a:pt x="172" y="48"/>
                      <a:pt x="173" y="51"/>
                    </a:cubicBezTo>
                    <a:cubicBezTo>
                      <a:pt x="175" y="53"/>
                      <a:pt x="174" y="55"/>
                      <a:pt x="178" y="56"/>
                    </a:cubicBezTo>
                    <a:cubicBezTo>
                      <a:pt x="182" y="57"/>
                      <a:pt x="179" y="59"/>
                      <a:pt x="184" y="60"/>
                    </a:cubicBezTo>
                    <a:cubicBezTo>
                      <a:pt x="189" y="62"/>
                      <a:pt x="189" y="64"/>
                      <a:pt x="187" y="64"/>
                    </a:cubicBezTo>
                    <a:cubicBezTo>
                      <a:pt x="185" y="64"/>
                      <a:pt x="190" y="68"/>
                      <a:pt x="191" y="70"/>
                    </a:cubicBezTo>
                    <a:cubicBezTo>
                      <a:pt x="192" y="72"/>
                      <a:pt x="190" y="73"/>
                      <a:pt x="192" y="76"/>
                    </a:cubicBezTo>
                    <a:cubicBezTo>
                      <a:pt x="194" y="79"/>
                      <a:pt x="192" y="73"/>
                      <a:pt x="194" y="76"/>
                    </a:cubicBezTo>
                    <a:cubicBezTo>
                      <a:pt x="197" y="78"/>
                      <a:pt x="196" y="74"/>
                      <a:pt x="197" y="76"/>
                    </a:cubicBezTo>
                    <a:cubicBezTo>
                      <a:pt x="199" y="78"/>
                      <a:pt x="196" y="81"/>
                      <a:pt x="199" y="85"/>
                    </a:cubicBezTo>
                    <a:cubicBezTo>
                      <a:pt x="202" y="88"/>
                      <a:pt x="201" y="85"/>
                      <a:pt x="203" y="89"/>
                    </a:cubicBezTo>
                    <a:cubicBezTo>
                      <a:pt x="205" y="92"/>
                      <a:pt x="207" y="92"/>
                      <a:pt x="208" y="96"/>
                    </a:cubicBezTo>
                    <a:cubicBezTo>
                      <a:pt x="209" y="100"/>
                      <a:pt x="210" y="97"/>
                      <a:pt x="210" y="101"/>
                    </a:cubicBezTo>
                    <a:cubicBezTo>
                      <a:pt x="209" y="105"/>
                      <a:pt x="211" y="105"/>
                      <a:pt x="210" y="108"/>
                    </a:cubicBezTo>
                    <a:cubicBezTo>
                      <a:pt x="209" y="109"/>
                      <a:pt x="214" y="116"/>
                      <a:pt x="212" y="120"/>
                    </a:cubicBezTo>
                    <a:cubicBezTo>
                      <a:pt x="210" y="123"/>
                      <a:pt x="212" y="126"/>
                      <a:pt x="209" y="130"/>
                    </a:cubicBezTo>
                    <a:cubicBezTo>
                      <a:pt x="208" y="133"/>
                      <a:pt x="210" y="135"/>
                      <a:pt x="208" y="139"/>
                    </a:cubicBezTo>
                    <a:cubicBezTo>
                      <a:pt x="206" y="143"/>
                      <a:pt x="209" y="142"/>
                      <a:pt x="204" y="147"/>
                    </a:cubicBezTo>
                    <a:cubicBezTo>
                      <a:pt x="198" y="152"/>
                      <a:pt x="199" y="161"/>
                      <a:pt x="197" y="162"/>
                    </a:cubicBezTo>
                    <a:cubicBezTo>
                      <a:pt x="195" y="163"/>
                      <a:pt x="194" y="168"/>
                      <a:pt x="194" y="170"/>
                    </a:cubicBezTo>
                    <a:cubicBezTo>
                      <a:pt x="194" y="173"/>
                      <a:pt x="192" y="175"/>
                      <a:pt x="193" y="176"/>
                    </a:cubicBezTo>
                    <a:cubicBezTo>
                      <a:pt x="194" y="177"/>
                      <a:pt x="193" y="181"/>
                      <a:pt x="188" y="181"/>
                    </a:cubicBezTo>
                    <a:cubicBezTo>
                      <a:pt x="183" y="180"/>
                      <a:pt x="178" y="187"/>
                      <a:pt x="176" y="187"/>
                    </a:cubicBezTo>
                    <a:cubicBezTo>
                      <a:pt x="174" y="188"/>
                      <a:pt x="176" y="193"/>
                      <a:pt x="174" y="190"/>
                    </a:cubicBezTo>
                    <a:cubicBezTo>
                      <a:pt x="171" y="186"/>
                      <a:pt x="170" y="187"/>
                      <a:pt x="169" y="185"/>
                    </a:cubicBezTo>
                    <a:cubicBezTo>
                      <a:pt x="169" y="183"/>
                      <a:pt x="169" y="187"/>
                      <a:pt x="167" y="186"/>
                    </a:cubicBezTo>
                    <a:cubicBezTo>
                      <a:pt x="165" y="184"/>
                      <a:pt x="170" y="184"/>
                      <a:pt x="168" y="182"/>
                    </a:cubicBezTo>
                    <a:cubicBezTo>
                      <a:pt x="165" y="180"/>
                      <a:pt x="167" y="183"/>
                      <a:pt x="164" y="185"/>
                    </a:cubicBezTo>
                    <a:cubicBezTo>
                      <a:pt x="160" y="186"/>
                      <a:pt x="162" y="189"/>
                      <a:pt x="157" y="187"/>
                    </a:cubicBezTo>
                    <a:cubicBezTo>
                      <a:pt x="152" y="184"/>
                      <a:pt x="151" y="184"/>
                      <a:pt x="150" y="185"/>
                    </a:cubicBezTo>
                    <a:cubicBezTo>
                      <a:pt x="149" y="186"/>
                      <a:pt x="148" y="183"/>
                      <a:pt x="146" y="182"/>
                    </a:cubicBezTo>
                    <a:cubicBezTo>
                      <a:pt x="143" y="182"/>
                      <a:pt x="139" y="176"/>
                      <a:pt x="140" y="174"/>
                    </a:cubicBezTo>
                    <a:cubicBezTo>
                      <a:pt x="141" y="172"/>
                      <a:pt x="139" y="167"/>
                      <a:pt x="136" y="166"/>
                    </a:cubicBezTo>
                    <a:cubicBezTo>
                      <a:pt x="134" y="165"/>
                      <a:pt x="133" y="167"/>
                      <a:pt x="132" y="166"/>
                    </a:cubicBezTo>
                    <a:cubicBezTo>
                      <a:pt x="131" y="164"/>
                      <a:pt x="135" y="162"/>
                      <a:pt x="133" y="158"/>
                    </a:cubicBezTo>
                    <a:cubicBezTo>
                      <a:pt x="130" y="154"/>
                      <a:pt x="132" y="162"/>
                      <a:pt x="128" y="163"/>
                    </a:cubicBezTo>
                    <a:cubicBezTo>
                      <a:pt x="124" y="163"/>
                      <a:pt x="125" y="160"/>
                      <a:pt x="127" y="160"/>
                    </a:cubicBezTo>
                    <a:cubicBezTo>
                      <a:pt x="129" y="161"/>
                      <a:pt x="129" y="159"/>
                      <a:pt x="128" y="157"/>
                    </a:cubicBezTo>
                    <a:cubicBezTo>
                      <a:pt x="128" y="155"/>
                      <a:pt x="132" y="149"/>
                      <a:pt x="131" y="147"/>
                    </a:cubicBezTo>
                    <a:cubicBezTo>
                      <a:pt x="130" y="145"/>
                      <a:pt x="130" y="144"/>
                      <a:pt x="130" y="146"/>
                    </a:cubicBezTo>
                    <a:cubicBezTo>
                      <a:pt x="130" y="148"/>
                      <a:pt x="127" y="148"/>
                      <a:pt x="127" y="151"/>
                    </a:cubicBezTo>
                    <a:cubicBezTo>
                      <a:pt x="126" y="154"/>
                      <a:pt x="127" y="150"/>
                      <a:pt x="122" y="156"/>
                    </a:cubicBezTo>
                    <a:cubicBezTo>
                      <a:pt x="117" y="162"/>
                      <a:pt x="123" y="162"/>
                      <a:pt x="118" y="160"/>
                    </a:cubicBezTo>
                    <a:cubicBezTo>
                      <a:pt x="115" y="158"/>
                      <a:pt x="117" y="151"/>
                      <a:pt x="113" y="149"/>
                    </a:cubicBezTo>
                    <a:cubicBezTo>
                      <a:pt x="108" y="146"/>
                      <a:pt x="114" y="146"/>
                      <a:pt x="110" y="143"/>
                    </a:cubicBezTo>
                    <a:cubicBezTo>
                      <a:pt x="107" y="140"/>
                      <a:pt x="107" y="143"/>
                      <a:pt x="99" y="139"/>
                    </a:cubicBezTo>
                    <a:cubicBezTo>
                      <a:pt x="91" y="135"/>
                      <a:pt x="98" y="139"/>
                      <a:pt x="89" y="137"/>
                    </a:cubicBezTo>
                    <a:cubicBezTo>
                      <a:pt x="84" y="137"/>
                      <a:pt x="80" y="143"/>
                      <a:pt x="70" y="143"/>
                    </a:cubicBezTo>
                    <a:cubicBezTo>
                      <a:pt x="64" y="142"/>
                      <a:pt x="65" y="147"/>
                      <a:pt x="61" y="147"/>
                    </a:cubicBezTo>
                    <a:cubicBezTo>
                      <a:pt x="57" y="147"/>
                      <a:pt x="59" y="156"/>
                      <a:pt x="53" y="154"/>
                    </a:cubicBezTo>
                    <a:cubicBezTo>
                      <a:pt x="48" y="152"/>
                      <a:pt x="51" y="156"/>
                      <a:pt x="46" y="153"/>
                    </a:cubicBezTo>
                    <a:cubicBezTo>
                      <a:pt x="43" y="152"/>
                      <a:pt x="43" y="154"/>
                      <a:pt x="38" y="154"/>
                    </a:cubicBezTo>
                    <a:cubicBezTo>
                      <a:pt x="34" y="154"/>
                      <a:pt x="36" y="157"/>
                      <a:pt x="33" y="158"/>
                    </a:cubicBezTo>
                    <a:cubicBezTo>
                      <a:pt x="29" y="158"/>
                      <a:pt x="29" y="163"/>
                      <a:pt x="22" y="162"/>
                    </a:cubicBezTo>
                    <a:cubicBezTo>
                      <a:pt x="15" y="161"/>
                      <a:pt x="15" y="156"/>
                      <a:pt x="12" y="157"/>
                    </a:cubicBezTo>
                    <a:cubicBezTo>
                      <a:pt x="10" y="157"/>
                      <a:pt x="10" y="151"/>
                      <a:pt x="12" y="151"/>
                    </a:cubicBezTo>
                    <a:cubicBezTo>
                      <a:pt x="13" y="152"/>
                      <a:pt x="15" y="150"/>
                      <a:pt x="14" y="147"/>
                    </a:cubicBezTo>
                    <a:cubicBezTo>
                      <a:pt x="14" y="143"/>
                      <a:pt x="17" y="145"/>
                      <a:pt x="13" y="135"/>
                    </a:cubicBezTo>
                    <a:cubicBezTo>
                      <a:pt x="9" y="125"/>
                      <a:pt x="12" y="125"/>
                      <a:pt x="10" y="120"/>
                    </a:cubicBezTo>
                    <a:cubicBezTo>
                      <a:pt x="7" y="115"/>
                      <a:pt x="6" y="115"/>
                      <a:pt x="6" y="112"/>
                    </a:cubicBezTo>
                    <a:cubicBezTo>
                      <a:pt x="7" y="108"/>
                      <a:pt x="2" y="105"/>
                      <a:pt x="2" y="102"/>
                    </a:cubicBezTo>
                    <a:cubicBezTo>
                      <a:pt x="2" y="98"/>
                      <a:pt x="4" y="105"/>
                      <a:pt x="5" y="104"/>
                    </a:cubicBezTo>
                    <a:cubicBezTo>
                      <a:pt x="5" y="102"/>
                      <a:pt x="2" y="99"/>
                      <a:pt x="3" y="97"/>
                    </a:cubicBezTo>
                    <a:cubicBezTo>
                      <a:pt x="4" y="96"/>
                      <a:pt x="7" y="106"/>
                      <a:pt x="7" y="101"/>
                    </a:cubicBezTo>
                    <a:cubicBezTo>
                      <a:pt x="7" y="96"/>
                      <a:pt x="0" y="91"/>
                      <a:pt x="3" y="85"/>
                    </a:cubicBezTo>
                    <a:cubicBezTo>
                      <a:pt x="7" y="79"/>
                      <a:pt x="2" y="80"/>
                      <a:pt x="5" y="75"/>
                    </a:cubicBezTo>
                    <a:cubicBezTo>
                      <a:pt x="8" y="70"/>
                      <a:pt x="6" y="81"/>
                      <a:pt x="8" y="75"/>
                    </a:cubicBezTo>
                    <a:cubicBezTo>
                      <a:pt x="10" y="70"/>
                      <a:pt x="11" y="74"/>
                      <a:pt x="16" y="68"/>
                    </a:cubicBezTo>
                    <a:cubicBezTo>
                      <a:pt x="21" y="62"/>
                      <a:pt x="21" y="67"/>
                      <a:pt x="25" y="65"/>
                    </a:cubicBezTo>
                    <a:cubicBezTo>
                      <a:pt x="29" y="63"/>
                      <a:pt x="31" y="63"/>
                      <a:pt x="32" y="61"/>
                    </a:cubicBezTo>
                    <a:cubicBezTo>
                      <a:pt x="33" y="59"/>
                      <a:pt x="36" y="63"/>
                      <a:pt x="41" y="59"/>
                    </a:cubicBezTo>
                    <a:cubicBezTo>
                      <a:pt x="46" y="56"/>
                      <a:pt x="44" y="53"/>
                      <a:pt x="47" y="50"/>
                    </a:cubicBezTo>
                    <a:close/>
                    <a:moveTo>
                      <a:pt x="167" y="208"/>
                    </a:moveTo>
                    <a:cubicBezTo>
                      <a:pt x="168" y="210"/>
                      <a:pt x="168" y="209"/>
                      <a:pt x="168" y="211"/>
                    </a:cubicBezTo>
                    <a:cubicBezTo>
                      <a:pt x="168" y="213"/>
                      <a:pt x="169" y="217"/>
                      <a:pt x="170" y="218"/>
                    </a:cubicBezTo>
                    <a:cubicBezTo>
                      <a:pt x="172" y="219"/>
                      <a:pt x="172" y="222"/>
                      <a:pt x="173" y="222"/>
                    </a:cubicBezTo>
                    <a:cubicBezTo>
                      <a:pt x="174" y="221"/>
                      <a:pt x="175" y="222"/>
                      <a:pt x="177" y="222"/>
                    </a:cubicBezTo>
                    <a:cubicBezTo>
                      <a:pt x="178" y="223"/>
                      <a:pt x="177" y="221"/>
                      <a:pt x="179" y="220"/>
                    </a:cubicBezTo>
                    <a:cubicBezTo>
                      <a:pt x="180" y="219"/>
                      <a:pt x="180" y="217"/>
                      <a:pt x="180" y="218"/>
                    </a:cubicBezTo>
                    <a:cubicBezTo>
                      <a:pt x="181" y="219"/>
                      <a:pt x="180" y="216"/>
                      <a:pt x="181" y="217"/>
                    </a:cubicBezTo>
                    <a:cubicBezTo>
                      <a:pt x="182" y="217"/>
                      <a:pt x="182" y="218"/>
                      <a:pt x="182" y="218"/>
                    </a:cubicBezTo>
                    <a:cubicBezTo>
                      <a:pt x="181" y="218"/>
                      <a:pt x="181" y="219"/>
                      <a:pt x="183" y="219"/>
                    </a:cubicBezTo>
                    <a:cubicBezTo>
                      <a:pt x="184" y="220"/>
                      <a:pt x="182" y="215"/>
                      <a:pt x="183" y="214"/>
                    </a:cubicBezTo>
                    <a:cubicBezTo>
                      <a:pt x="184" y="214"/>
                      <a:pt x="182" y="212"/>
                      <a:pt x="183" y="211"/>
                    </a:cubicBezTo>
                    <a:cubicBezTo>
                      <a:pt x="185" y="210"/>
                      <a:pt x="184" y="213"/>
                      <a:pt x="185" y="212"/>
                    </a:cubicBezTo>
                    <a:cubicBezTo>
                      <a:pt x="186" y="211"/>
                      <a:pt x="184" y="211"/>
                      <a:pt x="185" y="207"/>
                    </a:cubicBezTo>
                    <a:cubicBezTo>
                      <a:pt x="185" y="204"/>
                      <a:pt x="184" y="201"/>
                      <a:pt x="183" y="202"/>
                    </a:cubicBezTo>
                    <a:cubicBezTo>
                      <a:pt x="182" y="203"/>
                      <a:pt x="182" y="201"/>
                      <a:pt x="181" y="203"/>
                    </a:cubicBezTo>
                    <a:cubicBezTo>
                      <a:pt x="180" y="204"/>
                      <a:pt x="181" y="202"/>
                      <a:pt x="177" y="204"/>
                    </a:cubicBezTo>
                    <a:cubicBezTo>
                      <a:pt x="172" y="206"/>
                      <a:pt x="173" y="202"/>
                      <a:pt x="169" y="202"/>
                    </a:cubicBezTo>
                    <a:cubicBezTo>
                      <a:pt x="166" y="202"/>
                      <a:pt x="166" y="199"/>
                      <a:pt x="165" y="203"/>
                    </a:cubicBezTo>
                    <a:cubicBezTo>
                      <a:pt x="165" y="204"/>
                      <a:pt x="166" y="205"/>
                      <a:pt x="167" y="208"/>
                    </a:cubicBezTo>
                    <a:close/>
                    <a:moveTo>
                      <a:pt x="162" y="197"/>
                    </a:moveTo>
                    <a:cubicBezTo>
                      <a:pt x="164" y="196"/>
                      <a:pt x="163" y="192"/>
                      <a:pt x="162" y="193"/>
                    </a:cubicBezTo>
                    <a:cubicBezTo>
                      <a:pt x="161" y="194"/>
                      <a:pt x="161" y="197"/>
                      <a:pt x="162" y="197"/>
                    </a:cubicBezTo>
                    <a:close/>
                    <a:moveTo>
                      <a:pt x="182" y="196"/>
                    </a:moveTo>
                    <a:cubicBezTo>
                      <a:pt x="183" y="196"/>
                      <a:pt x="183" y="196"/>
                      <a:pt x="183" y="197"/>
                    </a:cubicBezTo>
                    <a:cubicBezTo>
                      <a:pt x="183" y="198"/>
                      <a:pt x="185" y="198"/>
                      <a:pt x="185" y="197"/>
                    </a:cubicBezTo>
                    <a:cubicBezTo>
                      <a:pt x="184" y="196"/>
                      <a:pt x="186" y="196"/>
                      <a:pt x="184" y="196"/>
                    </a:cubicBezTo>
                    <a:cubicBezTo>
                      <a:pt x="183" y="195"/>
                      <a:pt x="183" y="193"/>
                      <a:pt x="182" y="195"/>
                    </a:cubicBezTo>
                    <a:cubicBezTo>
                      <a:pt x="182" y="195"/>
                      <a:pt x="181" y="195"/>
                      <a:pt x="182" y="196"/>
                    </a:cubicBezTo>
                    <a:close/>
                    <a:moveTo>
                      <a:pt x="185" y="199"/>
                    </a:moveTo>
                    <a:cubicBezTo>
                      <a:pt x="186" y="198"/>
                      <a:pt x="183" y="198"/>
                      <a:pt x="183" y="199"/>
                    </a:cubicBezTo>
                    <a:cubicBezTo>
                      <a:pt x="183" y="199"/>
                      <a:pt x="185" y="200"/>
                      <a:pt x="185" y="199"/>
                    </a:cubicBezTo>
                    <a:close/>
                    <a:moveTo>
                      <a:pt x="129" y="168"/>
                    </a:moveTo>
                    <a:cubicBezTo>
                      <a:pt x="130" y="167"/>
                      <a:pt x="132" y="168"/>
                      <a:pt x="131" y="167"/>
                    </a:cubicBezTo>
                    <a:cubicBezTo>
                      <a:pt x="131" y="166"/>
                      <a:pt x="130" y="167"/>
                      <a:pt x="129" y="165"/>
                    </a:cubicBezTo>
                    <a:cubicBezTo>
                      <a:pt x="128" y="164"/>
                      <a:pt x="123" y="166"/>
                      <a:pt x="123" y="168"/>
                    </a:cubicBezTo>
                    <a:cubicBezTo>
                      <a:pt x="124" y="169"/>
                      <a:pt x="128" y="168"/>
                      <a:pt x="129" y="168"/>
                    </a:cubicBezTo>
                    <a:close/>
                    <a:moveTo>
                      <a:pt x="97" y="5"/>
                    </a:moveTo>
                    <a:cubicBezTo>
                      <a:pt x="95" y="2"/>
                      <a:pt x="95" y="7"/>
                      <a:pt x="92" y="5"/>
                    </a:cubicBezTo>
                    <a:cubicBezTo>
                      <a:pt x="90" y="4"/>
                      <a:pt x="92" y="7"/>
                      <a:pt x="94" y="9"/>
                    </a:cubicBezTo>
                    <a:cubicBezTo>
                      <a:pt x="95" y="9"/>
                      <a:pt x="98" y="7"/>
                      <a:pt x="97" y="5"/>
                    </a:cubicBezTo>
                    <a:close/>
                    <a:moveTo>
                      <a:pt x="91" y="7"/>
                    </a:moveTo>
                    <a:cubicBezTo>
                      <a:pt x="90" y="5"/>
                      <a:pt x="90" y="5"/>
                      <a:pt x="90" y="7"/>
                    </a:cubicBezTo>
                    <a:cubicBezTo>
                      <a:pt x="90" y="8"/>
                      <a:pt x="89" y="8"/>
                      <a:pt x="91" y="9"/>
                    </a:cubicBezTo>
                    <a:cubicBezTo>
                      <a:pt x="92" y="9"/>
                      <a:pt x="92" y="8"/>
                      <a:pt x="91" y="7"/>
                    </a:cubicBezTo>
                    <a:close/>
                    <a:moveTo>
                      <a:pt x="125" y="22"/>
                    </a:moveTo>
                    <a:cubicBezTo>
                      <a:pt x="125" y="21"/>
                      <a:pt x="122" y="21"/>
                      <a:pt x="123" y="23"/>
                    </a:cubicBezTo>
                    <a:cubicBezTo>
                      <a:pt x="123" y="25"/>
                      <a:pt x="124" y="24"/>
                      <a:pt x="125" y="22"/>
                    </a:cubicBezTo>
                    <a:close/>
                    <a:moveTo>
                      <a:pt x="210" y="97"/>
                    </a:moveTo>
                    <a:cubicBezTo>
                      <a:pt x="210" y="96"/>
                      <a:pt x="211" y="95"/>
                      <a:pt x="211" y="94"/>
                    </a:cubicBezTo>
                    <a:cubicBezTo>
                      <a:pt x="211" y="93"/>
                      <a:pt x="211" y="93"/>
                      <a:pt x="211" y="92"/>
                    </a:cubicBezTo>
                    <a:cubicBezTo>
                      <a:pt x="211" y="91"/>
                      <a:pt x="210" y="92"/>
                      <a:pt x="210" y="93"/>
                    </a:cubicBezTo>
                    <a:cubicBezTo>
                      <a:pt x="211" y="94"/>
                      <a:pt x="209" y="95"/>
                      <a:pt x="209" y="95"/>
                    </a:cubicBezTo>
                    <a:cubicBezTo>
                      <a:pt x="210" y="96"/>
                      <a:pt x="208" y="98"/>
                      <a:pt x="209" y="99"/>
                    </a:cubicBezTo>
                    <a:cubicBezTo>
                      <a:pt x="210" y="99"/>
                      <a:pt x="210" y="98"/>
                      <a:pt x="210" y="97"/>
                    </a:cubicBezTo>
                    <a:close/>
                    <a:moveTo>
                      <a:pt x="138" y="39"/>
                    </a:moveTo>
                    <a:cubicBezTo>
                      <a:pt x="139" y="39"/>
                      <a:pt x="141" y="39"/>
                      <a:pt x="140" y="38"/>
                    </a:cubicBezTo>
                    <a:cubicBezTo>
                      <a:pt x="139" y="37"/>
                      <a:pt x="136" y="39"/>
                      <a:pt x="137" y="40"/>
                    </a:cubicBezTo>
                    <a:cubicBezTo>
                      <a:pt x="137" y="40"/>
                      <a:pt x="138" y="40"/>
                      <a:pt x="138" y="39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Freeform 20318">
                <a:extLst>
                  <a:ext uri="{FF2B5EF4-FFF2-40B4-BE49-F238E27FC236}">
                    <a16:creationId xmlns:a16="http://schemas.microsoft.com/office/drawing/2014/main" id="{7E1C28B9-1954-1846-A5DD-2514002F6A0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487478" y="4096278"/>
                <a:ext cx="1060974" cy="478966"/>
              </a:xfrm>
              <a:custGeom>
                <a:avLst/>
                <a:gdLst/>
                <a:ahLst/>
                <a:cxnLst>
                  <a:cxn ang="0">
                    <a:pos x="201" y="59"/>
                  </a:cxn>
                  <a:cxn ang="0">
                    <a:pos x="189" y="43"/>
                  </a:cxn>
                  <a:cxn ang="0">
                    <a:pos x="224" y="47"/>
                  </a:cxn>
                  <a:cxn ang="0">
                    <a:pos x="103" y="24"/>
                  </a:cxn>
                  <a:cxn ang="0">
                    <a:pos x="76" y="26"/>
                  </a:cxn>
                  <a:cxn ang="0">
                    <a:pos x="80" y="56"/>
                  </a:cxn>
                  <a:cxn ang="0">
                    <a:pos x="110" y="56"/>
                  </a:cxn>
                  <a:cxn ang="0">
                    <a:pos x="118" y="19"/>
                  </a:cxn>
                  <a:cxn ang="0">
                    <a:pos x="16" y="23"/>
                  </a:cxn>
                  <a:cxn ang="0">
                    <a:pos x="47" y="72"/>
                  </a:cxn>
                  <a:cxn ang="0">
                    <a:pos x="51" y="52"/>
                  </a:cxn>
                  <a:cxn ang="0">
                    <a:pos x="30" y="24"/>
                  </a:cxn>
                  <a:cxn ang="0">
                    <a:pos x="3" y="1"/>
                  </a:cxn>
                  <a:cxn ang="0">
                    <a:pos x="91" y="90"/>
                  </a:cxn>
                  <a:cxn ang="0">
                    <a:pos x="84" y="79"/>
                  </a:cxn>
                  <a:cxn ang="0">
                    <a:pos x="56" y="78"/>
                  </a:cxn>
                  <a:cxn ang="0">
                    <a:pos x="228" y="83"/>
                  </a:cxn>
                  <a:cxn ang="0">
                    <a:pos x="106" y="80"/>
                  </a:cxn>
                  <a:cxn ang="0">
                    <a:pos x="109" y="92"/>
                  </a:cxn>
                  <a:cxn ang="0">
                    <a:pos x="124" y="93"/>
                  </a:cxn>
                  <a:cxn ang="0">
                    <a:pos x="119" y="91"/>
                  </a:cxn>
                  <a:cxn ang="0">
                    <a:pos x="128" y="90"/>
                  </a:cxn>
                  <a:cxn ang="0">
                    <a:pos x="137" y="93"/>
                  </a:cxn>
                  <a:cxn ang="0">
                    <a:pos x="138" y="91"/>
                  </a:cxn>
                  <a:cxn ang="0">
                    <a:pos x="146" y="90"/>
                  </a:cxn>
                  <a:cxn ang="0">
                    <a:pos x="150" y="89"/>
                  </a:cxn>
                  <a:cxn ang="0">
                    <a:pos x="155" y="88"/>
                  </a:cxn>
                  <a:cxn ang="0">
                    <a:pos x="128" y="96"/>
                  </a:cxn>
                  <a:cxn ang="0">
                    <a:pos x="132" y="59"/>
                  </a:cxn>
                  <a:cxn ang="0">
                    <a:pos x="144" y="44"/>
                  </a:cxn>
                  <a:cxn ang="0">
                    <a:pos x="154" y="33"/>
                  </a:cxn>
                  <a:cxn ang="0">
                    <a:pos x="129" y="37"/>
                  </a:cxn>
                  <a:cxn ang="0">
                    <a:pos x="165" y="61"/>
                  </a:cxn>
                  <a:cxn ang="0">
                    <a:pos x="181" y="55"/>
                  </a:cxn>
                  <a:cxn ang="0">
                    <a:pos x="163" y="48"/>
                  </a:cxn>
                  <a:cxn ang="0">
                    <a:pos x="187" y="43"/>
                  </a:cxn>
                  <a:cxn ang="0">
                    <a:pos x="187" y="38"/>
                  </a:cxn>
                  <a:cxn ang="0">
                    <a:pos x="171" y="25"/>
                  </a:cxn>
                  <a:cxn ang="0">
                    <a:pos x="175" y="21"/>
                  </a:cxn>
                  <a:cxn ang="0">
                    <a:pos x="145" y="72"/>
                  </a:cxn>
                  <a:cxn ang="0">
                    <a:pos x="148" y="46"/>
                  </a:cxn>
                  <a:cxn ang="0">
                    <a:pos x="191" y="83"/>
                  </a:cxn>
                  <a:cxn ang="0">
                    <a:pos x="110" y="62"/>
                  </a:cxn>
                  <a:cxn ang="0">
                    <a:pos x="61" y="56"/>
                  </a:cxn>
                  <a:cxn ang="0">
                    <a:pos x="69" y="10"/>
                  </a:cxn>
                  <a:cxn ang="0">
                    <a:pos x="22" y="48"/>
                  </a:cxn>
                  <a:cxn ang="0">
                    <a:pos x="26" y="55"/>
                  </a:cxn>
                  <a:cxn ang="0">
                    <a:pos x="35" y="23"/>
                  </a:cxn>
                  <a:cxn ang="0">
                    <a:pos x="38" y="31"/>
                  </a:cxn>
                  <a:cxn ang="0">
                    <a:pos x="42" y="31"/>
                  </a:cxn>
                  <a:cxn ang="0">
                    <a:pos x="217" y="48"/>
                  </a:cxn>
                  <a:cxn ang="0">
                    <a:pos x="181" y="87"/>
                  </a:cxn>
                  <a:cxn ang="0">
                    <a:pos x="172" y="88"/>
                  </a:cxn>
                  <a:cxn ang="0">
                    <a:pos x="205" y="72"/>
                  </a:cxn>
                  <a:cxn ang="0">
                    <a:pos x="161" y="52"/>
                  </a:cxn>
                  <a:cxn ang="0">
                    <a:pos x="171" y="42"/>
                  </a:cxn>
                  <a:cxn ang="0">
                    <a:pos x="186" y="42"/>
                  </a:cxn>
                  <a:cxn ang="0">
                    <a:pos x="48" y="32"/>
                  </a:cxn>
                  <a:cxn ang="0">
                    <a:pos x="153" y="95"/>
                  </a:cxn>
                  <a:cxn ang="0">
                    <a:pos x="150" y="97"/>
                  </a:cxn>
                  <a:cxn ang="0">
                    <a:pos x="149" y="101"/>
                  </a:cxn>
                  <a:cxn ang="0">
                    <a:pos x="156" y="98"/>
                  </a:cxn>
                </a:cxnLst>
                <a:rect l="0" t="0" r="r" b="b"/>
                <a:pathLst>
                  <a:path w="235" h="106">
                    <a:moveTo>
                      <a:pt x="235" y="89"/>
                    </a:moveTo>
                    <a:cubicBezTo>
                      <a:pt x="232" y="88"/>
                      <a:pt x="231" y="89"/>
                      <a:pt x="230" y="88"/>
                    </a:cubicBezTo>
                    <a:cubicBezTo>
                      <a:pt x="230" y="87"/>
                      <a:pt x="227" y="90"/>
                      <a:pt x="229" y="86"/>
                    </a:cubicBezTo>
                    <a:cubicBezTo>
                      <a:pt x="231" y="83"/>
                      <a:pt x="227" y="84"/>
                      <a:pt x="227" y="81"/>
                    </a:cubicBezTo>
                    <a:cubicBezTo>
                      <a:pt x="226" y="79"/>
                      <a:pt x="229" y="81"/>
                      <a:pt x="227" y="78"/>
                    </a:cubicBezTo>
                    <a:cubicBezTo>
                      <a:pt x="225" y="76"/>
                      <a:pt x="224" y="71"/>
                      <a:pt x="222" y="69"/>
                    </a:cubicBezTo>
                    <a:cubicBezTo>
                      <a:pt x="219" y="67"/>
                      <a:pt x="217" y="68"/>
                      <a:pt x="215" y="66"/>
                    </a:cubicBezTo>
                    <a:cubicBezTo>
                      <a:pt x="211" y="64"/>
                      <a:pt x="210" y="66"/>
                      <a:pt x="206" y="63"/>
                    </a:cubicBezTo>
                    <a:cubicBezTo>
                      <a:pt x="203" y="60"/>
                      <a:pt x="201" y="61"/>
                      <a:pt x="201" y="59"/>
                    </a:cubicBezTo>
                    <a:cubicBezTo>
                      <a:pt x="202" y="55"/>
                      <a:pt x="201" y="55"/>
                      <a:pt x="200" y="60"/>
                    </a:cubicBezTo>
                    <a:cubicBezTo>
                      <a:pt x="200" y="63"/>
                      <a:pt x="197" y="63"/>
                      <a:pt x="196" y="61"/>
                    </a:cubicBezTo>
                    <a:cubicBezTo>
                      <a:pt x="195" y="59"/>
                      <a:pt x="199" y="60"/>
                      <a:pt x="196" y="57"/>
                    </a:cubicBezTo>
                    <a:cubicBezTo>
                      <a:pt x="193" y="55"/>
                      <a:pt x="193" y="56"/>
                      <a:pt x="192" y="55"/>
                    </a:cubicBezTo>
                    <a:cubicBezTo>
                      <a:pt x="192" y="52"/>
                      <a:pt x="197" y="56"/>
                      <a:pt x="198" y="53"/>
                    </a:cubicBezTo>
                    <a:cubicBezTo>
                      <a:pt x="198" y="51"/>
                      <a:pt x="202" y="54"/>
                      <a:pt x="202" y="52"/>
                    </a:cubicBezTo>
                    <a:cubicBezTo>
                      <a:pt x="202" y="49"/>
                      <a:pt x="194" y="53"/>
                      <a:pt x="193" y="50"/>
                    </a:cubicBezTo>
                    <a:cubicBezTo>
                      <a:pt x="191" y="47"/>
                      <a:pt x="191" y="46"/>
                      <a:pt x="189" y="46"/>
                    </a:cubicBezTo>
                    <a:cubicBezTo>
                      <a:pt x="185" y="46"/>
                      <a:pt x="189" y="44"/>
                      <a:pt x="189" y="43"/>
                    </a:cubicBezTo>
                    <a:cubicBezTo>
                      <a:pt x="188" y="41"/>
                      <a:pt x="190" y="42"/>
                      <a:pt x="192" y="41"/>
                    </a:cubicBezTo>
                    <a:cubicBezTo>
                      <a:pt x="193" y="41"/>
                      <a:pt x="193" y="37"/>
                      <a:pt x="198" y="40"/>
                    </a:cubicBezTo>
                    <a:cubicBezTo>
                      <a:pt x="203" y="43"/>
                      <a:pt x="203" y="40"/>
                      <a:pt x="204" y="43"/>
                    </a:cubicBezTo>
                    <a:cubicBezTo>
                      <a:pt x="205" y="47"/>
                      <a:pt x="203" y="47"/>
                      <a:pt x="204" y="52"/>
                    </a:cubicBezTo>
                    <a:cubicBezTo>
                      <a:pt x="206" y="56"/>
                      <a:pt x="205" y="51"/>
                      <a:pt x="206" y="52"/>
                    </a:cubicBezTo>
                    <a:cubicBezTo>
                      <a:pt x="207" y="54"/>
                      <a:pt x="206" y="57"/>
                      <a:pt x="209" y="58"/>
                    </a:cubicBezTo>
                    <a:cubicBezTo>
                      <a:pt x="211" y="59"/>
                      <a:pt x="215" y="50"/>
                      <a:pt x="216" y="51"/>
                    </a:cubicBezTo>
                    <a:cubicBezTo>
                      <a:pt x="217" y="52"/>
                      <a:pt x="220" y="50"/>
                      <a:pt x="220" y="49"/>
                    </a:cubicBezTo>
                    <a:cubicBezTo>
                      <a:pt x="219" y="48"/>
                      <a:pt x="222" y="46"/>
                      <a:pt x="224" y="47"/>
                    </a:cubicBezTo>
                    <a:cubicBezTo>
                      <a:pt x="226" y="48"/>
                      <a:pt x="232" y="52"/>
                      <a:pt x="235" y="52"/>
                    </a:cubicBezTo>
                    <a:lnTo>
                      <a:pt x="235" y="89"/>
                    </a:lnTo>
                    <a:close/>
                    <a:moveTo>
                      <a:pt x="117" y="11"/>
                    </a:moveTo>
                    <a:cubicBezTo>
                      <a:pt x="115" y="9"/>
                      <a:pt x="116" y="10"/>
                      <a:pt x="114" y="10"/>
                    </a:cubicBezTo>
                    <a:cubicBezTo>
                      <a:pt x="111" y="10"/>
                      <a:pt x="109" y="9"/>
                      <a:pt x="108" y="11"/>
                    </a:cubicBezTo>
                    <a:cubicBezTo>
                      <a:pt x="107" y="13"/>
                      <a:pt x="107" y="15"/>
                      <a:pt x="107" y="17"/>
                    </a:cubicBezTo>
                    <a:cubicBezTo>
                      <a:pt x="107" y="19"/>
                      <a:pt x="105" y="17"/>
                      <a:pt x="105" y="19"/>
                    </a:cubicBezTo>
                    <a:cubicBezTo>
                      <a:pt x="104" y="21"/>
                      <a:pt x="104" y="21"/>
                      <a:pt x="105" y="21"/>
                    </a:cubicBezTo>
                    <a:cubicBezTo>
                      <a:pt x="106" y="22"/>
                      <a:pt x="103" y="22"/>
                      <a:pt x="103" y="24"/>
                    </a:cubicBezTo>
                    <a:cubicBezTo>
                      <a:pt x="103" y="25"/>
                      <a:pt x="103" y="26"/>
                      <a:pt x="102" y="27"/>
                    </a:cubicBezTo>
                    <a:cubicBezTo>
                      <a:pt x="102" y="29"/>
                      <a:pt x="99" y="27"/>
                      <a:pt x="98" y="29"/>
                    </a:cubicBezTo>
                    <a:cubicBezTo>
                      <a:pt x="97" y="30"/>
                      <a:pt x="95" y="29"/>
                      <a:pt x="94" y="28"/>
                    </a:cubicBezTo>
                    <a:cubicBezTo>
                      <a:pt x="93" y="28"/>
                      <a:pt x="95" y="27"/>
                      <a:pt x="92" y="27"/>
                    </a:cubicBezTo>
                    <a:cubicBezTo>
                      <a:pt x="88" y="27"/>
                      <a:pt x="90" y="30"/>
                      <a:pt x="89" y="30"/>
                    </a:cubicBezTo>
                    <a:cubicBezTo>
                      <a:pt x="87" y="30"/>
                      <a:pt x="88" y="32"/>
                      <a:pt x="85" y="31"/>
                    </a:cubicBezTo>
                    <a:cubicBezTo>
                      <a:pt x="82" y="30"/>
                      <a:pt x="82" y="33"/>
                      <a:pt x="80" y="31"/>
                    </a:cubicBezTo>
                    <a:cubicBezTo>
                      <a:pt x="79" y="30"/>
                      <a:pt x="78" y="28"/>
                      <a:pt x="77" y="28"/>
                    </a:cubicBezTo>
                    <a:cubicBezTo>
                      <a:pt x="76" y="28"/>
                      <a:pt x="77" y="27"/>
                      <a:pt x="76" y="26"/>
                    </a:cubicBezTo>
                    <a:cubicBezTo>
                      <a:pt x="75" y="26"/>
                      <a:pt x="76" y="24"/>
                      <a:pt x="76" y="24"/>
                    </a:cubicBezTo>
                    <a:cubicBezTo>
                      <a:pt x="74" y="24"/>
                      <a:pt x="74" y="26"/>
                      <a:pt x="74" y="27"/>
                    </a:cubicBezTo>
                    <a:cubicBezTo>
                      <a:pt x="72" y="29"/>
                      <a:pt x="71" y="35"/>
                      <a:pt x="73" y="36"/>
                    </a:cubicBezTo>
                    <a:cubicBezTo>
                      <a:pt x="75" y="37"/>
                      <a:pt x="72" y="38"/>
                      <a:pt x="74" y="40"/>
                    </a:cubicBezTo>
                    <a:cubicBezTo>
                      <a:pt x="76" y="42"/>
                      <a:pt x="73" y="42"/>
                      <a:pt x="75" y="42"/>
                    </a:cubicBezTo>
                    <a:cubicBezTo>
                      <a:pt x="77" y="43"/>
                      <a:pt x="74" y="44"/>
                      <a:pt x="75" y="45"/>
                    </a:cubicBezTo>
                    <a:cubicBezTo>
                      <a:pt x="76" y="46"/>
                      <a:pt x="77" y="43"/>
                      <a:pt x="78" y="45"/>
                    </a:cubicBezTo>
                    <a:cubicBezTo>
                      <a:pt x="79" y="47"/>
                      <a:pt x="77" y="47"/>
                      <a:pt x="78" y="50"/>
                    </a:cubicBezTo>
                    <a:cubicBezTo>
                      <a:pt x="81" y="57"/>
                      <a:pt x="78" y="56"/>
                      <a:pt x="80" y="56"/>
                    </a:cubicBezTo>
                    <a:cubicBezTo>
                      <a:pt x="82" y="56"/>
                      <a:pt x="83" y="57"/>
                      <a:pt x="84" y="56"/>
                    </a:cubicBezTo>
                    <a:cubicBezTo>
                      <a:pt x="85" y="54"/>
                      <a:pt x="88" y="56"/>
                      <a:pt x="87" y="58"/>
                    </a:cubicBezTo>
                    <a:cubicBezTo>
                      <a:pt x="87" y="60"/>
                      <a:pt x="88" y="59"/>
                      <a:pt x="89" y="58"/>
                    </a:cubicBezTo>
                    <a:cubicBezTo>
                      <a:pt x="90" y="57"/>
                      <a:pt x="92" y="59"/>
                      <a:pt x="93" y="57"/>
                    </a:cubicBezTo>
                    <a:cubicBezTo>
                      <a:pt x="94" y="55"/>
                      <a:pt x="95" y="58"/>
                      <a:pt x="96" y="57"/>
                    </a:cubicBezTo>
                    <a:cubicBezTo>
                      <a:pt x="97" y="57"/>
                      <a:pt x="96" y="59"/>
                      <a:pt x="98" y="58"/>
                    </a:cubicBezTo>
                    <a:cubicBezTo>
                      <a:pt x="101" y="57"/>
                      <a:pt x="102" y="60"/>
                      <a:pt x="102" y="62"/>
                    </a:cubicBezTo>
                    <a:cubicBezTo>
                      <a:pt x="101" y="65"/>
                      <a:pt x="106" y="61"/>
                      <a:pt x="108" y="60"/>
                    </a:cubicBezTo>
                    <a:cubicBezTo>
                      <a:pt x="109" y="60"/>
                      <a:pt x="110" y="57"/>
                      <a:pt x="110" y="56"/>
                    </a:cubicBezTo>
                    <a:cubicBezTo>
                      <a:pt x="110" y="55"/>
                      <a:pt x="111" y="56"/>
                      <a:pt x="111" y="54"/>
                    </a:cubicBezTo>
                    <a:cubicBezTo>
                      <a:pt x="111" y="52"/>
                      <a:pt x="113" y="54"/>
                      <a:pt x="112" y="50"/>
                    </a:cubicBezTo>
                    <a:cubicBezTo>
                      <a:pt x="111" y="46"/>
                      <a:pt x="114" y="46"/>
                      <a:pt x="115" y="44"/>
                    </a:cubicBezTo>
                    <a:cubicBezTo>
                      <a:pt x="116" y="42"/>
                      <a:pt x="118" y="44"/>
                      <a:pt x="118" y="40"/>
                    </a:cubicBezTo>
                    <a:cubicBezTo>
                      <a:pt x="117" y="36"/>
                      <a:pt x="118" y="33"/>
                      <a:pt x="119" y="32"/>
                    </a:cubicBezTo>
                    <a:cubicBezTo>
                      <a:pt x="120" y="31"/>
                      <a:pt x="119" y="30"/>
                      <a:pt x="121" y="31"/>
                    </a:cubicBezTo>
                    <a:cubicBezTo>
                      <a:pt x="122" y="33"/>
                      <a:pt x="125" y="32"/>
                      <a:pt x="125" y="31"/>
                    </a:cubicBezTo>
                    <a:cubicBezTo>
                      <a:pt x="125" y="30"/>
                      <a:pt x="118" y="26"/>
                      <a:pt x="119" y="24"/>
                    </a:cubicBezTo>
                    <a:cubicBezTo>
                      <a:pt x="121" y="22"/>
                      <a:pt x="119" y="22"/>
                      <a:pt x="118" y="19"/>
                    </a:cubicBezTo>
                    <a:cubicBezTo>
                      <a:pt x="118" y="17"/>
                      <a:pt x="116" y="18"/>
                      <a:pt x="116" y="16"/>
                    </a:cubicBezTo>
                    <a:cubicBezTo>
                      <a:pt x="117" y="13"/>
                      <a:pt x="119" y="15"/>
                      <a:pt x="119" y="14"/>
                    </a:cubicBezTo>
                    <a:cubicBezTo>
                      <a:pt x="119" y="14"/>
                      <a:pt x="118" y="13"/>
                      <a:pt x="117" y="12"/>
                    </a:cubicBezTo>
                    <a:cubicBezTo>
                      <a:pt x="117" y="11"/>
                      <a:pt x="117" y="12"/>
                      <a:pt x="117" y="11"/>
                    </a:cubicBezTo>
                    <a:close/>
                    <a:moveTo>
                      <a:pt x="3" y="8"/>
                    </a:moveTo>
                    <a:cubicBezTo>
                      <a:pt x="5" y="11"/>
                      <a:pt x="5" y="10"/>
                      <a:pt x="7" y="12"/>
                    </a:cubicBezTo>
                    <a:cubicBezTo>
                      <a:pt x="8" y="15"/>
                      <a:pt x="8" y="12"/>
                      <a:pt x="11" y="15"/>
                    </a:cubicBezTo>
                    <a:cubicBezTo>
                      <a:pt x="13" y="19"/>
                      <a:pt x="10" y="17"/>
                      <a:pt x="13" y="19"/>
                    </a:cubicBezTo>
                    <a:cubicBezTo>
                      <a:pt x="15" y="20"/>
                      <a:pt x="12" y="21"/>
                      <a:pt x="16" y="23"/>
                    </a:cubicBezTo>
                    <a:cubicBezTo>
                      <a:pt x="18" y="24"/>
                      <a:pt x="20" y="26"/>
                      <a:pt x="20" y="27"/>
                    </a:cubicBezTo>
                    <a:cubicBezTo>
                      <a:pt x="19" y="28"/>
                      <a:pt x="19" y="27"/>
                      <a:pt x="21" y="31"/>
                    </a:cubicBezTo>
                    <a:cubicBezTo>
                      <a:pt x="22" y="35"/>
                      <a:pt x="21" y="35"/>
                      <a:pt x="23" y="36"/>
                    </a:cubicBezTo>
                    <a:cubicBezTo>
                      <a:pt x="25" y="37"/>
                      <a:pt x="23" y="37"/>
                      <a:pt x="27" y="41"/>
                    </a:cubicBezTo>
                    <a:cubicBezTo>
                      <a:pt x="29" y="43"/>
                      <a:pt x="27" y="44"/>
                      <a:pt x="28" y="45"/>
                    </a:cubicBezTo>
                    <a:cubicBezTo>
                      <a:pt x="30" y="46"/>
                      <a:pt x="30" y="48"/>
                      <a:pt x="31" y="51"/>
                    </a:cubicBezTo>
                    <a:cubicBezTo>
                      <a:pt x="31" y="53"/>
                      <a:pt x="33" y="56"/>
                      <a:pt x="36" y="59"/>
                    </a:cubicBezTo>
                    <a:cubicBezTo>
                      <a:pt x="38" y="61"/>
                      <a:pt x="37" y="61"/>
                      <a:pt x="41" y="65"/>
                    </a:cubicBezTo>
                    <a:cubicBezTo>
                      <a:pt x="44" y="68"/>
                      <a:pt x="46" y="69"/>
                      <a:pt x="47" y="72"/>
                    </a:cubicBezTo>
                    <a:cubicBezTo>
                      <a:pt x="49" y="74"/>
                      <a:pt x="51" y="77"/>
                      <a:pt x="50" y="73"/>
                    </a:cubicBezTo>
                    <a:cubicBezTo>
                      <a:pt x="49" y="69"/>
                      <a:pt x="53" y="75"/>
                      <a:pt x="53" y="72"/>
                    </a:cubicBezTo>
                    <a:cubicBezTo>
                      <a:pt x="54" y="70"/>
                      <a:pt x="55" y="75"/>
                      <a:pt x="56" y="74"/>
                    </a:cubicBezTo>
                    <a:cubicBezTo>
                      <a:pt x="57" y="73"/>
                      <a:pt x="57" y="71"/>
                      <a:pt x="57" y="67"/>
                    </a:cubicBezTo>
                    <a:cubicBezTo>
                      <a:pt x="57" y="64"/>
                      <a:pt x="56" y="65"/>
                      <a:pt x="57" y="63"/>
                    </a:cubicBezTo>
                    <a:cubicBezTo>
                      <a:pt x="58" y="60"/>
                      <a:pt x="56" y="61"/>
                      <a:pt x="57" y="58"/>
                    </a:cubicBezTo>
                    <a:cubicBezTo>
                      <a:pt x="59" y="56"/>
                      <a:pt x="57" y="56"/>
                      <a:pt x="56" y="54"/>
                    </a:cubicBezTo>
                    <a:cubicBezTo>
                      <a:pt x="55" y="52"/>
                      <a:pt x="55" y="51"/>
                      <a:pt x="53" y="52"/>
                    </a:cubicBezTo>
                    <a:cubicBezTo>
                      <a:pt x="52" y="53"/>
                      <a:pt x="53" y="51"/>
                      <a:pt x="51" y="52"/>
                    </a:cubicBezTo>
                    <a:cubicBezTo>
                      <a:pt x="49" y="54"/>
                      <a:pt x="53" y="50"/>
                      <a:pt x="51" y="50"/>
                    </a:cubicBezTo>
                    <a:cubicBezTo>
                      <a:pt x="49" y="50"/>
                      <a:pt x="50" y="43"/>
                      <a:pt x="48" y="43"/>
                    </a:cubicBezTo>
                    <a:cubicBezTo>
                      <a:pt x="45" y="44"/>
                      <a:pt x="43" y="42"/>
                      <a:pt x="44" y="40"/>
                    </a:cubicBezTo>
                    <a:cubicBezTo>
                      <a:pt x="45" y="39"/>
                      <a:pt x="43" y="38"/>
                      <a:pt x="45" y="38"/>
                    </a:cubicBezTo>
                    <a:cubicBezTo>
                      <a:pt x="47" y="37"/>
                      <a:pt x="45" y="33"/>
                      <a:pt x="43" y="34"/>
                    </a:cubicBezTo>
                    <a:cubicBezTo>
                      <a:pt x="41" y="35"/>
                      <a:pt x="43" y="33"/>
                      <a:pt x="40" y="32"/>
                    </a:cubicBezTo>
                    <a:cubicBezTo>
                      <a:pt x="36" y="32"/>
                      <a:pt x="39" y="27"/>
                      <a:pt x="34" y="26"/>
                    </a:cubicBezTo>
                    <a:cubicBezTo>
                      <a:pt x="32" y="26"/>
                      <a:pt x="33" y="24"/>
                      <a:pt x="32" y="23"/>
                    </a:cubicBezTo>
                    <a:cubicBezTo>
                      <a:pt x="29" y="21"/>
                      <a:pt x="31" y="25"/>
                      <a:pt x="30" y="24"/>
                    </a:cubicBezTo>
                    <a:cubicBezTo>
                      <a:pt x="29" y="23"/>
                      <a:pt x="28" y="24"/>
                      <a:pt x="28" y="21"/>
                    </a:cubicBezTo>
                    <a:cubicBezTo>
                      <a:pt x="27" y="19"/>
                      <a:pt x="27" y="21"/>
                      <a:pt x="26" y="19"/>
                    </a:cubicBezTo>
                    <a:cubicBezTo>
                      <a:pt x="25" y="18"/>
                      <a:pt x="23" y="15"/>
                      <a:pt x="21" y="14"/>
                    </a:cubicBezTo>
                    <a:cubicBezTo>
                      <a:pt x="19" y="14"/>
                      <a:pt x="19" y="12"/>
                      <a:pt x="18" y="11"/>
                    </a:cubicBezTo>
                    <a:cubicBezTo>
                      <a:pt x="16" y="11"/>
                      <a:pt x="18" y="9"/>
                      <a:pt x="16" y="9"/>
                    </a:cubicBezTo>
                    <a:cubicBezTo>
                      <a:pt x="15" y="8"/>
                      <a:pt x="16" y="7"/>
                      <a:pt x="14" y="5"/>
                    </a:cubicBezTo>
                    <a:cubicBezTo>
                      <a:pt x="12" y="2"/>
                      <a:pt x="13" y="5"/>
                      <a:pt x="11" y="4"/>
                    </a:cubicBezTo>
                    <a:cubicBezTo>
                      <a:pt x="10" y="3"/>
                      <a:pt x="10" y="4"/>
                      <a:pt x="7" y="4"/>
                    </a:cubicBezTo>
                    <a:cubicBezTo>
                      <a:pt x="3" y="3"/>
                      <a:pt x="6" y="3"/>
                      <a:pt x="3" y="1"/>
                    </a:cubicBezTo>
                    <a:cubicBezTo>
                      <a:pt x="0" y="0"/>
                      <a:pt x="1" y="4"/>
                      <a:pt x="3" y="8"/>
                    </a:cubicBezTo>
                    <a:close/>
                    <a:moveTo>
                      <a:pt x="54" y="80"/>
                    </a:moveTo>
                    <a:cubicBezTo>
                      <a:pt x="55" y="80"/>
                      <a:pt x="57" y="79"/>
                      <a:pt x="58" y="81"/>
                    </a:cubicBezTo>
                    <a:cubicBezTo>
                      <a:pt x="59" y="82"/>
                      <a:pt x="61" y="80"/>
                      <a:pt x="60" y="82"/>
                    </a:cubicBezTo>
                    <a:cubicBezTo>
                      <a:pt x="59" y="84"/>
                      <a:pt x="60" y="82"/>
                      <a:pt x="67" y="86"/>
                    </a:cubicBezTo>
                    <a:cubicBezTo>
                      <a:pt x="70" y="87"/>
                      <a:pt x="71" y="84"/>
                      <a:pt x="72" y="85"/>
                    </a:cubicBezTo>
                    <a:cubicBezTo>
                      <a:pt x="73" y="86"/>
                      <a:pt x="74" y="85"/>
                      <a:pt x="77" y="86"/>
                    </a:cubicBezTo>
                    <a:cubicBezTo>
                      <a:pt x="80" y="87"/>
                      <a:pt x="78" y="88"/>
                      <a:pt x="85" y="89"/>
                    </a:cubicBezTo>
                    <a:cubicBezTo>
                      <a:pt x="90" y="90"/>
                      <a:pt x="85" y="88"/>
                      <a:pt x="91" y="90"/>
                    </a:cubicBezTo>
                    <a:cubicBezTo>
                      <a:pt x="96" y="91"/>
                      <a:pt x="91" y="87"/>
                      <a:pt x="96" y="90"/>
                    </a:cubicBezTo>
                    <a:cubicBezTo>
                      <a:pt x="99" y="91"/>
                      <a:pt x="99" y="91"/>
                      <a:pt x="101" y="92"/>
                    </a:cubicBezTo>
                    <a:cubicBezTo>
                      <a:pt x="102" y="93"/>
                      <a:pt x="102" y="91"/>
                      <a:pt x="101" y="91"/>
                    </a:cubicBezTo>
                    <a:cubicBezTo>
                      <a:pt x="99" y="90"/>
                      <a:pt x="104" y="85"/>
                      <a:pt x="100" y="85"/>
                    </a:cubicBezTo>
                    <a:cubicBezTo>
                      <a:pt x="97" y="85"/>
                      <a:pt x="97" y="86"/>
                      <a:pt x="94" y="85"/>
                    </a:cubicBezTo>
                    <a:cubicBezTo>
                      <a:pt x="91" y="84"/>
                      <a:pt x="93" y="84"/>
                      <a:pt x="92" y="81"/>
                    </a:cubicBezTo>
                    <a:cubicBezTo>
                      <a:pt x="90" y="78"/>
                      <a:pt x="90" y="82"/>
                      <a:pt x="89" y="80"/>
                    </a:cubicBezTo>
                    <a:cubicBezTo>
                      <a:pt x="88" y="78"/>
                      <a:pt x="88" y="81"/>
                      <a:pt x="87" y="79"/>
                    </a:cubicBezTo>
                    <a:cubicBezTo>
                      <a:pt x="86" y="78"/>
                      <a:pt x="85" y="80"/>
                      <a:pt x="84" y="79"/>
                    </a:cubicBezTo>
                    <a:cubicBezTo>
                      <a:pt x="83" y="77"/>
                      <a:pt x="82" y="76"/>
                      <a:pt x="81" y="79"/>
                    </a:cubicBezTo>
                    <a:cubicBezTo>
                      <a:pt x="80" y="83"/>
                      <a:pt x="80" y="80"/>
                      <a:pt x="77" y="80"/>
                    </a:cubicBezTo>
                    <a:cubicBezTo>
                      <a:pt x="75" y="80"/>
                      <a:pt x="75" y="81"/>
                      <a:pt x="74" y="80"/>
                    </a:cubicBezTo>
                    <a:cubicBezTo>
                      <a:pt x="72" y="79"/>
                      <a:pt x="71" y="81"/>
                      <a:pt x="70" y="77"/>
                    </a:cubicBezTo>
                    <a:cubicBezTo>
                      <a:pt x="69" y="75"/>
                      <a:pt x="69" y="77"/>
                      <a:pt x="67" y="76"/>
                    </a:cubicBezTo>
                    <a:cubicBezTo>
                      <a:pt x="66" y="75"/>
                      <a:pt x="66" y="77"/>
                      <a:pt x="65" y="75"/>
                    </a:cubicBezTo>
                    <a:cubicBezTo>
                      <a:pt x="64" y="74"/>
                      <a:pt x="62" y="73"/>
                      <a:pt x="62" y="75"/>
                    </a:cubicBezTo>
                    <a:cubicBezTo>
                      <a:pt x="62" y="76"/>
                      <a:pt x="61" y="75"/>
                      <a:pt x="58" y="74"/>
                    </a:cubicBezTo>
                    <a:cubicBezTo>
                      <a:pt x="56" y="74"/>
                      <a:pt x="57" y="77"/>
                      <a:pt x="56" y="78"/>
                    </a:cubicBezTo>
                    <a:cubicBezTo>
                      <a:pt x="54" y="78"/>
                      <a:pt x="56" y="79"/>
                      <a:pt x="54" y="79"/>
                    </a:cubicBezTo>
                    <a:cubicBezTo>
                      <a:pt x="53" y="79"/>
                      <a:pt x="53" y="80"/>
                      <a:pt x="54" y="80"/>
                    </a:cubicBezTo>
                    <a:close/>
                    <a:moveTo>
                      <a:pt x="223" y="86"/>
                    </a:moveTo>
                    <a:cubicBezTo>
                      <a:pt x="223" y="87"/>
                      <a:pt x="222" y="89"/>
                      <a:pt x="222" y="90"/>
                    </a:cubicBezTo>
                    <a:cubicBezTo>
                      <a:pt x="222" y="91"/>
                      <a:pt x="223" y="89"/>
                      <a:pt x="225" y="90"/>
                    </a:cubicBezTo>
                    <a:cubicBezTo>
                      <a:pt x="227" y="91"/>
                      <a:pt x="227" y="88"/>
                      <a:pt x="228" y="88"/>
                    </a:cubicBezTo>
                    <a:cubicBezTo>
                      <a:pt x="229" y="88"/>
                      <a:pt x="228" y="87"/>
                      <a:pt x="229" y="86"/>
                    </a:cubicBezTo>
                    <a:cubicBezTo>
                      <a:pt x="229" y="85"/>
                      <a:pt x="230" y="85"/>
                      <a:pt x="229" y="85"/>
                    </a:cubicBezTo>
                    <a:cubicBezTo>
                      <a:pt x="228" y="84"/>
                      <a:pt x="228" y="84"/>
                      <a:pt x="228" y="83"/>
                    </a:cubicBezTo>
                    <a:cubicBezTo>
                      <a:pt x="226" y="83"/>
                      <a:pt x="223" y="85"/>
                      <a:pt x="223" y="86"/>
                    </a:cubicBezTo>
                    <a:close/>
                    <a:moveTo>
                      <a:pt x="97" y="82"/>
                    </a:moveTo>
                    <a:cubicBezTo>
                      <a:pt x="98" y="81"/>
                      <a:pt x="100" y="81"/>
                      <a:pt x="99" y="80"/>
                    </a:cubicBezTo>
                    <a:cubicBezTo>
                      <a:pt x="99" y="80"/>
                      <a:pt x="99" y="80"/>
                      <a:pt x="96" y="80"/>
                    </a:cubicBezTo>
                    <a:cubicBezTo>
                      <a:pt x="94" y="80"/>
                      <a:pt x="92" y="80"/>
                      <a:pt x="92" y="82"/>
                    </a:cubicBezTo>
                    <a:cubicBezTo>
                      <a:pt x="93" y="82"/>
                      <a:pt x="96" y="83"/>
                      <a:pt x="97" y="82"/>
                    </a:cubicBezTo>
                    <a:close/>
                    <a:moveTo>
                      <a:pt x="106" y="81"/>
                    </a:moveTo>
                    <a:cubicBezTo>
                      <a:pt x="106" y="80"/>
                      <a:pt x="107" y="81"/>
                      <a:pt x="107" y="81"/>
                    </a:cubicBezTo>
                    <a:cubicBezTo>
                      <a:pt x="107" y="80"/>
                      <a:pt x="107" y="80"/>
                      <a:pt x="106" y="80"/>
                    </a:cubicBezTo>
                    <a:cubicBezTo>
                      <a:pt x="105" y="80"/>
                      <a:pt x="106" y="81"/>
                      <a:pt x="106" y="81"/>
                    </a:cubicBezTo>
                    <a:close/>
                    <a:moveTo>
                      <a:pt x="104" y="91"/>
                    </a:moveTo>
                    <a:cubicBezTo>
                      <a:pt x="106" y="92"/>
                      <a:pt x="104" y="92"/>
                      <a:pt x="105" y="93"/>
                    </a:cubicBezTo>
                    <a:cubicBezTo>
                      <a:pt x="106" y="93"/>
                      <a:pt x="106" y="91"/>
                      <a:pt x="107" y="90"/>
                    </a:cubicBezTo>
                    <a:cubicBezTo>
                      <a:pt x="109" y="90"/>
                      <a:pt x="107" y="89"/>
                      <a:pt x="106" y="88"/>
                    </a:cubicBezTo>
                    <a:cubicBezTo>
                      <a:pt x="105" y="87"/>
                      <a:pt x="105" y="89"/>
                      <a:pt x="103" y="88"/>
                    </a:cubicBezTo>
                    <a:cubicBezTo>
                      <a:pt x="101" y="87"/>
                      <a:pt x="101" y="88"/>
                      <a:pt x="102" y="89"/>
                    </a:cubicBezTo>
                    <a:cubicBezTo>
                      <a:pt x="102" y="90"/>
                      <a:pt x="103" y="90"/>
                      <a:pt x="104" y="91"/>
                    </a:cubicBezTo>
                    <a:close/>
                    <a:moveTo>
                      <a:pt x="109" y="92"/>
                    </a:moveTo>
                    <a:cubicBezTo>
                      <a:pt x="108" y="92"/>
                      <a:pt x="108" y="93"/>
                      <a:pt x="111" y="93"/>
                    </a:cubicBezTo>
                    <a:cubicBezTo>
                      <a:pt x="113" y="93"/>
                      <a:pt x="112" y="93"/>
                      <a:pt x="113" y="91"/>
                    </a:cubicBezTo>
                    <a:cubicBezTo>
                      <a:pt x="114" y="89"/>
                      <a:pt x="114" y="89"/>
                      <a:pt x="112" y="89"/>
                    </a:cubicBezTo>
                    <a:cubicBezTo>
                      <a:pt x="111" y="88"/>
                      <a:pt x="110" y="90"/>
                      <a:pt x="110" y="90"/>
                    </a:cubicBezTo>
                    <a:cubicBezTo>
                      <a:pt x="110" y="91"/>
                      <a:pt x="110" y="92"/>
                      <a:pt x="109" y="92"/>
                    </a:cubicBezTo>
                    <a:close/>
                    <a:moveTo>
                      <a:pt x="115" y="94"/>
                    </a:moveTo>
                    <a:cubicBezTo>
                      <a:pt x="116" y="94"/>
                      <a:pt x="119" y="93"/>
                      <a:pt x="120" y="93"/>
                    </a:cubicBezTo>
                    <a:cubicBezTo>
                      <a:pt x="121" y="93"/>
                      <a:pt x="122" y="92"/>
                      <a:pt x="122" y="92"/>
                    </a:cubicBezTo>
                    <a:cubicBezTo>
                      <a:pt x="122" y="93"/>
                      <a:pt x="123" y="92"/>
                      <a:pt x="124" y="93"/>
                    </a:cubicBezTo>
                    <a:cubicBezTo>
                      <a:pt x="124" y="93"/>
                      <a:pt x="126" y="93"/>
                      <a:pt x="125" y="92"/>
                    </a:cubicBezTo>
                    <a:cubicBezTo>
                      <a:pt x="124" y="92"/>
                      <a:pt x="123" y="91"/>
                      <a:pt x="124" y="92"/>
                    </a:cubicBezTo>
                    <a:cubicBezTo>
                      <a:pt x="126" y="92"/>
                      <a:pt x="126" y="92"/>
                      <a:pt x="126" y="92"/>
                    </a:cubicBezTo>
                    <a:cubicBezTo>
                      <a:pt x="126" y="91"/>
                      <a:pt x="125" y="88"/>
                      <a:pt x="124" y="89"/>
                    </a:cubicBezTo>
                    <a:cubicBezTo>
                      <a:pt x="123" y="90"/>
                      <a:pt x="123" y="88"/>
                      <a:pt x="122" y="89"/>
                    </a:cubicBezTo>
                    <a:cubicBezTo>
                      <a:pt x="121" y="90"/>
                      <a:pt x="121" y="88"/>
                      <a:pt x="119" y="88"/>
                    </a:cubicBezTo>
                    <a:cubicBezTo>
                      <a:pt x="117" y="88"/>
                      <a:pt x="119" y="90"/>
                      <a:pt x="120" y="90"/>
                    </a:cubicBezTo>
                    <a:cubicBezTo>
                      <a:pt x="120" y="90"/>
                      <a:pt x="122" y="91"/>
                      <a:pt x="121" y="91"/>
                    </a:cubicBezTo>
                    <a:cubicBezTo>
                      <a:pt x="119" y="91"/>
                      <a:pt x="120" y="92"/>
                      <a:pt x="119" y="91"/>
                    </a:cubicBezTo>
                    <a:cubicBezTo>
                      <a:pt x="118" y="91"/>
                      <a:pt x="118" y="90"/>
                      <a:pt x="117" y="90"/>
                    </a:cubicBezTo>
                    <a:cubicBezTo>
                      <a:pt x="116" y="90"/>
                      <a:pt x="115" y="89"/>
                      <a:pt x="115" y="90"/>
                    </a:cubicBezTo>
                    <a:cubicBezTo>
                      <a:pt x="114" y="91"/>
                      <a:pt x="113" y="90"/>
                      <a:pt x="114" y="92"/>
                    </a:cubicBezTo>
                    <a:cubicBezTo>
                      <a:pt x="114" y="93"/>
                      <a:pt x="113" y="94"/>
                      <a:pt x="115" y="94"/>
                    </a:cubicBezTo>
                    <a:close/>
                    <a:moveTo>
                      <a:pt x="118" y="89"/>
                    </a:moveTo>
                    <a:cubicBezTo>
                      <a:pt x="118" y="88"/>
                      <a:pt x="117" y="88"/>
                      <a:pt x="117" y="89"/>
                    </a:cubicBezTo>
                    <a:cubicBezTo>
                      <a:pt x="117" y="90"/>
                      <a:pt x="118" y="89"/>
                      <a:pt x="118" y="89"/>
                    </a:cubicBezTo>
                    <a:close/>
                    <a:moveTo>
                      <a:pt x="128" y="91"/>
                    </a:moveTo>
                    <a:cubicBezTo>
                      <a:pt x="128" y="91"/>
                      <a:pt x="128" y="90"/>
                      <a:pt x="128" y="90"/>
                    </a:cubicBezTo>
                    <a:cubicBezTo>
                      <a:pt x="128" y="90"/>
                      <a:pt x="127" y="90"/>
                      <a:pt x="127" y="90"/>
                    </a:cubicBezTo>
                    <a:cubicBezTo>
                      <a:pt x="127" y="91"/>
                      <a:pt x="127" y="91"/>
                      <a:pt x="127" y="92"/>
                    </a:cubicBezTo>
                    <a:cubicBezTo>
                      <a:pt x="127" y="93"/>
                      <a:pt x="127" y="91"/>
                      <a:pt x="128" y="91"/>
                    </a:cubicBezTo>
                    <a:close/>
                    <a:moveTo>
                      <a:pt x="129" y="91"/>
                    </a:moveTo>
                    <a:cubicBezTo>
                      <a:pt x="128" y="91"/>
                      <a:pt x="128" y="93"/>
                      <a:pt x="128" y="92"/>
                    </a:cubicBezTo>
                    <a:cubicBezTo>
                      <a:pt x="129" y="92"/>
                      <a:pt x="129" y="91"/>
                      <a:pt x="129" y="91"/>
                    </a:cubicBezTo>
                    <a:close/>
                    <a:moveTo>
                      <a:pt x="131" y="92"/>
                    </a:moveTo>
                    <a:cubicBezTo>
                      <a:pt x="132" y="93"/>
                      <a:pt x="134" y="92"/>
                      <a:pt x="135" y="93"/>
                    </a:cubicBezTo>
                    <a:cubicBezTo>
                      <a:pt x="136" y="94"/>
                      <a:pt x="136" y="93"/>
                      <a:pt x="137" y="93"/>
                    </a:cubicBezTo>
                    <a:cubicBezTo>
                      <a:pt x="137" y="93"/>
                      <a:pt x="137" y="92"/>
                      <a:pt x="138" y="93"/>
                    </a:cubicBezTo>
                    <a:cubicBezTo>
                      <a:pt x="140" y="93"/>
                      <a:pt x="141" y="92"/>
                      <a:pt x="141" y="92"/>
                    </a:cubicBezTo>
                    <a:cubicBezTo>
                      <a:pt x="142" y="92"/>
                      <a:pt x="145" y="91"/>
                      <a:pt x="145" y="91"/>
                    </a:cubicBezTo>
                    <a:cubicBezTo>
                      <a:pt x="145" y="90"/>
                      <a:pt x="146" y="90"/>
                      <a:pt x="146" y="88"/>
                    </a:cubicBezTo>
                    <a:cubicBezTo>
                      <a:pt x="145" y="87"/>
                      <a:pt x="144" y="89"/>
                      <a:pt x="145" y="89"/>
                    </a:cubicBezTo>
                    <a:cubicBezTo>
                      <a:pt x="145" y="89"/>
                      <a:pt x="145" y="89"/>
                      <a:pt x="144" y="90"/>
                    </a:cubicBezTo>
                    <a:cubicBezTo>
                      <a:pt x="142" y="90"/>
                      <a:pt x="144" y="91"/>
                      <a:pt x="143" y="91"/>
                    </a:cubicBezTo>
                    <a:cubicBezTo>
                      <a:pt x="141" y="92"/>
                      <a:pt x="141" y="89"/>
                      <a:pt x="140" y="90"/>
                    </a:cubicBezTo>
                    <a:cubicBezTo>
                      <a:pt x="139" y="91"/>
                      <a:pt x="139" y="90"/>
                      <a:pt x="138" y="91"/>
                    </a:cubicBezTo>
                    <a:cubicBezTo>
                      <a:pt x="137" y="91"/>
                      <a:pt x="136" y="90"/>
                      <a:pt x="135" y="89"/>
                    </a:cubicBezTo>
                    <a:cubicBezTo>
                      <a:pt x="134" y="89"/>
                      <a:pt x="132" y="88"/>
                      <a:pt x="131" y="89"/>
                    </a:cubicBezTo>
                    <a:cubicBezTo>
                      <a:pt x="130" y="90"/>
                      <a:pt x="129" y="90"/>
                      <a:pt x="129" y="92"/>
                    </a:cubicBezTo>
                    <a:cubicBezTo>
                      <a:pt x="129" y="94"/>
                      <a:pt x="130" y="92"/>
                      <a:pt x="131" y="92"/>
                    </a:cubicBezTo>
                    <a:close/>
                    <a:moveTo>
                      <a:pt x="133" y="77"/>
                    </a:moveTo>
                    <a:cubicBezTo>
                      <a:pt x="133" y="79"/>
                      <a:pt x="133" y="74"/>
                      <a:pt x="133" y="73"/>
                    </a:cubicBezTo>
                    <a:cubicBezTo>
                      <a:pt x="133" y="73"/>
                      <a:pt x="132" y="76"/>
                      <a:pt x="133" y="77"/>
                    </a:cubicBezTo>
                    <a:close/>
                    <a:moveTo>
                      <a:pt x="146" y="91"/>
                    </a:moveTo>
                    <a:cubicBezTo>
                      <a:pt x="147" y="90"/>
                      <a:pt x="146" y="90"/>
                      <a:pt x="146" y="90"/>
                    </a:cubicBezTo>
                    <a:cubicBezTo>
                      <a:pt x="145" y="91"/>
                      <a:pt x="145" y="91"/>
                      <a:pt x="146" y="91"/>
                    </a:cubicBezTo>
                    <a:close/>
                    <a:moveTo>
                      <a:pt x="147" y="90"/>
                    </a:moveTo>
                    <a:cubicBezTo>
                      <a:pt x="147" y="90"/>
                      <a:pt x="147" y="90"/>
                      <a:pt x="148" y="89"/>
                    </a:cubicBezTo>
                    <a:cubicBezTo>
                      <a:pt x="148" y="89"/>
                      <a:pt x="147" y="89"/>
                      <a:pt x="146" y="89"/>
                    </a:cubicBezTo>
                    <a:cubicBezTo>
                      <a:pt x="146" y="90"/>
                      <a:pt x="146" y="90"/>
                      <a:pt x="147" y="90"/>
                    </a:cubicBezTo>
                    <a:close/>
                    <a:moveTo>
                      <a:pt x="148" y="91"/>
                    </a:moveTo>
                    <a:cubicBezTo>
                      <a:pt x="150" y="91"/>
                      <a:pt x="148" y="90"/>
                      <a:pt x="149" y="90"/>
                    </a:cubicBezTo>
                    <a:cubicBezTo>
                      <a:pt x="150" y="90"/>
                      <a:pt x="149" y="90"/>
                      <a:pt x="150" y="89"/>
                    </a:cubicBezTo>
                    <a:cubicBezTo>
                      <a:pt x="151" y="89"/>
                      <a:pt x="151" y="89"/>
                      <a:pt x="150" y="89"/>
                    </a:cubicBezTo>
                    <a:cubicBezTo>
                      <a:pt x="149" y="89"/>
                      <a:pt x="148" y="89"/>
                      <a:pt x="148" y="89"/>
                    </a:cubicBezTo>
                    <a:cubicBezTo>
                      <a:pt x="148" y="90"/>
                      <a:pt x="148" y="90"/>
                      <a:pt x="147" y="90"/>
                    </a:cubicBezTo>
                    <a:cubicBezTo>
                      <a:pt x="146" y="91"/>
                      <a:pt x="147" y="91"/>
                      <a:pt x="148" y="91"/>
                    </a:cubicBezTo>
                    <a:close/>
                    <a:moveTo>
                      <a:pt x="152" y="90"/>
                    </a:moveTo>
                    <a:cubicBezTo>
                      <a:pt x="153" y="89"/>
                      <a:pt x="153" y="88"/>
                      <a:pt x="152" y="89"/>
                    </a:cubicBezTo>
                    <a:cubicBezTo>
                      <a:pt x="151" y="90"/>
                      <a:pt x="151" y="88"/>
                      <a:pt x="151" y="90"/>
                    </a:cubicBezTo>
                    <a:cubicBezTo>
                      <a:pt x="151" y="90"/>
                      <a:pt x="151" y="91"/>
                      <a:pt x="152" y="90"/>
                    </a:cubicBezTo>
                    <a:close/>
                    <a:moveTo>
                      <a:pt x="156" y="90"/>
                    </a:moveTo>
                    <a:cubicBezTo>
                      <a:pt x="158" y="90"/>
                      <a:pt x="157" y="88"/>
                      <a:pt x="155" y="88"/>
                    </a:cubicBezTo>
                    <a:cubicBezTo>
                      <a:pt x="153" y="89"/>
                      <a:pt x="154" y="87"/>
                      <a:pt x="153" y="89"/>
                    </a:cubicBezTo>
                    <a:cubicBezTo>
                      <a:pt x="152" y="91"/>
                      <a:pt x="154" y="90"/>
                      <a:pt x="156" y="90"/>
                    </a:cubicBezTo>
                    <a:close/>
                    <a:moveTo>
                      <a:pt x="129" y="99"/>
                    </a:moveTo>
                    <a:cubicBezTo>
                      <a:pt x="131" y="100"/>
                      <a:pt x="131" y="102"/>
                      <a:pt x="131" y="101"/>
                    </a:cubicBezTo>
                    <a:cubicBezTo>
                      <a:pt x="132" y="101"/>
                      <a:pt x="132" y="102"/>
                      <a:pt x="133" y="102"/>
                    </a:cubicBezTo>
                    <a:cubicBezTo>
                      <a:pt x="133" y="101"/>
                      <a:pt x="134" y="101"/>
                      <a:pt x="134" y="101"/>
                    </a:cubicBezTo>
                    <a:cubicBezTo>
                      <a:pt x="135" y="100"/>
                      <a:pt x="133" y="98"/>
                      <a:pt x="132" y="98"/>
                    </a:cubicBezTo>
                    <a:cubicBezTo>
                      <a:pt x="131" y="97"/>
                      <a:pt x="132" y="97"/>
                      <a:pt x="131" y="96"/>
                    </a:cubicBezTo>
                    <a:cubicBezTo>
                      <a:pt x="130" y="95"/>
                      <a:pt x="129" y="96"/>
                      <a:pt x="128" y="96"/>
                    </a:cubicBezTo>
                    <a:cubicBezTo>
                      <a:pt x="128" y="96"/>
                      <a:pt x="125" y="95"/>
                      <a:pt x="125" y="97"/>
                    </a:cubicBezTo>
                    <a:cubicBezTo>
                      <a:pt x="125" y="99"/>
                      <a:pt x="127" y="98"/>
                      <a:pt x="129" y="99"/>
                    </a:cubicBezTo>
                    <a:close/>
                    <a:moveTo>
                      <a:pt x="148" y="104"/>
                    </a:moveTo>
                    <a:cubicBezTo>
                      <a:pt x="148" y="104"/>
                      <a:pt x="148" y="102"/>
                      <a:pt x="147" y="104"/>
                    </a:cubicBezTo>
                    <a:cubicBezTo>
                      <a:pt x="146" y="105"/>
                      <a:pt x="145" y="104"/>
                      <a:pt x="145" y="105"/>
                    </a:cubicBezTo>
                    <a:cubicBezTo>
                      <a:pt x="145" y="106"/>
                      <a:pt x="147" y="105"/>
                      <a:pt x="148" y="104"/>
                    </a:cubicBezTo>
                    <a:close/>
                    <a:moveTo>
                      <a:pt x="132" y="72"/>
                    </a:moveTo>
                    <a:cubicBezTo>
                      <a:pt x="134" y="72"/>
                      <a:pt x="131" y="69"/>
                      <a:pt x="132" y="67"/>
                    </a:cubicBezTo>
                    <a:cubicBezTo>
                      <a:pt x="133" y="66"/>
                      <a:pt x="132" y="63"/>
                      <a:pt x="132" y="59"/>
                    </a:cubicBezTo>
                    <a:cubicBezTo>
                      <a:pt x="133" y="55"/>
                      <a:pt x="130" y="57"/>
                      <a:pt x="133" y="54"/>
                    </a:cubicBezTo>
                    <a:cubicBezTo>
                      <a:pt x="136" y="52"/>
                      <a:pt x="137" y="55"/>
                      <a:pt x="135" y="57"/>
                    </a:cubicBezTo>
                    <a:cubicBezTo>
                      <a:pt x="134" y="60"/>
                      <a:pt x="136" y="60"/>
                      <a:pt x="137" y="62"/>
                    </a:cubicBezTo>
                    <a:cubicBezTo>
                      <a:pt x="139" y="64"/>
                      <a:pt x="136" y="68"/>
                      <a:pt x="140" y="68"/>
                    </a:cubicBezTo>
                    <a:cubicBezTo>
                      <a:pt x="142" y="68"/>
                      <a:pt x="140" y="66"/>
                      <a:pt x="142" y="65"/>
                    </a:cubicBezTo>
                    <a:cubicBezTo>
                      <a:pt x="144" y="64"/>
                      <a:pt x="144" y="66"/>
                      <a:pt x="145" y="64"/>
                    </a:cubicBezTo>
                    <a:cubicBezTo>
                      <a:pt x="146" y="61"/>
                      <a:pt x="141" y="61"/>
                      <a:pt x="142" y="59"/>
                    </a:cubicBezTo>
                    <a:cubicBezTo>
                      <a:pt x="144" y="57"/>
                      <a:pt x="141" y="53"/>
                      <a:pt x="139" y="51"/>
                    </a:cubicBezTo>
                    <a:cubicBezTo>
                      <a:pt x="136" y="48"/>
                      <a:pt x="142" y="48"/>
                      <a:pt x="144" y="44"/>
                    </a:cubicBezTo>
                    <a:cubicBezTo>
                      <a:pt x="146" y="40"/>
                      <a:pt x="147" y="45"/>
                      <a:pt x="148" y="43"/>
                    </a:cubicBezTo>
                    <a:cubicBezTo>
                      <a:pt x="149" y="42"/>
                      <a:pt x="149" y="41"/>
                      <a:pt x="145" y="41"/>
                    </a:cubicBezTo>
                    <a:cubicBezTo>
                      <a:pt x="141" y="41"/>
                      <a:pt x="142" y="43"/>
                      <a:pt x="139" y="43"/>
                    </a:cubicBezTo>
                    <a:cubicBezTo>
                      <a:pt x="136" y="42"/>
                      <a:pt x="137" y="46"/>
                      <a:pt x="134" y="46"/>
                    </a:cubicBezTo>
                    <a:cubicBezTo>
                      <a:pt x="132" y="45"/>
                      <a:pt x="134" y="44"/>
                      <a:pt x="132" y="42"/>
                    </a:cubicBezTo>
                    <a:cubicBezTo>
                      <a:pt x="129" y="41"/>
                      <a:pt x="131" y="32"/>
                      <a:pt x="134" y="34"/>
                    </a:cubicBezTo>
                    <a:cubicBezTo>
                      <a:pt x="136" y="35"/>
                      <a:pt x="138" y="34"/>
                      <a:pt x="139" y="34"/>
                    </a:cubicBezTo>
                    <a:cubicBezTo>
                      <a:pt x="141" y="35"/>
                      <a:pt x="146" y="33"/>
                      <a:pt x="147" y="34"/>
                    </a:cubicBezTo>
                    <a:cubicBezTo>
                      <a:pt x="147" y="35"/>
                      <a:pt x="152" y="36"/>
                      <a:pt x="154" y="33"/>
                    </a:cubicBezTo>
                    <a:cubicBezTo>
                      <a:pt x="156" y="30"/>
                      <a:pt x="158" y="28"/>
                      <a:pt x="157" y="27"/>
                    </a:cubicBezTo>
                    <a:cubicBezTo>
                      <a:pt x="156" y="25"/>
                      <a:pt x="154" y="28"/>
                      <a:pt x="152" y="31"/>
                    </a:cubicBezTo>
                    <a:cubicBezTo>
                      <a:pt x="151" y="33"/>
                      <a:pt x="146" y="30"/>
                      <a:pt x="145" y="31"/>
                    </a:cubicBezTo>
                    <a:cubicBezTo>
                      <a:pt x="145" y="32"/>
                      <a:pt x="143" y="30"/>
                      <a:pt x="140" y="30"/>
                    </a:cubicBezTo>
                    <a:cubicBezTo>
                      <a:pt x="137" y="31"/>
                      <a:pt x="139" y="29"/>
                      <a:pt x="137" y="29"/>
                    </a:cubicBezTo>
                    <a:cubicBezTo>
                      <a:pt x="136" y="29"/>
                      <a:pt x="135" y="28"/>
                      <a:pt x="134" y="29"/>
                    </a:cubicBezTo>
                    <a:cubicBezTo>
                      <a:pt x="134" y="30"/>
                      <a:pt x="133" y="33"/>
                      <a:pt x="132" y="31"/>
                    </a:cubicBezTo>
                    <a:cubicBezTo>
                      <a:pt x="131" y="30"/>
                      <a:pt x="131" y="33"/>
                      <a:pt x="130" y="34"/>
                    </a:cubicBezTo>
                    <a:cubicBezTo>
                      <a:pt x="128" y="36"/>
                      <a:pt x="130" y="37"/>
                      <a:pt x="129" y="37"/>
                    </a:cubicBezTo>
                    <a:cubicBezTo>
                      <a:pt x="127" y="38"/>
                      <a:pt x="129" y="38"/>
                      <a:pt x="129" y="40"/>
                    </a:cubicBezTo>
                    <a:cubicBezTo>
                      <a:pt x="128" y="42"/>
                      <a:pt x="126" y="43"/>
                      <a:pt x="127" y="47"/>
                    </a:cubicBezTo>
                    <a:cubicBezTo>
                      <a:pt x="127" y="51"/>
                      <a:pt x="126" y="48"/>
                      <a:pt x="126" y="51"/>
                    </a:cubicBezTo>
                    <a:cubicBezTo>
                      <a:pt x="126" y="55"/>
                      <a:pt x="123" y="53"/>
                      <a:pt x="124" y="55"/>
                    </a:cubicBezTo>
                    <a:cubicBezTo>
                      <a:pt x="125" y="57"/>
                      <a:pt x="123" y="55"/>
                      <a:pt x="124" y="58"/>
                    </a:cubicBezTo>
                    <a:cubicBezTo>
                      <a:pt x="125" y="61"/>
                      <a:pt x="126" y="57"/>
                      <a:pt x="128" y="60"/>
                    </a:cubicBezTo>
                    <a:cubicBezTo>
                      <a:pt x="130" y="64"/>
                      <a:pt x="126" y="69"/>
                      <a:pt x="128" y="72"/>
                    </a:cubicBezTo>
                    <a:cubicBezTo>
                      <a:pt x="129" y="74"/>
                      <a:pt x="130" y="72"/>
                      <a:pt x="132" y="72"/>
                    </a:cubicBezTo>
                    <a:close/>
                    <a:moveTo>
                      <a:pt x="165" y="61"/>
                    </a:moveTo>
                    <a:cubicBezTo>
                      <a:pt x="166" y="62"/>
                      <a:pt x="169" y="59"/>
                      <a:pt x="167" y="57"/>
                    </a:cubicBezTo>
                    <a:cubicBezTo>
                      <a:pt x="166" y="55"/>
                      <a:pt x="162" y="55"/>
                      <a:pt x="162" y="57"/>
                    </a:cubicBezTo>
                    <a:cubicBezTo>
                      <a:pt x="161" y="58"/>
                      <a:pt x="163" y="60"/>
                      <a:pt x="165" y="61"/>
                    </a:cubicBezTo>
                    <a:close/>
                    <a:moveTo>
                      <a:pt x="173" y="57"/>
                    </a:moveTo>
                    <a:cubicBezTo>
                      <a:pt x="173" y="56"/>
                      <a:pt x="174" y="59"/>
                      <a:pt x="176" y="58"/>
                    </a:cubicBezTo>
                    <a:cubicBezTo>
                      <a:pt x="178" y="56"/>
                      <a:pt x="180" y="59"/>
                      <a:pt x="180" y="58"/>
                    </a:cubicBezTo>
                    <a:cubicBezTo>
                      <a:pt x="180" y="57"/>
                      <a:pt x="183" y="59"/>
                      <a:pt x="185" y="61"/>
                    </a:cubicBezTo>
                    <a:cubicBezTo>
                      <a:pt x="188" y="62"/>
                      <a:pt x="188" y="60"/>
                      <a:pt x="186" y="57"/>
                    </a:cubicBezTo>
                    <a:cubicBezTo>
                      <a:pt x="184" y="54"/>
                      <a:pt x="184" y="57"/>
                      <a:pt x="181" y="55"/>
                    </a:cubicBezTo>
                    <a:cubicBezTo>
                      <a:pt x="179" y="53"/>
                      <a:pt x="180" y="55"/>
                      <a:pt x="177" y="55"/>
                    </a:cubicBezTo>
                    <a:cubicBezTo>
                      <a:pt x="173" y="54"/>
                      <a:pt x="171" y="56"/>
                      <a:pt x="171" y="58"/>
                    </a:cubicBezTo>
                    <a:cubicBezTo>
                      <a:pt x="172" y="61"/>
                      <a:pt x="172" y="57"/>
                      <a:pt x="173" y="57"/>
                    </a:cubicBezTo>
                    <a:close/>
                    <a:moveTo>
                      <a:pt x="158" y="48"/>
                    </a:moveTo>
                    <a:cubicBezTo>
                      <a:pt x="158" y="48"/>
                      <a:pt x="153" y="46"/>
                      <a:pt x="153" y="49"/>
                    </a:cubicBezTo>
                    <a:cubicBezTo>
                      <a:pt x="153" y="50"/>
                      <a:pt x="158" y="49"/>
                      <a:pt x="158" y="48"/>
                    </a:cubicBezTo>
                    <a:close/>
                    <a:moveTo>
                      <a:pt x="163" y="48"/>
                    </a:moveTo>
                    <a:cubicBezTo>
                      <a:pt x="165" y="48"/>
                      <a:pt x="159" y="47"/>
                      <a:pt x="158" y="49"/>
                    </a:cubicBezTo>
                    <a:cubicBezTo>
                      <a:pt x="158" y="50"/>
                      <a:pt x="162" y="49"/>
                      <a:pt x="163" y="48"/>
                    </a:cubicBezTo>
                    <a:close/>
                    <a:moveTo>
                      <a:pt x="170" y="48"/>
                    </a:moveTo>
                    <a:cubicBezTo>
                      <a:pt x="172" y="47"/>
                      <a:pt x="174" y="48"/>
                      <a:pt x="172" y="46"/>
                    </a:cubicBezTo>
                    <a:cubicBezTo>
                      <a:pt x="170" y="45"/>
                      <a:pt x="169" y="45"/>
                      <a:pt x="169" y="47"/>
                    </a:cubicBezTo>
                    <a:cubicBezTo>
                      <a:pt x="169" y="48"/>
                      <a:pt x="169" y="48"/>
                      <a:pt x="170" y="48"/>
                    </a:cubicBezTo>
                    <a:close/>
                    <a:moveTo>
                      <a:pt x="181" y="49"/>
                    </a:moveTo>
                    <a:cubicBezTo>
                      <a:pt x="182" y="50"/>
                      <a:pt x="184" y="51"/>
                      <a:pt x="184" y="49"/>
                    </a:cubicBezTo>
                    <a:cubicBezTo>
                      <a:pt x="185" y="48"/>
                      <a:pt x="184" y="47"/>
                      <a:pt x="182" y="48"/>
                    </a:cubicBezTo>
                    <a:cubicBezTo>
                      <a:pt x="181" y="48"/>
                      <a:pt x="180" y="49"/>
                      <a:pt x="181" y="49"/>
                    </a:cubicBezTo>
                    <a:close/>
                    <a:moveTo>
                      <a:pt x="187" y="43"/>
                    </a:moveTo>
                    <a:cubicBezTo>
                      <a:pt x="187" y="42"/>
                      <a:pt x="185" y="43"/>
                      <a:pt x="185" y="43"/>
                    </a:cubicBezTo>
                    <a:cubicBezTo>
                      <a:pt x="186" y="44"/>
                      <a:pt x="186" y="44"/>
                      <a:pt x="187" y="45"/>
                    </a:cubicBezTo>
                    <a:cubicBezTo>
                      <a:pt x="187" y="46"/>
                      <a:pt x="188" y="43"/>
                      <a:pt x="187" y="43"/>
                    </a:cubicBezTo>
                    <a:close/>
                    <a:moveTo>
                      <a:pt x="187" y="38"/>
                    </a:moveTo>
                    <a:cubicBezTo>
                      <a:pt x="187" y="38"/>
                      <a:pt x="188" y="40"/>
                      <a:pt x="189" y="39"/>
                    </a:cubicBezTo>
                    <a:cubicBezTo>
                      <a:pt x="190" y="39"/>
                      <a:pt x="188" y="37"/>
                      <a:pt x="186" y="37"/>
                    </a:cubicBezTo>
                    <a:cubicBezTo>
                      <a:pt x="184" y="38"/>
                      <a:pt x="183" y="38"/>
                      <a:pt x="184" y="39"/>
                    </a:cubicBezTo>
                    <a:cubicBezTo>
                      <a:pt x="185" y="39"/>
                      <a:pt x="186" y="40"/>
                      <a:pt x="187" y="40"/>
                    </a:cubicBezTo>
                    <a:cubicBezTo>
                      <a:pt x="188" y="39"/>
                      <a:pt x="186" y="38"/>
                      <a:pt x="187" y="38"/>
                    </a:cubicBezTo>
                    <a:close/>
                    <a:moveTo>
                      <a:pt x="173" y="41"/>
                    </a:moveTo>
                    <a:cubicBezTo>
                      <a:pt x="172" y="39"/>
                      <a:pt x="171" y="37"/>
                      <a:pt x="171" y="35"/>
                    </a:cubicBezTo>
                    <a:cubicBezTo>
                      <a:pt x="172" y="34"/>
                      <a:pt x="173" y="34"/>
                      <a:pt x="175" y="35"/>
                    </a:cubicBezTo>
                    <a:cubicBezTo>
                      <a:pt x="177" y="36"/>
                      <a:pt x="176" y="34"/>
                      <a:pt x="174" y="33"/>
                    </a:cubicBezTo>
                    <a:cubicBezTo>
                      <a:pt x="172" y="32"/>
                      <a:pt x="174" y="31"/>
                      <a:pt x="175" y="31"/>
                    </a:cubicBezTo>
                    <a:cubicBezTo>
                      <a:pt x="176" y="30"/>
                      <a:pt x="176" y="27"/>
                      <a:pt x="174" y="27"/>
                    </a:cubicBezTo>
                    <a:cubicBezTo>
                      <a:pt x="172" y="28"/>
                      <a:pt x="171" y="33"/>
                      <a:pt x="171" y="32"/>
                    </a:cubicBezTo>
                    <a:cubicBezTo>
                      <a:pt x="170" y="30"/>
                      <a:pt x="171" y="31"/>
                      <a:pt x="172" y="28"/>
                    </a:cubicBezTo>
                    <a:cubicBezTo>
                      <a:pt x="173" y="26"/>
                      <a:pt x="171" y="26"/>
                      <a:pt x="171" y="25"/>
                    </a:cubicBezTo>
                    <a:cubicBezTo>
                      <a:pt x="172" y="24"/>
                      <a:pt x="173" y="22"/>
                      <a:pt x="171" y="23"/>
                    </a:cubicBezTo>
                    <a:cubicBezTo>
                      <a:pt x="169" y="25"/>
                      <a:pt x="169" y="29"/>
                      <a:pt x="169" y="31"/>
                    </a:cubicBezTo>
                    <a:cubicBezTo>
                      <a:pt x="170" y="32"/>
                      <a:pt x="169" y="33"/>
                      <a:pt x="170" y="34"/>
                    </a:cubicBezTo>
                    <a:cubicBezTo>
                      <a:pt x="171" y="36"/>
                      <a:pt x="169" y="37"/>
                      <a:pt x="171" y="39"/>
                    </a:cubicBezTo>
                    <a:cubicBezTo>
                      <a:pt x="172" y="41"/>
                      <a:pt x="173" y="43"/>
                      <a:pt x="174" y="43"/>
                    </a:cubicBezTo>
                    <a:cubicBezTo>
                      <a:pt x="174" y="42"/>
                      <a:pt x="174" y="42"/>
                      <a:pt x="173" y="41"/>
                    </a:cubicBezTo>
                    <a:close/>
                    <a:moveTo>
                      <a:pt x="175" y="21"/>
                    </a:moveTo>
                    <a:cubicBezTo>
                      <a:pt x="174" y="19"/>
                      <a:pt x="173" y="22"/>
                      <a:pt x="173" y="24"/>
                    </a:cubicBezTo>
                    <a:cubicBezTo>
                      <a:pt x="173" y="26"/>
                      <a:pt x="176" y="22"/>
                      <a:pt x="175" y="21"/>
                    </a:cubicBezTo>
                    <a:close/>
                    <a:moveTo>
                      <a:pt x="140" y="69"/>
                    </a:moveTo>
                    <a:cubicBezTo>
                      <a:pt x="140" y="68"/>
                      <a:pt x="140" y="70"/>
                      <a:pt x="140" y="71"/>
                    </a:cubicBezTo>
                    <a:cubicBezTo>
                      <a:pt x="141" y="72"/>
                      <a:pt x="141" y="71"/>
                      <a:pt x="140" y="69"/>
                    </a:cubicBezTo>
                    <a:close/>
                    <a:moveTo>
                      <a:pt x="144" y="70"/>
                    </a:moveTo>
                    <a:cubicBezTo>
                      <a:pt x="144" y="69"/>
                      <a:pt x="144" y="68"/>
                      <a:pt x="144" y="67"/>
                    </a:cubicBezTo>
                    <a:cubicBezTo>
                      <a:pt x="145" y="65"/>
                      <a:pt x="142" y="66"/>
                      <a:pt x="142" y="68"/>
                    </a:cubicBezTo>
                    <a:cubicBezTo>
                      <a:pt x="143" y="69"/>
                      <a:pt x="141" y="72"/>
                      <a:pt x="143" y="71"/>
                    </a:cubicBezTo>
                    <a:cubicBezTo>
                      <a:pt x="143" y="71"/>
                      <a:pt x="144" y="70"/>
                      <a:pt x="144" y="70"/>
                    </a:cubicBezTo>
                    <a:close/>
                    <a:moveTo>
                      <a:pt x="145" y="72"/>
                    </a:moveTo>
                    <a:cubicBezTo>
                      <a:pt x="146" y="70"/>
                      <a:pt x="148" y="72"/>
                      <a:pt x="146" y="70"/>
                    </a:cubicBezTo>
                    <a:cubicBezTo>
                      <a:pt x="144" y="67"/>
                      <a:pt x="148" y="68"/>
                      <a:pt x="147" y="65"/>
                    </a:cubicBezTo>
                    <a:cubicBezTo>
                      <a:pt x="146" y="63"/>
                      <a:pt x="145" y="66"/>
                      <a:pt x="145" y="69"/>
                    </a:cubicBezTo>
                    <a:cubicBezTo>
                      <a:pt x="145" y="72"/>
                      <a:pt x="142" y="72"/>
                      <a:pt x="144" y="73"/>
                    </a:cubicBezTo>
                    <a:cubicBezTo>
                      <a:pt x="145" y="73"/>
                      <a:pt x="145" y="73"/>
                      <a:pt x="145" y="72"/>
                    </a:cubicBezTo>
                    <a:close/>
                    <a:moveTo>
                      <a:pt x="146" y="44"/>
                    </a:moveTo>
                    <a:cubicBezTo>
                      <a:pt x="145" y="44"/>
                      <a:pt x="145" y="45"/>
                      <a:pt x="145" y="47"/>
                    </a:cubicBezTo>
                    <a:cubicBezTo>
                      <a:pt x="145" y="47"/>
                      <a:pt x="147" y="44"/>
                      <a:pt x="146" y="44"/>
                    </a:cubicBezTo>
                    <a:close/>
                    <a:moveTo>
                      <a:pt x="148" y="46"/>
                    </a:moveTo>
                    <a:cubicBezTo>
                      <a:pt x="149" y="46"/>
                      <a:pt x="149" y="44"/>
                      <a:pt x="148" y="45"/>
                    </a:cubicBezTo>
                    <a:cubicBezTo>
                      <a:pt x="147" y="45"/>
                      <a:pt x="148" y="47"/>
                      <a:pt x="148" y="46"/>
                    </a:cubicBezTo>
                    <a:close/>
                    <a:moveTo>
                      <a:pt x="169" y="41"/>
                    </a:moveTo>
                    <a:cubicBezTo>
                      <a:pt x="169" y="42"/>
                      <a:pt x="170" y="42"/>
                      <a:pt x="170" y="40"/>
                    </a:cubicBezTo>
                    <a:cubicBezTo>
                      <a:pt x="170" y="39"/>
                      <a:pt x="169" y="38"/>
                      <a:pt x="169" y="39"/>
                    </a:cubicBezTo>
                    <a:cubicBezTo>
                      <a:pt x="168" y="40"/>
                      <a:pt x="168" y="40"/>
                      <a:pt x="169" y="41"/>
                    </a:cubicBezTo>
                    <a:close/>
                    <a:moveTo>
                      <a:pt x="191" y="83"/>
                    </a:moveTo>
                    <a:cubicBezTo>
                      <a:pt x="190" y="81"/>
                      <a:pt x="187" y="88"/>
                      <a:pt x="189" y="87"/>
                    </a:cubicBezTo>
                    <a:cubicBezTo>
                      <a:pt x="191" y="86"/>
                      <a:pt x="191" y="84"/>
                      <a:pt x="191" y="83"/>
                    </a:cubicBezTo>
                    <a:close/>
                    <a:moveTo>
                      <a:pt x="205" y="77"/>
                    </a:moveTo>
                    <a:cubicBezTo>
                      <a:pt x="203" y="74"/>
                      <a:pt x="203" y="81"/>
                      <a:pt x="204" y="80"/>
                    </a:cubicBezTo>
                    <a:cubicBezTo>
                      <a:pt x="206" y="80"/>
                      <a:pt x="206" y="79"/>
                      <a:pt x="205" y="77"/>
                    </a:cubicBezTo>
                    <a:close/>
                    <a:moveTo>
                      <a:pt x="166" y="85"/>
                    </a:moveTo>
                    <a:cubicBezTo>
                      <a:pt x="166" y="84"/>
                      <a:pt x="162" y="85"/>
                      <a:pt x="161" y="86"/>
                    </a:cubicBezTo>
                    <a:cubicBezTo>
                      <a:pt x="159" y="87"/>
                      <a:pt x="166" y="86"/>
                      <a:pt x="166" y="85"/>
                    </a:cubicBezTo>
                    <a:close/>
                    <a:moveTo>
                      <a:pt x="111" y="61"/>
                    </a:moveTo>
                    <a:cubicBezTo>
                      <a:pt x="111" y="59"/>
                      <a:pt x="111" y="57"/>
                      <a:pt x="110" y="58"/>
                    </a:cubicBezTo>
                    <a:cubicBezTo>
                      <a:pt x="109" y="59"/>
                      <a:pt x="110" y="60"/>
                      <a:pt x="110" y="62"/>
                    </a:cubicBezTo>
                    <a:cubicBezTo>
                      <a:pt x="109" y="63"/>
                      <a:pt x="110" y="63"/>
                      <a:pt x="111" y="61"/>
                    </a:cubicBezTo>
                    <a:close/>
                    <a:moveTo>
                      <a:pt x="66" y="57"/>
                    </a:moveTo>
                    <a:cubicBezTo>
                      <a:pt x="67" y="56"/>
                      <a:pt x="68" y="58"/>
                      <a:pt x="69" y="56"/>
                    </a:cubicBezTo>
                    <a:cubicBezTo>
                      <a:pt x="70" y="55"/>
                      <a:pt x="69" y="54"/>
                      <a:pt x="67" y="53"/>
                    </a:cubicBezTo>
                    <a:cubicBezTo>
                      <a:pt x="65" y="52"/>
                      <a:pt x="65" y="55"/>
                      <a:pt x="65" y="57"/>
                    </a:cubicBezTo>
                    <a:cubicBezTo>
                      <a:pt x="66" y="57"/>
                      <a:pt x="66" y="58"/>
                      <a:pt x="66" y="57"/>
                    </a:cubicBezTo>
                    <a:close/>
                    <a:moveTo>
                      <a:pt x="55" y="50"/>
                    </a:moveTo>
                    <a:cubicBezTo>
                      <a:pt x="57" y="50"/>
                      <a:pt x="56" y="54"/>
                      <a:pt x="58" y="55"/>
                    </a:cubicBezTo>
                    <a:cubicBezTo>
                      <a:pt x="59" y="56"/>
                      <a:pt x="59" y="57"/>
                      <a:pt x="61" y="56"/>
                    </a:cubicBezTo>
                    <a:cubicBezTo>
                      <a:pt x="62" y="56"/>
                      <a:pt x="60" y="55"/>
                      <a:pt x="60" y="54"/>
                    </a:cubicBezTo>
                    <a:cubicBezTo>
                      <a:pt x="61" y="53"/>
                      <a:pt x="61" y="53"/>
                      <a:pt x="59" y="53"/>
                    </a:cubicBezTo>
                    <a:cubicBezTo>
                      <a:pt x="57" y="52"/>
                      <a:pt x="59" y="46"/>
                      <a:pt x="55" y="46"/>
                    </a:cubicBezTo>
                    <a:cubicBezTo>
                      <a:pt x="53" y="47"/>
                      <a:pt x="54" y="48"/>
                      <a:pt x="53" y="49"/>
                    </a:cubicBezTo>
                    <a:cubicBezTo>
                      <a:pt x="51" y="50"/>
                      <a:pt x="54" y="50"/>
                      <a:pt x="55" y="50"/>
                    </a:cubicBezTo>
                    <a:close/>
                    <a:moveTo>
                      <a:pt x="69" y="10"/>
                    </a:moveTo>
                    <a:cubicBezTo>
                      <a:pt x="69" y="10"/>
                      <a:pt x="67" y="12"/>
                      <a:pt x="68" y="13"/>
                    </a:cubicBezTo>
                    <a:cubicBezTo>
                      <a:pt x="69" y="13"/>
                      <a:pt x="67" y="14"/>
                      <a:pt x="68" y="14"/>
                    </a:cubicBezTo>
                    <a:cubicBezTo>
                      <a:pt x="70" y="15"/>
                      <a:pt x="69" y="11"/>
                      <a:pt x="69" y="10"/>
                    </a:cubicBezTo>
                    <a:close/>
                    <a:moveTo>
                      <a:pt x="6" y="21"/>
                    </a:moveTo>
                    <a:cubicBezTo>
                      <a:pt x="7" y="22"/>
                      <a:pt x="8" y="23"/>
                      <a:pt x="8" y="22"/>
                    </a:cubicBezTo>
                    <a:cubicBezTo>
                      <a:pt x="7" y="21"/>
                      <a:pt x="5" y="18"/>
                      <a:pt x="4" y="19"/>
                    </a:cubicBezTo>
                    <a:cubicBezTo>
                      <a:pt x="4" y="20"/>
                      <a:pt x="4" y="21"/>
                      <a:pt x="6" y="21"/>
                    </a:cubicBezTo>
                    <a:close/>
                    <a:moveTo>
                      <a:pt x="14" y="33"/>
                    </a:moveTo>
                    <a:cubicBezTo>
                      <a:pt x="15" y="35"/>
                      <a:pt x="16" y="31"/>
                      <a:pt x="15" y="30"/>
                    </a:cubicBezTo>
                    <a:cubicBezTo>
                      <a:pt x="13" y="29"/>
                      <a:pt x="13" y="27"/>
                      <a:pt x="11" y="27"/>
                    </a:cubicBezTo>
                    <a:cubicBezTo>
                      <a:pt x="10" y="28"/>
                      <a:pt x="12" y="30"/>
                      <a:pt x="14" y="33"/>
                    </a:cubicBezTo>
                    <a:close/>
                    <a:moveTo>
                      <a:pt x="22" y="48"/>
                    </a:moveTo>
                    <a:cubicBezTo>
                      <a:pt x="23" y="47"/>
                      <a:pt x="20" y="42"/>
                      <a:pt x="19" y="43"/>
                    </a:cubicBezTo>
                    <a:cubicBezTo>
                      <a:pt x="17" y="44"/>
                      <a:pt x="21" y="48"/>
                      <a:pt x="22" y="48"/>
                    </a:cubicBezTo>
                    <a:close/>
                    <a:moveTo>
                      <a:pt x="25" y="52"/>
                    </a:moveTo>
                    <a:cubicBezTo>
                      <a:pt x="26" y="51"/>
                      <a:pt x="24" y="49"/>
                      <a:pt x="24" y="50"/>
                    </a:cubicBezTo>
                    <a:cubicBezTo>
                      <a:pt x="23" y="51"/>
                      <a:pt x="25" y="52"/>
                      <a:pt x="25" y="52"/>
                    </a:cubicBezTo>
                    <a:close/>
                    <a:moveTo>
                      <a:pt x="26" y="55"/>
                    </a:moveTo>
                    <a:cubicBezTo>
                      <a:pt x="27" y="55"/>
                      <a:pt x="28" y="58"/>
                      <a:pt x="28" y="57"/>
                    </a:cubicBezTo>
                    <a:cubicBezTo>
                      <a:pt x="29" y="56"/>
                      <a:pt x="27" y="52"/>
                      <a:pt x="26" y="53"/>
                    </a:cubicBezTo>
                    <a:cubicBezTo>
                      <a:pt x="25" y="54"/>
                      <a:pt x="26" y="55"/>
                      <a:pt x="26" y="55"/>
                    </a:cubicBezTo>
                    <a:close/>
                    <a:moveTo>
                      <a:pt x="49" y="39"/>
                    </a:moveTo>
                    <a:cubicBezTo>
                      <a:pt x="48" y="39"/>
                      <a:pt x="47" y="42"/>
                      <a:pt x="49" y="41"/>
                    </a:cubicBezTo>
                    <a:cubicBezTo>
                      <a:pt x="50" y="41"/>
                      <a:pt x="50" y="39"/>
                      <a:pt x="49" y="39"/>
                    </a:cubicBezTo>
                    <a:close/>
                    <a:moveTo>
                      <a:pt x="50" y="37"/>
                    </a:moveTo>
                    <a:cubicBezTo>
                      <a:pt x="49" y="36"/>
                      <a:pt x="49" y="37"/>
                      <a:pt x="49" y="38"/>
                    </a:cubicBezTo>
                    <a:cubicBezTo>
                      <a:pt x="49" y="39"/>
                      <a:pt x="52" y="39"/>
                      <a:pt x="52" y="39"/>
                    </a:cubicBezTo>
                    <a:cubicBezTo>
                      <a:pt x="52" y="39"/>
                      <a:pt x="51" y="38"/>
                      <a:pt x="50" y="37"/>
                    </a:cubicBezTo>
                    <a:close/>
                    <a:moveTo>
                      <a:pt x="34" y="26"/>
                    </a:moveTo>
                    <a:cubicBezTo>
                      <a:pt x="35" y="26"/>
                      <a:pt x="36" y="24"/>
                      <a:pt x="35" y="23"/>
                    </a:cubicBezTo>
                    <a:cubicBezTo>
                      <a:pt x="34" y="23"/>
                      <a:pt x="33" y="25"/>
                      <a:pt x="34" y="26"/>
                    </a:cubicBezTo>
                    <a:close/>
                    <a:moveTo>
                      <a:pt x="44" y="33"/>
                    </a:moveTo>
                    <a:cubicBezTo>
                      <a:pt x="45" y="33"/>
                      <a:pt x="44" y="31"/>
                      <a:pt x="44" y="31"/>
                    </a:cubicBezTo>
                    <a:cubicBezTo>
                      <a:pt x="43" y="31"/>
                      <a:pt x="43" y="33"/>
                      <a:pt x="44" y="33"/>
                    </a:cubicBezTo>
                    <a:close/>
                    <a:moveTo>
                      <a:pt x="38" y="28"/>
                    </a:moveTo>
                    <a:cubicBezTo>
                      <a:pt x="39" y="29"/>
                      <a:pt x="39" y="29"/>
                      <a:pt x="39" y="28"/>
                    </a:cubicBezTo>
                    <a:cubicBezTo>
                      <a:pt x="39" y="27"/>
                      <a:pt x="37" y="26"/>
                      <a:pt x="36" y="27"/>
                    </a:cubicBezTo>
                    <a:cubicBezTo>
                      <a:pt x="36" y="27"/>
                      <a:pt x="37" y="27"/>
                      <a:pt x="38" y="28"/>
                    </a:cubicBezTo>
                    <a:close/>
                    <a:moveTo>
                      <a:pt x="38" y="31"/>
                    </a:moveTo>
                    <a:cubicBezTo>
                      <a:pt x="39" y="32"/>
                      <a:pt x="39" y="29"/>
                      <a:pt x="38" y="28"/>
                    </a:cubicBezTo>
                    <a:cubicBezTo>
                      <a:pt x="37" y="27"/>
                      <a:pt x="38" y="30"/>
                      <a:pt x="38" y="31"/>
                    </a:cubicBezTo>
                    <a:close/>
                    <a:moveTo>
                      <a:pt x="42" y="32"/>
                    </a:moveTo>
                    <a:cubicBezTo>
                      <a:pt x="42" y="31"/>
                      <a:pt x="40" y="31"/>
                      <a:pt x="40" y="30"/>
                    </a:cubicBezTo>
                    <a:cubicBezTo>
                      <a:pt x="39" y="29"/>
                      <a:pt x="39" y="30"/>
                      <a:pt x="39" y="31"/>
                    </a:cubicBezTo>
                    <a:cubicBezTo>
                      <a:pt x="39" y="32"/>
                      <a:pt x="39" y="32"/>
                      <a:pt x="40" y="32"/>
                    </a:cubicBezTo>
                    <a:cubicBezTo>
                      <a:pt x="41" y="32"/>
                      <a:pt x="42" y="33"/>
                      <a:pt x="42" y="32"/>
                    </a:cubicBezTo>
                    <a:close/>
                    <a:moveTo>
                      <a:pt x="41" y="31"/>
                    </a:moveTo>
                    <a:cubicBezTo>
                      <a:pt x="42" y="31"/>
                      <a:pt x="42" y="31"/>
                      <a:pt x="42" y="31"/>
                    </a:cubicBezTo>
                    <a:cubicBezTo>
                      <a:pt x="42" y="30"/>
                      <a:pt x="40" y="29"/>
                      <a:pt x="40" y="30"/>
                    </a:cubicBezTo>
                    <a:cubicBezTo>
                      <a:pt x="40" y="30"/>
                      <a:pt x="40" y="30"/>
                      <a:pt x="41" y="31"/>
                    </a:cubicBezTo>
                    <a:close/>
                    <a:moveTo>
                      <a:pt x="43" y="34"/>
                    </a:moveTo>
                    <a:cubicBezTo>
                      <a:pt x="43" y="34"/>
                      <a:pt x="43" y="32"/>
                      <a:pt x="43" y="32"/>
                    </a:cubicBezTo>
                    <a:cubicBezTo>
                      <a:pt x="42" y="32"/>
                      <a:pt x="42" y="34"/>
                      <a:pt x="43" y="34"/>
                    </a:cubicBezTo>
                    <a:close/>
                    <a:moveTo>
                      <a:pt x="18" y="38"/>
                    </a:moveTo>
                    <a:cubicBezTo>
                      <a:pt x="17" y="38"/>
                      <a:pt x="16" y="39"/>
                      <a:pt x="17" y="40"/>
                    </a:cubicBezTo>
                    <a:cubicBezTo>
                      <a:pt x="18" y="41"/>
                      <a:pt x="19" y="39"/>
                      <a:pt x="18" y="38"/>
                    </a:cubicBezTo>
                    <a:close/>
                    <a:moveTo>
                      <a:pt x="217" y="48"/>
                    </a:moveTo>
                    <a:cubicBezTo>
                      <a:pt x="220" y="48"/>
                      <a:pt x="218" y="47"/>
                      <a:pt x="214" y="47"/>
                    </a:cubicBezTo>
                    <a:cubicBezTo>
                      <a:pt x="210" y="47"/>
                      <a:pt x="212" y="47"/>
                      <a:pt x="214" y="48"/>
                    </a:cubicBezTo>
                    <a:cubicBezTo>
                      <a:pt x="214" y="49"/>
                      <a:pt x="214" y="49"/>
                      <a:pt x="217" y="48"/>
                    </a:cubicBezTo>
                    <a:close/>
                    <a:moveTo>
                      <a:pt x="215" y="43"/>
                    </a:moveTo>
                    <a:cubicBezTo>
                      <a:pt x="214" y="42"/>
                      <a:pt x="215" y="41"/>
                      <a:pt x="212" y="41"/>
                    </a:cubicBezTo>
                    <a:cubicBezTo>
                      <a:pt x="209" y="40"/>
                      <a:pt x="211" y="42"/>
                      <a:pt x="212" y="43"/>
                    </a:cubicBezTo>
                    <a:cubicBezTo>
                      <a:pt x="214" y="43"/>
                      <a:pt x="212" y="45"/>
                      <a:pt x="215" y="44"/>
                    </a:cubicBezTo>
                    <a:cubicBezTo>
                      <a:pt x="216" y="44"/>
                      <a:pt x="216" y="44"/>
                      <a:pt x="215" y="43"/>
                    </a:cubicBezTo>
                    <a:close/>
                    <a:moveTo>
                      <a:pt x="181" y="87"/>
                    </a:moveTo>
                    <a:cubicBezTo>
                      <a:pt x="181" y="86"/>
                      <a:pt x="179" y="85"/>
                      <a:pt x="181" y="87"/>
                    </a:cubicBezTo>
                    <a:cubicBezTo>
                      <a:pt x="181" y="88"/>
                      <a:pt x="182" y="87"/>
                      <a:pt x="181" y="87"/>
                    </a:cubicBezTo>
                    <a:close/>
                    <a:moveTo>
                      <a:pt x="197" y="73"/>
                    </a:moveTo>
                    <a:cubicBezTo>
                      <a:pt x="197" y="73"/>
                      <a:pt x="196" y="71"/>
                      <a:pt x="196" y="74"/>
                    </a:cubicBezTo>
                    <a:cubicBezTo>
                      <a:pt x="196" y="75"/>
                      <a:pt x="197" y="74"/>
                      <a:pt x="197" y="73"/>
                    </a:cubicBezTo>
                    <a:close/>
                    <a:moveTo>
                      <a:pt x="199" y="70"/>
                    </a:moveTo>
                    <a:cubicBezTo>
                      <a:pt x="199" y="69"/>
                      <a:pt x="197" y="72"/>
                      <a:pt x="197" y="75"/>
                    </a:cubicBezTo>
                    <a:cubicBezTo>
                      <a:pt x="197" y="75"/>
                      <a:pt x="199" y="71"/>
                      <a:pt x="199" y="70"/>
                    </a:cubicBezTo>
                    <a:close/>
                    <a:moveTo>
                      <a:pt x="172" y="88"/>
                    </a:moveTo>
                    <a:cubicBezTo>
                      <a:pt x="171" y="88"/>
                      <a:pt x="170" y="88"/>
                      <a:pt x="171" y="89"/>
                    </a:cubicBezTo>
                    <a:cubicBezTo>
                      <a:pt x="172" y="89"/>
                      <a:pt x="173" y="89"/>
                      <a:pt x="172" y="88"/>
                    </a:cubicBezTo>
                    <a:close/>
                    <a:moveTo>
                      <a:pt x="205" y="76"/>
                    </a:moveTo>
                    <a:cubicBezTo>
                      <a:pt x="204" y="76"/>
                      <a:pt x="204" y="75"/>
                      <a:pt x="204" y="75"/>
                    </a:cubicBezTo>
                    <a:cubicBezTo>
                      <a:pt x="204" y="76"/>
                      <a:pt x="204" y="76"/>
                      <a:pt x="204" y="76"/>
                    </a:cubicBezTo>
                    <a:cubicBezTo>
                      <a:pt x="205" y="77"/>
                      <a:pt x="205" y="77"/>
                      <a:pt x="206" y="78"/>
                    </a:cubicBezTo>
                    <a:cubicBezTo>
                      <a:pt x="206" y="78"/>
                      <a:pt x="206" y="77"/>
                      <a:pt x="205" y="76"/>
                    </a:cubicBezTo>
                    <a:close/>
                    <a:moveTo>
                      <a:pt x="207" y="74"/>
                    </a:moveTo>
                    <a:cubicBezTo>
                      <a:pt x="207" y="71"/>
                      <a:pt x="206" y="70"/>
                      <a:pt x="205" y="72"/>
                    </a:cubicBezTo>
                    <a:cubicBezTo>
                      <a:pt x="205" y="73"/>
                      <a:pt x="204" y="72"/>
                      <a:pt x="204" y="73"/>
                    </a:cubicBezTo>
                    <a:cubicBezTo>
                      <a:pt x="204" y="73"/>
                      <a:pt x="205" y="73"/>
                      <a:pt x="205" y="74"/>
                    </a:cubicBezTo>
                    <a:cubicBezTo>
                      <a:pt x="204" y="76"/>
                      <a:pt x="205" y="76"/>
                      <a:pt x="206" y="77"/>
                    </a:cubicBezTo>
                    <a:cubicBezTo>
                      <a:pt x="207" y="77"/>
                      <a:pt x="207" y="76"/>
                      <a:pt x="207" y="74"/>
                    </a:cubicBezTo>
                    <a:close/>
                    <a:moveTo>
                      <a:pt x="228" y="90"/>
                    </a:moveTo>
                    <a:cubicBezTo>
                      <a:pt x="229" y="90"/>
                      <a:pt x="228" y="89"/>
                      <a:pt x="228" y="89"/>
                    </a:cubicBezTo>
                    <a:cubicBezTo>
                      <a:pt x="228" y="88"/>
                      <a:pt x="228" y="88"/>
                      <a:pt x="227" y="89"/>
                    </a:cubicBezTo>
                    <a:cubicBezTo>
                      <a:pt x="227" y="90"/>
                      <a:pt x="227" y="90"/>
                      <a:pt x="228" y="90"/>
                    </a:cubicBezTo>
                    <a:close/>
                    <a:moveTo>
                      <a:pt x="161" y="52"/>
                    </a:moveTo>
                    <a:cubicBezTo>
                      <a:pt x="162" y="53"/>
                      <a:pt x="162" y="52"/>
                      <a:pt x="162" y="51"/>
                    </a:cubicBezTo>
                    <a:cubicBezTo>
                      <a:pt x="161" y="50"/>
                      <a:pt x="162" y="49"/>
                      <a:pt x="161" y="49"/>
                    </a:cubicBezTo>
                    <a:cubicBezTo>
                      <a:pt x="161" y="50"/>
                      <a:pt x="161" y="51"/>
                      <a:pt x="161" y="52"/>
                    </a:cubicBezTo>
                    <a:close/>
                    <a:moveTo>
                      <a:pt x="168" y="40"/>
                    </a:moveTo>
                    <a:cubicBezTo>
                      <a:pt x="168" y="40"/>
                      <a:pt x="168" y="38"/>
                      <a:pt x="168" y="39"/>
                    </a:cubicBezTo>
                    <a:cubicBezTo>
                      <a:pt x="167" y="39"/>
                      <a:pt x="167" y="40"/>
                      <a:pt x="168" y="40"/>
                    </a:cubicBezTo>
                    <a:close/>
                    <a:moveTo>
                      <a:pt x="171" y="42"/>
                    </a:moveTo>
                    <a:cubicBezTo>
                      <a:pt x="172" y="41"/>
                      <a:pt x="171" y="41"/>
                      <a:pt x="170" y="42"/>
                    </a:cubicBezTo>
                    <a:cubicBezTo>
                      <a:pt x="170" y="42"/>
                      <a:pt x="171" y="43"/>
                      <a:pt x="171" y="42"/>
                    </a:cubicBezTo>
                    <a:close/>
                    <a:moveTo>
                      <a:pt x="174" y="59"/>
                    </a:moveTo>
                    <a:cubicBezTo>
                      <a:pt x="174" y="58"/>
                      <a:pt x="171" y="60"/>
                      <a:pt x="171" y="61"/>
                    </a:cubicBezTo>
                    <a:cubicBezTo>
                      <a:pt x="172" y="61"/>
                      <a:pt x="173" y="60"/>
                      <a:pt x="174" y="59"/>
                    </a:cubicBezTo>
                    <a:close/>
                    <a:moveTo>
                      <a:pt x="168" y="41"/>
                    </a:moveTo>
                    <a:cubicBezTo>
                      <a:pt x="168" y="41"/>
                      <a:pt x="167" y="42"/>
                      <a:pt x="168" y="42"/>
                    </a:cubicBezTo>
                    <a:cubicBezTo>
                      <a:pt x="169" y="42"/>
                      <a:pt x="169" y="42"/>
                      <a:pt x="168" y="41"/>
                    </a:cubicBezTo>
                    <a:close/>
                    <a:moveTo>
                      <a:pt x="186" y="42"/>
                    </a:moveTo>
                    <a:cubicBezTo>
                      <a:pt x="185" y="42"/>
                      <a:pt x="184" y="42"/>
                      <a:pt x="184" y="43"/>
                    </a:cubicBezTo>
                    <a:cubicBezTo>
                      <a:pt x="184" y="43"/>
                      <a:pt x="187" y="42"/>
                      <a:pt x="186" y="42"/>
                    </a:cubicBezTo>
                    <a:close/>
                    <a:moveTo>
                      <a:pt x="49" y="29"/>
                    </a:moveTo>
                    <a:cubicBezTo>
                      <a:pt x="47" y="30"/>
                      <a:pt x="49" y="31"/>
                      <a:pt x="50" y="32"/>
                    </a:cubicBezTo>
                    <a:cubicBezTo>
                      <a:pt x="50" y="32"/>
                      <a:pt x="51" y="28"/>
                      <a:pt x="49" y="29"/>
                    </a:cubicBezTo>
                    <a:close/>
                    <a:moveTo>
                      <a:pt x="47" y="31"/>
                    </a:moveTo>
                    <a:cubicBezTo>
                      <a:pt x="48" y="30"/>
                      <a:pt x="47" y="29"/>
                      <a:pt x="47" y="30"/>
                    </a:cubicBezTo>
                    <a:cubicBezTo>
                      <a:pt x="46" y="30"/>
                      <a:pt x="47" y="31"/>
                      <a:pt x="47" y="31"/>
                    </a:cubicBezTo>
                    <a:close/>
                    <a:moveTo>
                      <a:pt x="48" y="32"/>
                    </a:moveTo>
                    <a:cubicBezTo>
                      <a:pt x="48" y="31"/>
                      <a:pt x="47" y="31"/>
                      <a:pt x="47" y="32"/>
                    </a:cubicBezTo>
                    <a:cubicBezTo>
                      <a:pt x="48" y="33"/>
                      <a:pt x="48" y="32"/>
                      <a:pt x="48" y="32"/>
                    </a:cubicBezTo>
                    <a:close/>
                    <a:moveTo>
                      <a:pt x="157" y="94"/>
                    </a:moveTo>
                    <a:cubicBezTo>
                      <a:pt x="157" y="94"/>
                      <a:pt x="157" y="94"/>
                      <a:pt x="157" y="93"/>
                    </a:cubicBezTo>
                    <a:cubicBezTo>
                      <a:pt x="157" y="92"/>
                      <a:pt x="157" y="94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3"/>
                      <a:pt x="156" y="93"/>
                    </a:cubicBezTo>
                    <a:cubicBezTo>
                      <a:pt x="156" y="93"/>
                      <a:pt x="156" y="94"/>
                      <a:pt x="155" y="94"/>
                    </a:cubicBezTo>
                    <a:cubicBezTo>
                      <a:pt x="154" y="94"/>
                      <a:pt x="155" y="94"/>
                      <a:pt x="154" y="94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3" y="95"/>
                      <a:pt x="153" y="95"/>
                      <a:pt x="153" y="95"/>
                    </a:cubicBezTo>
                    <a:cubicBezTo>
                      <a:pt x="154" y="95"/>
                      <a:pt x="154" y="95"/>
                      <a:pt x="154" y="95"/>
                    </a:cubicBezTo>
                    <a:cubicBezTo>
                      <a:pt x="154" y="95"/>
                      <a:pt x="153" y="95"/>
                      <a:pt x="153" y="96"/>
                    </a:cubicBezTo>
                    <a:cubicBezTo>
                      <a:pt x="153" y="96"/>
                      <a:pt x="153" y="96"/>
                      <a:pt x="153" y="96"/>
                    </a:cubicBezTo>
                    <a:cubicBezTo>
                      <a:pt x="153" y="97"/>
                      <a:pt x="152" y="97"/>
                      <a:pt x="152" y="96"/>
                    </a:cubicBezTo>
                    <a:cubicBezTo>
                      <a:pt x="152" y="96"/>
                      <a:pt x="152" y="96"/>
                      <a:pt x="152" y="96"/>
                    </a:cubicBezTo>
                    <a:cubicBezTo>
                      <a:pt x="152" y="96"/>
                      <a:pt x="152" y="96"/>
                      <a:pt x="151" y="96"/>
                    </a:cubicBezTo>
                    <a:cubicBezTo>
                      <a:pt x="151" y="96"/>
                      <a:pt x="151" y="96"/>
                      <a:pt x="151" y="96"/>
                    </a:cubicBezTo>
                    <a:cubicBezTo>
                      <a:pt x="151" y="96"/>
                      <a:pt x="151" y="96"/>
                      <a:pt x="150" y="97"/>
                    </a:cubicBezTo>
                    <a:cubicBezTo>
                      <a:pt x="150" y="97"/>
                      <a:pt x="150" y="97"/>
                      <a:pt x="149" y="97"/>
                    </a:cubicBezTo>
                    <a:cubicBezTo>
                      <a:pt x="149" y="98"/>
                      <a:pt x="150" y="98"/>
                      <a:pt x="149" y="98"/>
                    </a:cubicBezTo>
                    <a:cubicBezTo>
                      <a:pt x="149" y="99"/>
                      <a:pt x="149" y="98"/>
                      <a:pt x="149" y="99"/>
                    </a:cubicBezTo>
                    <a:cubicBezTo>
                      <a:pt x="149" y="100"/>
                      <a:pt x="149" y="99"/>
                      <a:pt x="149" y="100"/>
                    </a:cubicBezTo>
                    <a:cubicBezTo>
                      <a:pt x="149" y="100"/>
                      <a:pt x="149" y="100"/>
                      <a:pt x="149" y="100"/>
                    </a:cubicBezTo>
                    <a:cubicBezTo>
                      <a:pt x="149" y="100"/>
                      <a:pt x="150" y="100"/>
                      <a:pt x="150" y="100"/>
                    </a:cubicBezTo>
                    <a:cubicBezTo>
                      <a:pt x="150" y="100"/>
                      <a:pt x="150" y="101"/>
                      <a:pt x="149" y="101"/>
                    </a:cubicBezTo>
                    <a:cubicBezTo>
                      <a:pt x="149" y="101"/>
                      <a:pt x="149" y="101"/>
                      <a:pt x="149" y="101"/>
                    </a:cubicBezTo>
                    <a:cubicBezTo>
                      <a:pt x="148" y="101"/>
                      <a:pt x="149" y="101"/>
                      <a:pt x="149" y="101"/>
                    </a:cubicBezTo>
                    <a:cubicBezTo>
                      <a:pt x="148" y="101"/>
                      <a:pt x="148" y="101"/>
                      <a:pt x="148" y="102"/>
                    </a:cubicBezTo>
                    <a:cubicBezTo>
                      <a:pt x="148" y="103"/>
                      <a:pt x="149" y="102"/>
                      <a:pt x="149" y="102"/>
                    </a:cubicBezTo>
                    <a:cubicBezTo>
                      <a:pt x="149" y="102"/>
                      <a:pt x="149" y="102"/>
                      <a:pt x="149" y="102"/>
                    </a:cubicBezTo>
                    <a:cubicBezTo>
                      <a:pt x="150" y="102"/>
                      <a:pt x="150" y="102"/>
                      <a:pt x="150" y="102"/>
                    </a:cubicBezTo>
                    <a:cubicBezTo>
                      <a:pt x="150" y="102"/>
                      <a:pt x="150" y="102"/>
                      <a:pt x="151" y="102"/>
                    </a:cubicBezTo>
                    <a:cubicBezTo>
                      <a:pt x="151" y="102"/>
                      <a:pt x="151" y="102"/>
                      <a:pt x="152" y="101"/>
                    </a:cubicBezTo>
                    <a:cubicBezTo>
                      <a:pt x="152" y="101"/>
                      <a:pt x="153" y="101"/>
                      <a:pt x="153" y="101"/>
                    </a:cubicBezTo>
                    <a:cubicBezTo>
                      <a:pt x="154" y="100"/>
                      <a:pt x="153" y="100"/>
                      <a:pt x="155" y="100"/>
                    </a:cubicBezTo>
                    <a:cubicBezTo>
                      <a:pt x="156" y="99"/>
                      <a:pt x="155" y="98"/>
                      <a:pt x="156" y="98"/>
                    </a:cubicBezTo>
                    <a:cubicBezTo>
                      <a:pt x="157" y="97"/>
                      <a:pt x="156" y="97"/>
                      <a:pt x="156" y="97"/>
                    </a:cubicBezTo>
                    <a:cubicBezTo>
                      <a:pt x="157" y="97"/>
                      <a:pt x="157" y="96"/>
                      <a:pt x="157" y="96"/>
                    </a:cubicBezTo>
                    <a:cubicBezTo>
                      <a:pt x="157" y="96"/>
                      <a:pt x="157" y="96"/>
                      <a:pt x="157" y="96"/>
                    </a:cubicBezTo>
                    <a:cubicBezTo>
                      <a:pt x="156" y="95"/>
                      <a:pt x="156" y="94"/>
                      <a:pt x="157" y="94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32" name="Freeform 20319">
                <a:extLst>
                  <a:ext uri="{FF2B5EF4-FFF2-40B4-BE49-F238E27FC236}">
                    <a16:creationId xmlns:a16="http://schemas.microsoft.com/office/drawing/2014/main" id="{B2B3BB95-C6B0-1746-9410-4E21CC9A8E8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168714" y="4498915"/>
                <a:ext cx="82053" cy="36257"/>
              </a:xfrm>
              <a:custGeom>
                <a:avLst/>
                <a:gdLst/>
                <a:ahLst/>
                <a:cxnLst>
                  <a:cxn ang="0">
                    <a:pos x="17" y="1"/>
                  </a:cxn>
                  <a:cxn ang="0">
                    <a:pos x="16" y="2"/>
                  </a:cxn>
                  <a:cxn ang="0">
                    <a:pos x="15" y="3"/>
                  </a:cxn>
                  <a:cxn ang="0">
                    <a:pos x="14" y="3"/>
                  </a:cxn>
                  <a:cxn ang="0">
                    <a:pos x="13" y="4"/>
                  </a:cxn>
                  <a:cxn ang="0">
                    <a:pos x="12" y="4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9" y="6"/>
                  </a:cxn>
                  <a:cxn ang="0">
                    <a:pos x="7" y="6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9" y="1"/>
                  </a:cxn>
                  <a:cxn ang="0">
                    <a:pos x="10" y="1"/>
                  </a:cxn>
                  <a:cxn ang="0">
                    <a:pos x="11" y="1"/>
                  </a:cxn>
                  <a:cxn ang="0">
                    <a:pos x="12" y="1"/>
                  </a:cxn>
                  <a:cxn ang="0">
                    <a:pos x="14" y="1"/>
                  </a:cxn>
                  <a:cxn ang="0">
                    <a:pos x="15" y="0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8" y="1"/>
                  </a:cxn>
                  <a:cxn ang="0">
                    <a:pos x="17" y="1"/>
                  </a:cxn>
                  <a:cxn ang="0">
                    <a:pos x="0" y="7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2" y="7"/>
                  </a:cxn>
                  <a:cxn ang="0">
                    <a:pos x="2" y="7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7"/>
                  </a:cxn>
                </a:cxnLst>
                <a:rect l="0" t="0" r="r" b="b"/>
                <a:pathLst>
                  <a:path w="18" h="8">
                    <a:moveTo>
                      <a:pt x="17" y="1"/>
                    </a:moveTo>
                    <a:cubicBezTo>
                      <a:pt x="17" y="1"/>
                      <a:pt x="17" y="2"/>
                      <a:pt x="16" y="2"/>
                    </a:cubicBezTo>
                    <a:cubicBezTo>
                      <a:pt x="16" y="3"/>
                      <a:pt x="16" y="2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3" y="4"/>
                      <a:pt x="14" y="4"/>
                      <a:pt x="13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1" y="4"/>
                      <a:pt x="11" y="5"/>
                      <a:pt x="10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9" y="5"/>
                      <a:pt x="9" y="6"/>
                      <a:pt x="9" y="6"/>
                    </a:cubicBezTo>
                    <a:cubicBezTo>
                      <a:pt x="8" y="6"/>
                      <a:pt x="8" y="6"/>
                      <a:pt x="7" y="6"/>
                    </a:cubicBezTo>
                    <a:cubicBezTo>
                      <a:pt x="7" y="7"/>
                      <a:pt x="7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5" y="6"/>
                      <a:pt x="5" y="5"/>
                      <a:pt x="6" y="5"/>
                    </a:cubicBezTo>
                    <a:cubicBezTo>
                      <a:pt x="6" y="5"/>
                      <a:pt x="6" y="5"/>
                      <a:pt x="6" y="4"/>
                    </a:cubicBezTo>
                    <a:cubicBezTo>
                      <a:pt x="6" y="3"/>
                      <a:pt x="6" y="5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5" y="3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7" y="2"/>
                      <a:pt x="8" y="2"/>
                      <a:pt x="8" y="2"/>
                    </a:cubicBezTo>
                    <a:cubicBezTo>
                      <a:pt x="8" y="1"/>
                      <a:pt x="8" y="2"/>
                      <a:pt x="9" y="1"/>
                    </a:cubicBezTo>
                    <a:cubicBezTo>
                      <a:pt x="9" y="1"/>
                      <a:pt x="9" y="2"/>
                      <a:pt x="10" y="1"/>
                    </a:cubicBezTo>
                    <a:cubicBezTo>
                      <a:pt x="10" y="1"/>
                      <a:pt x="11" y="2"/>
                      <a:pt x="11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2"/>
                      <a:pt x="14" y="1"/>
                    </a:cubicBezTo>
                    <a:cubicBezTo>
                      <a:pt x="15" y="0"/>
                      <a:pt x="15" y="1"/>
                      <a:pt x="15" y="0"/>
                    </a:cubicBezTo>
                    <a:cubicBezTo>
                      <a:pt x="16" y="0"/>
                      <a:pt x="16" y="1"/>
                      <a:pt x="17" y="0"/>
                    </a:cubicBezTo>
                    <a:cubicBezTo>
                      <a:pt x="17" y="0"/>
                      <a:pt x="17" y="1"/>
                      <a:pt x="17" y="1"/>
                    </a:cubicBezTo>
                    <a:cubicBezTo>
                      <a:pt x="18" y="1"/>
                      <a:pt x="17" y="1"/>
                      <a:pt x="18" y="1"/>
                    </a:cubicBezTo>
                    <a:cubicBezTo>
                      <a:pt x="18" y="1"/>
                      <a:pt x="18" y="1"/>
                      <a:pt x="17" y="1"/>
                    </a:cubicBezTo>
                    <a:close/>
                    <a:moveTo>
                      <a:pt x="0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6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</p:grp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02D3B03-DE55-534D-AAA8-87B92DA1E11C}"/>
              </a:ext>
            </a:extLst>
          </p:cNvPr>
          <p:cNvGrpSpPr/>
          <p:nvPr/>
        </p:nvGrpSpPr>
        <p:grpSpPr>
          <a:xfrm>
            <a:off x="2416261" y="2623939"/>
            <a:ext cx="1304665" cy="2106321"/>
            <a:chOff x="2258356" y="3596199"/>
            <a:chExt cx="1292027" cy="2394528"/>
          </a:xfrm>
          <a:solidFill>
            <a:schemeClr val="tx2"/>
          </a:solidFill>
        </p:grpSpPr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8CC158C2-03E0-5C4C-BA37-6055AD6A4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7442" y="3834614"/>
              <a:ext cx="43483" cy="17188"/>
            </a:xfrm>
            <a:custGeom>
              <a:avLst/>
              <a:gdLst>
                <a:gd name="T0" fmla="*/ 0 w 524"/>
                <a:gd name="T1" fmla="*/ 155 h 207"/>
                <a:gd name="T2" fmla="*/ 0 w 524"/>
                <a:gd name="T3" fmla="*/ 155 h 207"/>
                <a:gd name="T4" fmla="*/ 314 w 524"/>
                <a:gd name="T5" fmla="*/ 50 h 207"/>
                <a:gd name="T6" fmla="*/ 365 w 524"/>
                <a:gd name="T7" fmla="*/ 206 h 207"/>
                <a:gd name="T8" fmla="*/ 158 w 524"/>
                <a:gd name="T9" fmla="*/ 206 h 207"/>
                <a:gd name="T10" fmla="*/ 0 w 524"/>
                <a:gd name="T11" fmla="*/ 15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4" h="207">
                  <a:moveTo>
                    <a:pt x="0" y="155"/>
                  </a:moveTo>
                  <a:lnTo>
                    <a:pt x="0" y="155"/>
                  </a:lnTo>
                  <a:cubicBezTo>
                    <a:pt x="0" y="0"/>
                    <a:pt x="105" y="0"/>
                    <a:pt x="314" y="50"/>
                  </a:cubicBezTo>
                  <a:cubicBezTo>
                    <a:pt x="523" y="50"/>
                    <a:pt x="469" y="155"/>
                    <a:pt x="365" y="206"/>
                  </a:cubicBezTo>
                  <a:cubicBezTo>
                    <a:pt x="209" y="206"/>
                    <a:pt x="263" y="155"/>
                    <a:pt x="158" y="206"/>
                  </a:cubicBezTo>
                  <a:cubicBezTo>
                    <a:pt x="0" y="206"/>
                    <a:pt x="54" y="206"/>
                    <a:pt x="0" y="155"/>
                  </a:cubicBezTo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sz="675" dirty="0">
                <a:latin typeface="Calibri" panose="020F0502020204030204" pitchFamily="34" charset="0"/>
              </a:endParaRPr>
            </a:p>
          </p:txBody>
        </p:sp>
        <p:sp>
          <p:nvSpPr>
            <p:cNvPr id="78" name="Freeform 20119">
              <a:extLst>
                <a:ext uri="{FF2B5EF4-FFF2-40B4-BE49-F238E27FC236}">
                  <a16:creationId xmlns:a16="http://schemas.microsoft.com/office/drawing/2014/main" id="{E8091A04-2582-F14F-B120-6D105DAAC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5782" y="3833101"/>
              <a:ext cx="27335" cy="72893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1" y="4"/>
                </a:cxn>
                <a:cxn ang="0">
                  <a:pos x="0" y="5"/>
                </a:cxn>
                <a:cxn ang="0">
                  <a:pos x="0" y="17"/>
                </a:cxn>
                <a:cxn ang="0">
                  <a:pos x="1" y="17"/>
                </a:cxn>
                <a:cxn ang="0">
                  <a:pos x="4" y="13"/>
                </a:cxn>
                <a:cxn ang="0">
                  <a:pos x="5" y="3"/>
                </a:cxn>
                <a:cxn ang="0">
                  <a:pos x="5" y="1"/>
                </a:cxn>
                <a:cxn ang="0">
                  <a:pos x="4" y="1"/>
                </a:cxn>
              </a:cxnLst>
              <a:rect l="0" t="0" r="r" b="b"/>
              <a:pathLst>
                <a:path w="6" h="17">
                  <a:moveTo>
                    <a:pt x="4" y="1"/>
                  </a:moveTo>
                  <a:cubicBezTo>
                    <a:pt x="2" y="0"/>
                    <a:pt x="2" y="4"/>
                    <a:pt x="1" y="4"/>
                  </a:cubicBezTo>
                  <a:cubicBezTo>
                    <a:pt x="1" y="5"/>
                    <a:pt x="0" y="3"/>
                    <a:pt x="0" y="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6"/>
                    <a:pt x="3" y="15"/>
                    <a:pt x="4" y="13"/>
                  </a:cubicBezTo>
                  <a:cubicBezTo>
                    <a:pt x="5" y="12"/>
                    <a:pt x="4" y="6"/>
                    <a:pt x="5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2"/>
                    <a:pt x="4" y="2"/>
                    <a:pt x="4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79" name="Freeform 20120">
              <a:extLst>
                <a:ext uri="{FF2B5EF4-FFF2-40B4-BE49-F238E27FC236}">
                  <a16:creationId xmlns:a16="http://schemas.microsoft.com/office/drawing/2014/main" id="{0ED02287-0C73-9444-B0B2-6CF460147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7674" y="4596654"/>
              <a:ext cx="289749" cy="37722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3" y="6"/>
                </a:cxn>
                <a:cxn ang="0">
                  <a:pos x="24" y="4"/>
                </a:cxn>
                <a:cxn ang="0">
                  <a:pos x="27" y="17"/>
                </a:cxn>
                <a:cxn ang="0">
                  <a:pos x="37" y="22"/>
                </a:cxn>
                <a:cxn ang="0">
                  <a:pos x="41" y="25"/>
                </a:cxn>
                <a:cxn ang="0">
                  <a:pos x="48" y="27"/>
                </a:cxn>
                <a:cxn ang="0">
                  <a:pos x="52" y="44"/>
                </a:cxn>
                <a:cxn ang="0">
                  <a:pos x="60" y="45"/>
                </a:cxn>
                <a:cxn ang="0">
                  <a:pos x="62" y="51"/>
                </a:cxn>
                <a:cxn ang="0">
                  <a:pos x="63" y="61"/>
                </a:cxn>
                <a:cxn ang="0">
                  <a:pos x="62" y="66"/>
                </a:cxn>
                <a:cxn ang="0">
                  <a:pos x="61" y="69"/>
                </a:cxn>
                <a:cxn ang="0">
                  <a:pos x="59" y="66"/>
                </a:cxn>
                <a:cxn ang="0">
                  <a:pos x="50" y="64"/>
                </a:cxn>
                <a:cxn ang="0">
                  <a:pos x="42" y="67"/>
                </a:cxn>
                <a:cxn ang="0">
                  <a:pos x="40" y="74"/>
                </a:cxn>
                <a:cxn ang="0">
                  <a:pos x="38" y="83"/>
                </a:cxn>
                <a:cxn ang="0">
                  <a:pos x="36" y="81"/>
                </a:cxn>
                <a:cxn ang="0">
                  <a:pos x="32" y="81"/>
                </a:cxn>
                <a:cxn ang="0">
                  <a:pos x="29" y="86"/>
                </a:cxn>
                <a:cxn ang="0">
                  <a:pos x="23" y="82"/>
                </a:cxn>
                <a:cxn ang="0">
                  <a:pos x="19" y="79"/>
                </a:cxn>
                <a:cxn ang="0">
                  <a:pos x="17" y="82"/>
                </a:cxn>
                <a:cxn ang="0">
                  <a:pos x="14" y="86"/>
                </a:cxn>
                <a:cxn ang="0">
                  <a:pos x="10" y="84"/>
                </a:cxn>
                <a:cxn ang="0">
                  <a:pos x="8" y="74"/>
                </a:cxn>
                <a:cxn ang="0">
                  <a:pos x="7" y="71"/>
                </a:cxn>
                <a:cxn ang="0">
                  <a:pos x="7" y="68"/>
                </a:cxn>
                <a:cxn ang="0">
                  <a:pos x="7" y="65"/>
                </a:cxn>
                <a:cxn ang="0">
                  <a:pos x="6" y="62"/>
                </a:cxn>
                <a:cxn ang="0">
                  <a:pos x="4" y="56"/>
                </a:cxn>
                <a:cxn ang="0">
                  <a:pos x="2" y="51"/>
                </a:cxn>
                <a:cxn ang="0">
                  <a:pos x="3" y="43"/>
                </a:cxn>
                <a:cxn ang="0">
                  <a:pos x="3" y="36"/>
                </a:cxn>
                <a:cxn ang="0">
                  <a:pos x="5" y="29"/>
                </a:cxn>
                <a:cxn ang="0">
                  <a:pos x="6" y="20"/>
                </a:cxn>
                <a:cxn ang="0">
                  <a:pos x="2" y="10"/>
                </a:cxn>
              </a:cxnLst>
              <a:rect l="0" t="0" r="r" b="b"/>
              <a:pathLst>
                <a:path w="67" h="87">
                  <a:moveTo>
                    <a:pt x="2" y="10"/>
                  </a:moveTo>
                  <a:cubicBezTo>
                    <a:pt x="8" y="12"/>
                    <a:pt x="7" y="11"/>
                    <a:pt x="13" y="6"/>
                  </a:cubicBezTo>
                  <a:cubicBezTo>
                    <a:pt x="18" y="2"/>
                    <a:pt x="26" y="0"/>
                    <a:pt x="24" y="4"/>
                  </a:cubicBezTo>
                  <a:cubicBezTo>
                    <a:pt x="23" y="9"/>
                    <a:pt x="23" y="13"/>
                    <a:pt x="27" y="17"/>
                  </a:cubicBezTo>
                  <a:cubicBezTo>
                    <a:pt x="31" y="21"/>
                    <a:pt x="33" y="19"/>
                    <a:pt x="37" y="22"/>
                  </a:cubicBezTo>
                  <a:cubicBezTo>
                    <a:pt x="40" y="25"/>
                    <a:pt x="39" y="23"/>
                    <a:pt x="41" y="25"/>
                  </a:cubicBezTo>
                  <a:cubicBezTo>
                    <a:pt x="44" y="28"/>
                    <a:pt x="45" y="24"/>
                    <a:pt x="48" y="27"/>
                  </a:cubicBezTo>
                  <a:cubicBezTo>
                    <a:pt x="51" y="30"/>
                    <a:pt x="49" y="43"/>
                    <a:pt x="52" y="44"/>
                  </a:cubicBezTo>
                  <a:cubicBezTo>
                    <a:pt x="55" y="44"/>
                    <a:pt x="61" y="43"/>
                    <a:pt x="60" y="45"/>
                  </a:cubicBezTo>
                  <a:cubicBezTo>
                    <a:pt x="59" y="47"/>
                    <a:pt x="59" y="50"/>
                    <a:pt x="62" y="51"/>
                  </a:cubicBezTo>
                  <a:cubicBezTo>
                    <a:pt x="67" y="53"/>
                    <a:pt x="63" y="60"/>
                    <a:pt x="63" y="61"/>
                  </a:cubicBezTo>
                  <a:cubicBezTo>
                    <a:pt x="64" y="63"/>
                    <a:pt x="62" y="65"/>
                    <a:pt x="62" y="66"/>
                  </a:cubicBezTo>
                  <a:cubicBezTo>
                    <a:pt x="63" y="68"/>
                    <a:pt x="63" y="68"/>
                    <a:pt x="61" y="69"/>
                  </a:cubicBezTo>
                  <a:cubicBezTo>
                    <a:pt x="61" y="67"/>
                    <a:pt x="62" y="67"/>
                    <a:pt x="59" y="66"/>
                  </a:cubicBezTo>
                  <a:cubicBezTo>
                    <a:pt x="57" y="64"/>
                    <a:pt x="56" y="62"/>
                    <a:pt x="50" y="64"/>
                  </a:cubicBezTo>
                  <a:cubicBezTo>
                    <a:pt x="44" y="65"/>
                    <a:pt x="43" y="64"/>
                    <a:pt x="42" y="67"/>
                  </a:cubicBezTo>
                  <a:cubicBezTo>
                    <a:pt x="41" y="70"/>
                    <a:pt x="40" y="70"/>
                    <a:pt x="40" y="74"/>
                  </a:cubicBezTo>
                  <a:cubicBezTo>
                    <a:pt x="40" y="77"/>
                    <a:pt x="38" y="81"/>
                    <a:pt x="38" y="83"/>
                  </a:cubicBezTo>
                  <a:cubicBezTo>
                    <a:pt x="37" y="82"/>
                    <a:pt x="37" y="81"/>
                    <a:pt x="36" y="81"/>
                  </a:cubicBezTo>
                  <a:cubicBezTo>
                    <a:pt x="35" y="81"/>
                    <a:pt x="34" y="81"/>
                    <a:pt x="32" y="81"/>
                  </a:cubicBezTo>
                  <a:cubicBezTo>
                    <a:pt x="31" y="81"/>
                    <a:pt x="30" y="82"/>
                    <a:pt x="29" y="86"/>
                  </a:cubicBezTo>
                  <a:cubicBezTo>
                    <a:pt x="28" y="81"/>
                    <a:pt x="26" y="81"/>
                    <a:pt x="23" y="82"/>
                  </a:cubicBezTo>
                  <a:cubicBezTo>
                    <a:pt x="20" y="82"/>
                    <a:pt x="20" y="79"/>
                    <a:pt x="19" y="79"/>
                  </a:cubicBezTo>
                  <a:cubicBezTo>
                    <a:pt x="18" y="80"/>
                    <a:pt x="19" y="81"/>
                    <a:pt x="17" y="82"/>
                  </a:cubicBezTo>
                  <a:cubicBezTo>
                    <a:pt x="16" y="83"/>
                    <a:pt x="16" y="85"/>
                    <a:pt x="14" y="86"/>
                  </a:cubicBezTo>
                  <a:cubicBezTo>
                    <a:pt x="12" y="87"/>
                    <a:pt x="11" y="87"/>
                    <a:pt x="10" y="84"/>
                  </a:cubicBezTo>
                  <a:cubicBezTo>
                    <a:pt x="10" y="80"/>
                    <a:pt x="9" y="74"/>
                    <a:pt x="8" y="74"/>
                  </a:cubicBezTo>
                  <a:cubicBezTo>
                    <a:pt x="6" y="74"/>
                    <a:pt x="8" y="72"/>
                    <a:pt x="7" y="71"/>
                  </a:cubicBezTo>
                  <a:cubicBezTo>
                    <a:pt x="6" y="71"/>
                    <a:pt x="6" y="70"/>
                    <a:pt x="7" y="68"/>
                  </a:cubicBezTo>
                  <a:cubicBezTo>
                    <a:pt x="8" y="67"/>
                    <a:pt x="5" y="67"/>
                    <a:pt x="7" y="65"/>
                  </a:cubicBezTo>
                  <a:cubicBezTo>
                    <a:pt x="8" y="64"/>
                    <a:pt x="7" y="64"/>
                    <a:pt x="6" y="62"/>
                  </a:cubicBezTo>
                  <a:cubicBezTo>
                    <a:pt x="5" y="62"/>
                    <a:pt x="4" y="57"/>
                    <a:pt x="4" y="56"/>
                  </a:cubicBezTo>
                  <a:cubicBezTo>
                    <a:pt x="4" y="55"/>
                    <a:pt x="3" y="55"/>
                    <a:pt x="2" y="51"/>
                  </a:cubicBezTo>
                  <a:cubicBezTo>
                    <a:pt x="2" y="49"/>
                    <a:pt x="7" y="45"/>
                    <a:pt x="3" y="43"/>
                  </a:cubicBezTo>
                  <a:cubicBezTo>
                    <a:pt x="0" y="41"/>
                    <a:pt x="5" y="39"/>
                    <a:pt x="3" y="36"/>
                  </a:cubicBezTo>
                  <a:cubicBezTo>
                    <a:pt x="1" y="33"/>
                    <a:pt x="6" y="32"/>
                    <a:pt x="5" y="29"/>
                  </a:cubicBezTo>
                  <a:cubicBezTo>
                    <a:pt x="4" y="25"/>
                    <a:pt x="6" y="20"/>
                    <a:pt x="6" y="20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0" name="Freeform 20121">
              <a:extLst>
                <a:ext uri="{FF2B5EF4-FFF2-40B4-BE49-F238E27FC236}">
                  <a16:creationId xmlns:a16="http://schemas.microsoft.com/office/drawing/2014/main" id="{5A4EB422-E7D1-9749-B9D6-4DF7A495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681" y="4864532"/>
              <a:ext cx="189521" cy="246012"/>
            </a:xfrm>
            <a:custGeom>
              <a:avLst/>
              <a:gdLst/>
              <a:ahLst/>
              <a:cxnLst>
                <a:cxn ang="0">
                  <a:pos x="41" y="42"/>
                </a:cxn>
                <a:cxn ang="0">
                  <a:pos x="41" y="48"/>
                </a:cxn>
                <a:cxn ang="0">
                  <a:pos x="37" y="54"/>
                </a:cxn>
                <a:cxn ang="0">
                  <a:pos x="33" y="55"/>
                </a:cxn>
                <a:cxn ang="0">
                  <a:pos x="24" y="54"/>
                </a:cxn>
                <a:cxn ang="0">
                  <a:pos x="21" y="53"/>
                </a:cxn>
                <a:cxn ang="0">
                  <a:pos x="23" y="50"/>
                </a:cxn>
                <a:cxn ang="0">
                  <a:pos x="24" y="46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15" y="34"/>
                </a:cxn>
                <a:cxn ang="0">
                  <a:pos x="8" y="30"/>
                </a:cxn>
                <a:cxn ang="0">
                  <a:pos x="2" y="24"/>
                </a:cxn>
                <a:cxn ang="0">
                  <a:pos x="0" y="21"/>
                </a:cxn>
                <a:cxn ang="0">
                  <a:pos x="2" y="12"/>
                </a:cxn>
                <a:cxn ang="0">
                  <a:pos x="4" y="5"/>
                </a:cxn>
                <a:cxn ang="0">
                  <a:pos x="12" y="2"/>
                </a:cxn>
                <a:cxn ang="0">
                  <a:pos x="21" y="4"/>
                </a:cxn>
                <a:cxn ang="0">
                  <a:pos x="23" y="7"/>
                </a:cxn>
                <a:cxn ang="0">
                  <a:pos x="25" y="14"/>
                </a:cxn>
                <a:cxn ang="0">
                  <a:pos x="24" y="19"/>
                </a:cxn>
                <a:cxn ang="0">
                  <a:pos x="31" y="20"/>
                </a:cxn>
                <a:cxn ang="0">
                  <a:pos x="36" y="22"/>
                </a:cxn>
                <a:cxn ang="0">
                  <a:pos x="38" y="32"/>
                </a:cxn>
                <a:cxn ang="0">
                  <a:pos x="42" y="31"/>
                </a:cxn>
                <a:cxn ang="0">
                  <a:pos x="41" y="42"/>
                </a:cxn>
              </a:cxnLst>
              <a:rect l="0" t="0" r="r" b="b"/>
              <a:pathLst>
                <a:path w="44" h="57">
                  <a:moveTo>
                    <a:pt x="41" y="42"/>
                  </a:moveTo>
                  <a:cubicBezTo>
                    <a:pt x="42" y="46"/>
                    <a:pt x="41" y="45"/>
                    <a:pt x="41" y="48"/>
                  </a:cubicBezTo>
                  <a:cubicBezTo>
                    <a:pt x="40" y="51"/>
                    <a:pt x="37" y="51"/>
                    <a:pt x="37" y="54"/>
                  </a:cubicBezTo>
                  <a:cubicBezTo>
                    <a:pt x="36" y="57"/>
                    <a:pt x="35" y="52"/>
                    <a:pt x="33" y="55"/>
                  </a:cubicBezTo>
                  <a:cubicBezTo>
                    <a:pt x="30" y="57"/>
                    <a:pt x="28" y="54"/>
                    <a:pt x="24" y="54"/>
                  </a:cubicBezTo>
                  <a:cubicBezTo>
                    <a:pt x="21" y="54"/>
                    <a:pt x="21" y="55"/>
                    <a:pt x="21" y="53"/>
                  </a:cubicBezTo>
                  <a:cubicBezTo>
                    <a:pt x="20" y="52"/>
                    <a:pt x="22" y="52"/>
                    <a:pt x="23" y="50"/>
                  </a:cubicBezTo>
                  <a:cubicBezTo>
                    <a:pt x="24" y="48"/>
                    <a:pt x="22" y="47"/>
                    <a:pt x="24" y="46"/>
                  </a:cubicBezTo>
                  <a:cubicBezTo>
                    <a:pt x="26" y="45"/>
                    <a:pt x="24" y="45"/>
                    <a:pt x="26" y="42"/>
                  </a:cubicBezTo>
                  <a:cubicBezTo>
                    <a:pt x="27" y="41"/>
                    <a:pt x="24" y="38"/>
                    <a:pt x="23" y="38"/>
                  </a:cubicBezTo>
                  <a:cubicBezTo>
                    <a:pt x="21" y="38"/>
                    <a:pt x="19" y="37"/>
                    <a:pt x="15" y="34"/>
                  </a:cubicBezTo>
                  <a:cubicBezTo>
                    <a:pt x="12" y="31"/>
                    <a:pt x="9" y="32"/>
                    <a:pt x="8" y="30"/>
                  </a:cubicBezTo>
                  <a:cubicBezTo>
                    <a:pt x="7" y="28"/>
                    <a:pt x="4" y="28"/>
                    <a:pt x="2" y="24"/>
                  </a:cubicBezTo>
                  <a:cubicBezTo>
                    <a:pt x="1" y="21"/>
                    <a:pt x="1" y="22"/>
                    <a:pt x="0" y="21"/>
                  </a:cubicBezTo>
                  <a:cubicBezTo>
                    <a:pt x="0" y="19"/>
                    <a:pt x="2" y="15"/>
                    <a:pt x="2" y="12"/>
                  </a:cubicBezTo>
                  <a:cubicBezTo>
                    <a:pt x="2" y="8"/>
                    <a:pt x="3" y="8"/>
                    <a:pt x="4" y="5"/>
                  </a:cubicBezTo>
                  <a:cubicBezTo>
                    <a:pt x="5" y="2"/>
                    <a:pt x="6" y="3"/>
                    <a:pt x="12" y="2"/>
                  </a:cubicBezTo>
                  <a:cubicBezTo>
                    <a:pt x="18" y="0"/>
                    <a:pt x="19" y="2"/>
                    <a:pt x="21" y="4"/>
                  </a:cubicBezTo>
                  <a:cubicBezTo>
                    <a:pt x="24" y="5"/>
                    <a:pt x="23" y="5"/>
                    <a:pt x="23" y="7"/>
                  </a:cubicBezTo>
                  <a:cubicBezTo>
                    <a:pt x="23" y="9"/>
                    <a:pt x="26" y="12"/>
                    <a:pt x="25" y="14"/>
                  </a:cubicBezTo>
                  <a:cubicBezTo>
                    <a:pt x="24" y="17"/>
                    <a:pt x="25" y="17"/>
                    <a:pt x="24" y="19"/>
                  </a:cubicBezTo>
                  <a:cubicBezTo>
                    <a:pt x="24" y="20"/>
                    <a:pt x="31" y="21"/>
                    <a:pt x="31" y="20"/>
                  </a:cubicBezTo>
                  <a:cubicBezTo>
                    <a:pt x="32" y="19"/>
                    <a:pt x="35" y="20"/>
                    <a:pt x="36" y="22"/>
                  </a:cubicBezTo>
                  <a:cubicBezTo>
                    <a:pt x="38" y="30"/>
                    <a:pt x="36" y="32"/>
                    <a:pt x="38" y="32"/>
                  </a:cubicBezTo>
                  <a:cubicBezTo>
                    <a:pt x="40" y="32"/>
                    <a:pt x="41" y="30"/>
                    <a:pt x="42" y="31"/>
                  </a:cubicBezTo>
                  <a:cubicBezTo>
                    <a:pt x="44" y="33"/>
                    <a:pt x="43" y="41"/>
                    <a:pt x="41" y="4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1" name="Freeform 20122">
              <a:extLst>
                <a:ext uri="{FF2B5EF4-FFF2-40B4-BE49-F238E27FC236}">
                  <a16:creationId xmlns:a16="http://schemas.microsoft.com/office/drawing/2014/main" id="{3C44C883-3FA5-8545-9C00-1CB28AA6F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2797" y="5170683"/>
              <a:ext cx="129385" cy="156719"/>
            </a:xfrm>
            <a:custGeom>
              <a:avLst/>
              <a:gdLst/>
              <a:ahLst/>
              <a:cxnLst>
                <a:cxn ang="0">
                  <a:pos x="27" y="27"/>
                </a:cxn>
                <a:cxn ang="0">
                  <a:pos x="21" y="34"/>
                </a:cxn>
                <a:cxn ang="0">
                  <a:pos x="14" y="34"/>
                </a:cxn>
                <a:cxn ang="0">
                  <a:pos x="6" y="31"/>
                </a:cxn>
                <a:cxn ang="0">
                  <a:pos x="1" y="29"/>
                </a:cxn>
                <a:cxn ang="0">
                  <a:pos x="2" y="22"/>
                </a:cxn>
                <a:cxn ang="0">
                  <a:pos x="2" y="13"/>
                </a:cxn>
                <a:cxn ang="0">
                  <a:pos x="3" y="9"/>
                </a:cxn>
                <a:cxn ang="0">
                  <a:pos x="5" y="2"/>
                </a:cxn>
                <a:cxn ang="0">
                  <a:pos x="11" y="3"/>
                </a:cxn>
                <a:cxn ang="0">
                  <a:pos x="15" y="8"/>
                </a:cxn>
                <a:cxn ang="0">
                  <a:pos x="19" y="10"/>
                </a:cxn>
                <a:cxn ang="0">
                  <a:pos x="23" y="14"/>
                </a:cxn>
                <a:cxn ang="0">
                  <a:pos x="27" y="18"/>
                </a:cxn>
                <a:cxn ang="0">
                  <a:pos x="27" y="27"/>
                </a:cxn>
              </a:cxnLst>
              <a:rect l="0" t="0" r="r" b="b"/>
              <a:pathLst>
                <a:path w="30" h="36">
                  <a:moveTo>
                    <a:pt x="27" y="27"/>
                  </a:moveTo>
                  <a:cubicBezTo>
                    <a:pt x="25" y="31"/>
                    <a:pt x="23" y="32"/>
                    <a:pt x="21" y="34"/>
                  </a:cubicBezTo>
                  <a:cubicBezTo>
                    <a:pt x="18" y="36"/>
                    <a:pt x="17" y="33"/>
                    <a:pt x="14" y="34"/>
                  </a:cubicBezTo>
                  <a:cubicBezTo>
                    <a:pt x="12" y="35"/>
                    <a:pt x="8" y="31"/>
                    <a:pt x="6" y="31"/>
                  </a:cubicBezTo>
                  <a:cubicBezTo>
                    <a:pt x="3" y="31"/>
                    <a:pt x="1" y="29"/>
                    <a:pt x="1" y="29"/>
                  </a:cubicBezTo>
                  <a:cubicBezTo>
                    <a:pt x="0" y="27"/>
                    <a:pt x="0" y="23"/>
                    <a:pt x="2" y="22"/>
                  </a:cubicBezTo>
                  <a:cubicBezTo>
                    <a:pt x="4" y="21"/>
                    <a:pt x="1" y="15"/>
                    <a:pt x="2" y="13"/>
                  </a:cubicBezTo>
                  <a:cubicBezTo>
                    <a:pt x="4" y="12"/>
                    <a:pt x="1" y="12"/>
                    <a:pt x="3" y="9"/>
                  </a:cubicBezTo>
                  <a:cubicBezTo>
                    <a:pt x="5" y="6"/>
                    <a:pt x="3" y="5"/>
                    <a:pt x="5" y="2"/>
                  </a:cubicBezTo>
                  <a:cubicBezTo>
                    <a:pt x="7" y="5"/>
                    <a:pt x="7" y="0"/>
                    <a:pt x="11" y="3"/>
                  </a:cubicBezTo>
                  <a:cubicBezTo>
                    <a:pt x="14" y="6"/>
                    <a:pt x="12" y="9"/>
                    <a:pt x="15" y="8"/>
                  </a:cubicBezTo>
                  <a:cubicBezTo>
                    <a:pt x="17" y="6"/>
                    <a:pt x="16" y="9"/>
                    <a:pt x="19" y="10"/>
                  </a:cubicBezTo>
                  <a:cubicBezTo>
                    <a:pt x="22" y="12"/>
                    <a:pt x="21" y="12"/>
                    <a:pt x="23" y="14"/>
                  </a:cubicBezTo>
                  <a:cubicBezTo>
                    <a:pt x="26" y="15"/>
                    <a:pt x="25" y="15"/>
                    <a:pt x="27" y="18"/>
                  </a:cubicBezTo>
                  <a:cubicBezTo>
                    <a:pt x="30" y="22"/>
                    <a:pt x="25" y="22"/>
                    <a:pt x="27" y="2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2" name="Freeform 20123">
              <a:extLst>
                <a:ext uri="{FF2B5EF4-FFF2-40B4-BE49-F238E27FC236}">
                  <a16:creationId xmlns:a16="http://schemas.microsoft.com/office/drawing/2014/main" id="{59F72B5B-E3D3-0F4C-B6D9-08C0EB6B6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5260" y="4337885"/>
              <a:ext cx="293393" cy="504782"/>
            </a:xfrm>
            <a:custGeom>
              <a:avLst/>
              <a:gdLst/>
              <a:ahLst/>
              <a:cxnLst>
                <a:cxn ang="0">
                  <a:pos x="61" y="27"/>
                </a:cxn>
                <a:cxn ang="0">
                  <a:pos x="56" y="27"/>
                </a:cxn>
                <a:cxn ang="0">
                  <a:pos x="47" y="32"/>
                </a:cxn>
                <a:cxn ang="0">
                  <a:pos x="42" y="43"/>
                </a:cxn>
                <a:cxn ang="0">
                  <a:pos x="44" y="59"/>
                </a:cxn>
                <a:cxn ang="0">
                  <a:pos x="49" y="62"/>
                </a:cxn>
                <a:cxn ang="0">
                  <a:pos x="56" y="62"/>
                </a:cxn>
                <a:cxn ang="0">
                  <a:pos x="58" y="70"/>
                </a:cxn>
                <a:cxn ang="0">
                  <a:pos x="63" y="70"/>
                </a:cxn>
                <a:cxn ang="0">
                  <a:pos x="67" y="80"/>
                </a:cxn>
                <a:cxn ang="0">
                  <a:pos x="66" y="89"/>
                </a:cxn>
                <a:cxn ang="0">
                  <a:pos x="64" y="96"/>
                </a:cxn>
                <a:cxn ang="0">
                  <a:pos x="64" y="103"/>
                </a:cxn>
                <a:cxn ang="0">
                  <a:pos x="63" y="111"/>
                </a:cxn>
                <a:cxn ang="0">
                  <a:pos x="61" y="113"/>
                </a:cxn>
                <a:cxn ang="0">
                  <a:pos x="58" y="117"/>
                </a:cxn>
                <a:cxn ang="0">
                  <a:pos x="53" y="112"/>
                </a:cxn>
                <a:cxn ang="0">
                  <a:pos x="43" y="104"/>
                </a:cxn>
                <a:cxn ang="0">
                  <a:pos x="33" y="96"/>
                </a:cxn>
                <a:cxn ang="0">
                  <a:pos x="28" y="87"/>
                </a:cxn>
                <a:cxn ang="0">
                  <a:pos x="23" y="77"/>
                </a:cxn>
                <a:cxn ang="0">
                  <a:pos x="20" y="70"/>
                </a:cxn>
                <a:cxn ang="0">
                  <a:pos x="15" y="55"/>
                </a:cxn>
                <a:cxn ang="0">
                  <a:pos x="9" y="45"/>
                </a:cxn>
                <a:cxn ang="0">
                  <a:pos x="3" y="37"/>
                </a:cxn>
                <a:cxn ang="0">
                  <a:pos x="2" y="34"/>
                </a:cxn>
                <a:cxn ang="0">
                  <a:pos x="7" y="22"/>
                </a:cxn>
                <a:cxn ang="0">
                  <a:pos x="6" y="28"/>
                </a:cxn>
                <a:cxn ang="0">
                  <a:pos x="10" y="29"/>
                </a:cxn>
                <a:cxn ang="0">
                  <a:pos x="14" y="31"/>
                </a:cxn>
                <a:cxn ang="0">
                  <a:pos x="17" y="23"/>
                </a:cxn>
                <a:cxn ang="0">
                  <a:pos x="31" y="12"/>
                </a:cxn>
                <a:cxn ang="0">
                  <a:pos x="33" y="1"/>
                </a:cxn>
                <a:cxn ang="0">
                  <a:pos x="36" y="3"/>
                </a:cxn>
                <a:cxn ang="0">
                  <a:pos x="40" y="8"/>
                </a:cxn>
                <a:cxn ang="0">
                  <a:pos x="46" y="16"/>
                </a:cxn>
                <a:cxn ang="0">
                  <a:pos x="56" y="15"/>
                </a:cxn>
                <a:cxn ang="0">
                  <a:pos x="60" y="18"/>
                </a:cxn>
                <a:cxn ang="0">
                  <a:pos x="58" y="25"/>
                </a:cxn>
                <a:cxn ang="0">
                  <a:pos x="61" y="27"/>
                </a:cxn>
              </a:cxnLst>
              <a:rect l="0" t="0" r="r" b="b"/>
              <a:pathLst>
                <a:path w="68" h="117">
                  <a:moveTo>
                    <a:pt x="61" y="27"/>
                  </a:moveTo>
                  <a:cubicBezTo>
                    <a:pt x="58" y="29"/>
                    <a:pt x="60" y="25"/>
                    <a:pt x="56" y="27"/>
                  </a:cubicBezTo>
                  <a:cubicBezTo>
                    <a:pt x="52" y="30"/>
                    <a:pt x="51" y="29"/>
                    <a:pt x="47" y="32"/>
                  </a:cubicBezTo>
                  <a:cubicBezTo>
                    <a:pt x="44" y="36"/>
                    <a:pt x="46" y="41"/>
                    <a:pt x="42" y="43"/>
                  </a:cubicBezTo>
                  <a:cubicBezTo>
                    <a:pt x="36" y="48"/>
                    <a:pt x="45" y="56"/>
                    <a:pt x="44" y="59"/>
                  </a:cubicBezTo>
                  <a:cubicBezTo>
                    <a:pt x="43" y="62"/>
                    <a:pt x="49" y="58"/>
                    <a:pt x="49" y="62"/>
                  </a:cubicBezTo>
                  <a:cubicBezTo>
                    <a:pt x="48" y="67"/>
                    <a:pt x="55" y="64"/>
                    <a:pt x="56" y="62"/>
                  </a:cubicBezTo>
                  <a:cubicBezTo>
                    <a:pt x="58" y="59"/>
                    <a:pt x="56" y="70"/>
                    <a:pt x="58" y="70"/>
                  </a:cubicBezTo>
                  <a:cubicBezTo>
                    <a:pt x="60" y="71"/>
                    <a:pt x="60" y="69"/>
                    <a:pt x="63" y="7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80"/>
                    <a:pt x="65" y="85"/>
                    <a:pt x="66" y="89"/>
                  </a:cubicBezTo>
                  <a:cubicBezTo>
                    <a:pt x="67" y="92"/>
                    <a:pt x="62" y="93"/>
                    <a:pt x="64" y="96"/>
                  </a:cubicBezTo>
                  <a:cubicBezTo>
                    <a:pt x="66" y="99"/>
                    <a:pt x="61" y="101"/>
                    <a:pt x="64" y="103"/>
                  </a:cubicBezTo>
                  <a:cubicBezTo>
                    <a:pt x="68" y="105"/>
                    <a:pt x="63" y="109"/>
                    <a:pt x="63" y="111"/>
                  </a:cubicBezTo>
                  <a:cubicBezTo>
                    <a:pt x="63" y="111"/>
                    <a:pt x="63" y="113"/>
                    <a:pt x="61" y="113"/>
                  </a:cubicBezTo>
                  <a:cubicBezTo>
                    <a:pt x="60" y="113"/>
                    <a:pt x="64" y="115"/>
                    <a:pt x="58" y="117"/>
                  </a:cubicBezTo>
                  <a:cubicBezTo>
                    <a:pt x="57" y="115"/>
                    <a:pt x="54" y="115"/>
                    <a:pt x="53" y="112"/>
                  </a:cubicBezTo>
                  <a:cubicBezTo>
                    <a:pt x="53" y="109"/>
                    <a:pt x="51" y="109"/>
                    <a:pt x="43" y="104"/>
                  </a:cubicBezTo>
                  <a:cubicBezTo>
                    <a:pt x="34" y="100"/>
                    <a:pt x="34" y="98"/>
                    <a:pt x="33" y="96"/>
                  </a:cubicBezTo>
                  <a:cubicBezTo>
                    <a:pt x="31" y="94"/>
                    <a:pt x="27" y="92"/>
                    <a:pt x="28" y="87"/>
                  </a:cubicBezTo>
                  <a:cubicBezTo>
                    <a:pt x="28" y="82"/>
                    <a:pt x="23" y="80"/>
                    <a:pt x="23" y="77"/>
                  </a:cubicBezTo>
                  <a:cubicBezTo>
                    <a:pt x="23" y="74"/>
                    <a:pt x="21" y="74"/>
                    <a:pt x="20" y="70"/>
                  </a:cubicBezTo>
                  <a:cubicBezTo>
                    <a:pt x="20" y="66"/>
                    <a:pt x="16" y="60"/>
                    <a:pt x="15" y="55"/>
                  </a:cubicBezTo>
                  <a:cubicBezTo>
                    <a:pt x="14" y="51"/>
                    <a:pt x="11" y="51"/>
                    <a:pt x="9" y="45"/>
                  </a:cubicBezTo>
                  <a:cubicBezTo>
                    <a:pt x="8" y="41"/>
                    <a:pt x="0" y="40"/>
                    <a:pt x="3" y="37"/>
                  </a:cubicBezTo>
                  <a:cubicBezTo>
                    <a:pt x="6" y="36"/>
                    <a:pt x="3" y="36"/>
                    <a:pt x="2" y="34"/>
                  </a:cubicBezTo>
                  <a:cubicBezTo>
                    <a:pt x="1" y="31"/>
                    <a:pt x="1" y="28"/>
                    <a:pt x="7" y="22"/>
                  </a:cubicBezTo>
                  <a:cubicBezTo>
                    <a:pt x="9" y="26"/>
                    <a:pt x="5" y="26"/>
                    <a:pt x="6" y="28"/>
                  </a:cubicBezTo>
                  <a:cubicBezTo>
                    <a:pt x="6" y="30"/>
                    <a:pt x="7" y="28"/>
                    <a:pt x="10" y="29"/>
                  </a:cubicBezTo>
                  <a:cubicBezTo>
                    <a:pt x="12" y="29"/>
                    <a:pt x="12" y="33"/>
                    <a:pt x="14" y="31"/>
                  </a:cubicBezTo>
                  <a:cubicBezTo>
                    <a:pt x="16" y="29"/>
                    <a:pt x="14" y="29"/>
                    <a:pt x="17" y="23"/>
                  </a:cubicBezTo>
                  <a:cubicBezTo>
                    <a:pt x="20" y="18"/>
                    <a:pt x="28" y="16"/>
                    <a:pt x="31" y="12"/>
                  </a:cubicBezTo>
                  <a:cubicBezTo>
                    <a:pt x="33" y="7"/>
                    <a:pt x="33" y="6"/>
                    <a:pt x="33" y="1"/>
                  </a:cubicBezTo>
                  <a:cubicBezTo>
                    <a:pt x="34" y="0"/>
                    <a:pt x="34" y="2"/>
                    <a:pt x="36" y="3"/>
                  </a:cubicBezTo>
                  <a:cubicBezTo>
                    <a:pt x="39" y="4"/>
                    <a:pt x="37" y="6"/>
                    <a:pt x="40" y="8"/>
                  </a:cubicBezTo>
                  <a:cubicBezTo>
                    <a:pt x="44" y="10"/>
                    <a:pt x="43" y="16"/>
                    <a:pt x="46" y="16"/>
                  </a:cubicBezTo>
                  <a:cubicBezTo>
                    <a:pt x="50" y="16"/>
                    <a:pt x="52" y="14"/>
                    <a:pt x="56" y="15"/>
                  </a:cubicBezTo>
                  <a:cubicBezTo>
                    <a:pt x="61" y="17"/>
                    <a:pt x="61" y="17"/>
                    <a:pt x="60" y="18"/>
                  </a:cubicBezTo>
                  <a:cubicBezTo>
                    <a:pt x="58" y="22"/>
                    <a:pt x="56" y="26"/>
                    <a:pt x="58" y="25"/>
                  </a:cubicBezTo>
                  <a:cubicBezTo>
                    <a:pt x="60" y="25"/>
                    <a:pt x="60" y="26"/>
                    <a:pt x="61" y="2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3" name="Freeform 20124">
              <a:extLst>
                <a:ext uri="{FF2B5EF4-FFF2-40B4-BE49-F238E27FC236}">
                  <a16:creationId xmlns:a16="http://schemas.microsoft.com/office/drawing/2014/main" id="{27E0F027-A34D-064C-BC26-F42BEEA0E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283" y="4002577"/>
              <a:ext cx="280636" cy="451935"/>
            </a:xfrm>
            <a:custGeom>
              <a:avLst/>
              <a:gdLst/>
              <a:ahLst/>
              <a:cxnLst>
                <a:cxn ang="0">
                  <a:pos x="42" y="4"/>
                </a:cxn>
                <a:cxn ang="0">
                  <a:pos x="40" y="1"/>
                </a:cxn>
                <a:cxn ang="0">
                  <a:pos x="34" y="5"/>
                </a:cxn>
                <a:cxn ang="0">
                  <a:pos x="26" y="8"/>
                </a:cxn>
                <a:cxn ang="0">
                  <a:pos x="22" y="9"/>
                </a:cxn>
                <a:cxn ang="0">
                  <a:pos x="19" y="16"/>
                </a:cxn>
                <a:cxn ang="0">
                  <a:pos x="16" y="21"/>
                </a:cxn>
                <a:cxn ang="0">
                  <a:pos x="13" y="26"/>
                </a:cxn>
                <a:cxn ang="0">
                  <a:pos x="10" y="24"/>
                </a:cxn>
                <a:cxn ang="0">
                  <a:pos x="11" y="29"/>
                </a:cxn>
                <a:cxn ang="0">
                  <a:pos x="10" y="31"/>
                </a:cxn>
                <a:cxn ang="0">
                  <a:pos x="8" y="30"/>
                </a:cxn>
                <a:cxn ang="0">
                  <a:pos x="7" y="33"/>
                </a:cxn>
                <a:cxn ang="0">
                  <a:pos x="8" y="35"/>
                </a:cxn>
                <a:cxn ang="0">
                  <a:pos x="9" y="37"/>
                </a:cxn>
                <a:cxn ang="0">
                  <a:pos x="10" y="41"/>
                </a:cxn>
                <a:cxn ang="0">
                  <a:pos x="9" y="47"/>
                </a:cxn>
                <a:cxn ang="0">
                  <a:pos x="10" y="56"/>
                </a:cxn>
                <a:cxn ang="0">
                  <a:pos x="7" y="63"/>
                </a:cxn>
                <a:cxn ang="0">
                  <a:pos x="3" y="66"/>
                </a:cxn>
                <a:cxn ang="0">
                  <a:pos x="2" y="70"/>
                </a:cxn>
                <a:cxn ang="0">
                  <a:pos x="8" y="74"/>
                </a:cxn>
                <a:cxn ang="0">
                  <a:pos x="10" y="76"/>
                </a:cxn>
                <a:cxn ang="0">
                  <a:pos x="15" y="77"/>
                </a:cxn>
                <a:cxn ang="0">
                  <a:pos x="17" y="77"/>
                </a:cxn>
                <a:cxn ang="0">
                  <a:pos x="21" y="79"/>
                </a:cxn>
                <a:cxn ang="0">
                  <a:pos x="24" y="81"/>
                </a:cxn>
                <a:cxn ang="0">
                  <a:pos x="28" y="86"/>
                </a:cxn>
                <a:cxn ang="0">
                  <a:pos x="34" y="94"/>
                </a:cxn>
                <a:cxn ang="0">
                  <a:pos x="44" y="93"/>
                </a:cxn>
                <a:cxn ang="0">
                  <a:pos x="48" y="96"/>
                </a:cxn>
                <a:cxn ang="0">
                  <a:pos x="46" y="103"/>
                </a:cxn>
                <a:cxn ang="0">
                  <a:pos x="49" y="105"/>
                </a:cxn>
                <a:cxn ang="0">
                  <a:pos x="51" y="90"/>
                </a:cxn>
                <a:cxn ang="0">
                  <a:pos x="51" y="83"/>
                </a:cxn>
                <a:cxn ang="0">
                  <a:pos x="48" y="76"/>
                </a:cxn>
                <a:cxn ang="0">
                  <a:pos x="51" y="74"/>
                </a:cxn>
                <a:cxn ang="0">
                  <a:pos x="53" y="75"/>
                </a:cxn>
                <a:cxn ang="0">
                  <a:pos x="52" y="72"/>
                </a:cxn>
                <a:cxn ang="0">
                  <a:pos x="49" y="72"/>
                </a:cxn>
                <a:cxn ang="0">
                  <a:pos x="49" y="68"/>
                </a:cxn>
                <a:cxn ang="0">
                  <a:pos x="58" y="68"/>
                </a:cxn>
                <a:cxn ang="0">
                  <a:pos x="59" y="67"/>
                </a:cxn>
                <a:cxn ang="0">
                  <a:pos x="62" y="65"/>
                </a:cxn>
                <a:cxn ang="0">
                  <a:pos x="65" y="71"/>
                </a:cxn>
                <a:cxn ang="0">
                  <a:pos x="62" y="63"/>
                </a:cxn>
                <a:cxn ang="0">
                  <a:pos x="60" y="61"/>
                </a:cxn>
                <a:cxn ang="0">
                  <a:pos x="62" y="58"/>
                </a:cxn>
                <a:cxn ang="0">
                  <a:pos x="60" y="52"/>
                </a:cxn>
                <a:cxn ang="0">
                  <a:pos x="62" y="40"/>
                </a:cxn>
                <a:cxn ang="0">
                  <a:pos x="52" y="40"/>
                </a:cxn>
                <a:cxn ang="0">
                  <a:pos x="47" y="35"/>
                </a:cxn>
                <a:cxn ang="0">
                  <a:pos x="40" y="35"/>
                </a:cxn>
                <a:cxn ang="0">
                  <a:pos x="36" y="32"/>
                </a:cxn>
                <a:cxn ang="0">
                  <a:pos x="36" y="26"/>
                </a:cxn>
                <a:cxn ang="0">
                  <a:pos x="32" y="21"/>
                </a:cxn>
                <a:cxn ang="0">
                  <a:pos x="32" y="19"/>
                </a:cxn>
                <a:cxn ang="0">
                  <a:pos x="36" y="9"/>
                </a:cxn>
                <a:cxn ang="0">
                  <a:pos x="42" y="4"/>
                </a:cxn>
              </a:cxnLst>
              <a:rect l="0" t="0" r="r" b="b"/>
              <a:pathLst>
                <a:path w="65" h="105">
                  <a:moveTo>
                    <a:pt x="42" y="4"/>
                  </a:moveTo>
                  <a:cubicBezTo>
                    <a:pt x="43" y="3"/>
                    <a:pt x="44" y="0"/>
                    <a:pt x="40" y="1"/>
                  </a:cubicBezTo>
                  <a:cubicBezTo>
                    <a:pt x="37" y="1"/>
                    <a:pt x="39" y="2"/>
                    <a:pt x="34" y="5"/>
                  </a:cubicBezTo>
                  <a:cubicBezTo>
                    <a:pt x="28" y="10"/>
                    <a:pt x="27" y="5"/>
                    <a:pt x="26" y="8"/>
                  </a:cubicBezTo>
                  <a:cubicBezTo>
                    <a:pt x="25" y="11"/>
                    <a:pt x="23" y="7"/>
                    <a:pt x="22" y="9"/>
                  </a:cubicBezTo>
                  <a:cubicBezTo>
                    <a:pt x="21" y="11"/>
                    <a:pt x="19" y="11"/>
                    <a:pt x="19" y="16"/>
                  </a:cubicBezTo>
                  <a:cubicBezTo>
                    <a:pt x="20" y="22"/>
                    <a:pt x="17" y="18"/>
                    <a:pt x="16" y="21"/>
                  </a:cubicBezTo>
                  <a:cubicBezTo>
                    <a:pt x="16" y="24"/>
                    <a:pt x="12" y="23"/>
                    <a:pt x="13" y="26"/>
                  </a:cubicBezTo>
                  <a:cubicBezTo>
                    <a:pt x="14" y="31"/>
                    <a:pt x="12" y="27"/>
                    <a:pt x="10" y="24"/>
                  </a:cubicBezTo>
                  <a:cubicBezTo>
                    <a:pt x="9" y="26"/>
                    <a:pt x="12" y="29"/>
                    <a:pt x="11" y="29"/>
                  </a:cubicBezTo>
                  <a:cubicBezTo>
                    <a:pt x="10" y="29"/>
                    <a:pt x="11" y="30"/>
                    <a:pt x="10" y="31"/>
                  </a:cubicBezTo>
                  <a:cubicBezTo>
                    <a:pt x="9" y="32"/>
                    <a:pt x="8" y="30"/>
                    <a:pt x="8" y="30"/>
                  </a:cubicBezTo>
                  <a:cubicBezTo>
                    <a:pt x="7" y="32"/>
                    <a:pt x="8" y="31"/>
                    <a:pt x="7" y="33"/>
                  </a:cubicBezTo>
                  <a:cubicBezTo>
                    <a:pt x="8" y="34"/>
                    <a:pt x="8" y="34"/>
                    <a:pt x="8" y="35"/>
                  </a:cubicBezTo>
                  <a:cubicBezTo>
                    <a:pt x="8" y="36"/>
                    <a:pt x="8" y="36"/>
                    <a:pt x="9" y="37"/>
                  </a:cubicBezTo>
                  <a:cubicBezTo>
                    <a:pt x="12" y="38"/>
                    <a:pt x="9" y="40"/>
                    <a:pt x="10" y="41"/>
                  </a:cubicBezTo>
                  <a:cubicBezTo>
                    <a:pt x="12" y="44"/>
                    <a:pt x="8" y="42"/>
                    <a:pt x="9" y="47"/>
                  </a:cubicBezTo>
                  <a:cubicBezTo>
                    <a:pt x="10" y="52"/>
                    <a:pt x="8" y="55"/>
                    <a:pt x="10" y="56"/>
                  </a:cubicBezTo>
                  <a:cubicBezTo>
                    <a:pt x="11" y="56"/>
                    <a:pt x="9" y="63"/>
                    <a:pt x="7" y="63"/>
                  </a:cubicBezTo>
                  <a:cubicBezTo>
                    <a:pt x="4" y="63"/>
                    <a:pt x="3" y="63"/>
                    <a:pt x="3" y="66"/>
                  </a:cubicBezTo>
                  <a:cubicBezTo>
                    <a:pt x="4" y="68"/>
                    <a:pt x="0" y="66"/>
                    <a:pt x="2" y="70"/>
                  </a:cubicBezTo>
                  <a:cubicBezTo>
                    <a:pt x="6" y="73"/>
                    <a:pt x="7" y="74"/>
                    <a:pt x="8" y="74"/>
                  </a:cubicBezTo>
                  <a:cubicBezTo>
                    <a:pt x="8" y="74"/>
                    <a:pt x="10" y="75"/>
                    <a:pt x="10" y="76"/>
                  </a:cubicBezTo>
                  <a:cubicBezTo>
                    <a:pt x="10" y="77"/>
                    <a:pt x="15" y="78"/>
                    <a:pt x="15" y="77"/>
                  </a:cubicBezTo>
                  <a:cubicBezTo>
                    <a:pt x="15" y="76"/>
                    <a:pt x="16" y="75"/>
                    <a:pt x="17" y="77"/>
                  </a:cubicBezTo>
                  <a:cubicBezTo>
                    <a:pt x="18" y="79"/>
                    <a:pt x="19" y="79"/>
                    <a:pt x="21" y="79"/>
                  </a:cubicBezTo>
                  <a:cubicBezTo>
                    <a:pt x="22" y="78"/>
                    <a:pt x="22" y="80"/>
                    <a:pt x="24" y="81"/>
                  </a:cubicBezTo>
                  <a:cubicBezTo>
                    <a:pt x="27" y="82"/>
                    <a:pt x="25" y="84"/>
                    <a:pt x="28" y="86"/>
                  </a:cubicBezTo>
                  <a:cubicBezTo>
                    <a:pt x="32" y="88"/>
                    <a:pt x="31" y="94"/>
                    <a:pt x="34" y="94"/>
                  </a:cubicBezTo>
                  <a:cubicBezTo>
                    <a:pt x="38" y="94"/>
                    <a:pt x="40" y="92"/>
                    <a:pt x="44" y="93"/>
                  </a:cubicBezTo>
                  <a:cubicBezTo>
                    <a:pt x="49" y="95"/>
                    <a:pt x="49" y="95"/>
                    <a:pt x="48" y="96"/>
                  </a:cubicBezTo>
                  <a:cubicBezTo>
                    <a:pt x="46" y="100"/>
                    <a:pt x="44" y="104"/>
                    <a:pt x="46" y="103"/>
                  </a:cubicBezTo>
                  <a:cubicBezTo>
                    <a:pt x="48" y="103"/>
                    <a:pt x="48" y="104"/>
                    <a:pt x="49" y="105"/>
                  </a:cubicBezTo>
                  <a:cubicBezTo>
                    <a:pt x="49" y="104"/>
                    <a:pt x="50" y="94"/>
                    <a:pt x="51" y="90"/>
                  </a:cubicBezTo>
                  <a:cubicBezTo>
                    <a:pt x="52" y="85"/>
                    <a:pt x="50" y="85"/>
                    <a:pt x="51" y="83"/>
                  </a:cubicBezTo>
                  <a:cubicBezTo>
                    <a:pt x="51" y="81"/>
                    <a:pt x="49" y="84"/>
                    <a:pt x="48" y="76"/>
                  </a:cubicBezTo>
                  <a:cubicBezTo>
                    <a:pt x="48" y="74"/>
                    <a:pt x="50" y="75"/>
                    <a:pt x="51" y="74"/>
                  </a:cubicBezTo>
                  <a:cubicBezTo>
                    <a:pt x="51" y="74"/>
                    <a:pt x="52" y="75"/>
                    <a:pt x="53" y="75"/>
                  </a:cubicBezTo>
                  <a:cubicBezTo>
                    <a:pt x="53" y="76"/>
                    <a:pt x="53" y="72"/>
                    <a:pt x="52" y="72"/>
                  </a:cubicBezTo>
                  <a:cubicBezTo>
                    <a:pt x="50" y="72"/>
                    <a:pt x="49" y="72"/>
                    <a:pt x="49" y="72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7" y="67"/>
                    <a:pt x="57" y="65"/>
                    <a:pt x="59" y="67"/>
                  </a:cubicBezTo>
                  <a:cubicBezTo>
                    <a:pt x="60" y="69"/>
                    <a:pt x="61" y="65"/>
                    <a:pt x="62" y="65"/>
                  </a:cubicBezTo>
                  <a:cubicBezTo>
                    <a:pt x="65" y="69"/>
                    <a:pt x="62" y="72"/>
                    <a:pt x="65" y="71"/>
                  </a:cubicBezTo>
                  <a:cubicBezTo>
                    <a:pt x="63" y="65"/>
                    <a:pt x="64" y="64"/>
                    <a:pt x="62" y="63"/>
                  </a:cubicBezTo>
                  <a:cubicBezTo>
                    <a:pt x="61" y="62"/>
                    <a:pt x="61" y="61"/>
                    <a:pt x="60" y="61"/>
                  </a:cubicBezTo>
                  <a:cubicBezTo>
                    <a:pt x="59" y="62"/>
                    <a:pt x="59" y="61"/>
                    <a:pt x="62" y="58"/>
                  </a:cubicBezTo>
                  <a:cubicBezTo>
                    <a:pt x="63" y="57"/>
                    <a:pt x="61" y="56"/>
                    <a:pt x="60" y="52"/>
                  </a:cubicBezTo>
                  <a:cubicBezTo>
                    <a:pt x="58" y="46"/>
                    <a:pt x="63" y="40"/>
                    <a:pt x="62" y="40"/>
                  </a:cubicBezTo>
                  <a:cubicBezTo>
                    <a:pt x="57" y="39"/>
                    <a:pt x="57" y="41"/>
                    <a:pt x="52" y="40"/>
                  </a:cubicBezTo>
                  <a:cubicBezTo>
                    <a:pt x="50" y="40"/>
                    <a:pt x="49" y="34"/>
                    <a:pt x="47" y="35"/>
                  </a:cubicBezTo>
                  <a:cubicBezTo>
                    <a:pt x="46" y="36"/>
                    <a:pt x="45" y="34"/>
                    <a:pt x="40" y="35"/>
                  </a:cubicBezTo>
                  <a:cubicBezTo>
                    <a:pt x="36" y="35"/>
                    <a:pt x="39" y="33"/>
                    <a:pt x="36" y="32"/>
                  </a:cubicBezTo>
                  <a:cubicBezTo>
                    <a:pt x="34" y="32"/>
                    <a:pt x="38" y="27"/>
                    <a:pt x="36" y="26"/>
                  </a:cubicBezTo>
                  <a:cubicBezTo>
                    <a:pt x="33" y="24"/>
                    <a:pt x="35" y="20"/>
                    <a:pt x="32" y="21"/>
                  </a:cubicBezTo>
                  <a:cubicBezTo>
                    <a:pt x="30" y="21"/>
                    <a:pt x="31" y="21"/>
                    <a:pt x="32" y="19"/>
                  </a:cubicBezTo>
                  <a:cubicBezTo>
                    <a:pt x="34" y="18"/>
                    <a:pt x="33" y="10"/>
                    <a:pt x="36" y="9"/>
                  </a:cubicBezTo>
                  <a:cubicBezTo>
                    <a:pt x="39" y="7"/>
                    <a:pt x="35" y="5"/>
                    <a:pt x="42" y="4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4" name="Freeform 20125">
              <a:extLst>
                <a:ext uri="{FF2B5EF4-FFF2-40B4-BE49-F238E27FC236}">
                  <a16:creationId xmlns:a16="http://schemas.microsoft.com/office/drawing/2014/main" id="{EB7B9AB2-4546-2744-9EC6-F1D2ED34F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4438" y="4110093"/>
              <a:ext cx="125740" cy="202278"/>
            </a:xfrm>
            <a:custGeom>
              <a:avLst/>
              <a:gdLst/>
              <a:ahLst/>
              <a:cxnLst>
                <a:cxn ang="0">
                  <a:pos x="29" y="42"/>
                </a:cxn>
                <a:cxn ang="0">
                  <a:pos x="25" y="41"/>
                </a:cxn>
                <a:cxn ang="0">
                  <a:pos x="20" y="44"/>
                </a:cxn>
                <a:cxn ang="0">
                  <a:pos x="17" y="46"/>
                </a:cxn>
                <a:cxn ang="0">
                  <a:pos x="12" y="41"/>
                </a:cxn>
                <a:cxn ang="0">
                  <a:pos x="11" y="36"/>
                </a:cxn>
                <a:cxn ang="0">
                  <a:pos x="12" y="30"/>
                </a:cxn>
                <a:cxn ang="0">
                  <a:pos x="10" y="24"/>
                </a:cxn>
                <a:cxn ang="0">
                  <a:pos x="9" y="21"/>
                </a:cxn>
                <a:cxn ang="0">
                  <a:pos x="7" y="21"/>
                </a:cxn>
                <a:cxn ang="0">
                  <a:pos x="5" y="14"/>
                </a:cxn>
                <a:cxn ang="0">
                  <a:pos x="7" y="11"/>
                </a:cxn>
                <a:cxn ang="0">
                  <a:pos x="9" y="9"/>
                </a:cxn>
                <a:cxn ang="0">
                  <a:pos x="7" y="6"/>
                </a:cxn>
                <a:cxn ang="0">
                  <a:pos x="11" y="0"/>
                </a:cxn>
                <a:cxn ang="0">
                  <a:pos x="12" y="1"/>
                </a:cxn>
                <a:cxn ang="0">
                  <a:pos x="18" y="8"/>
                </a:cxn>
                <a:cxn ang="0">
                  <a:pos x="21" y="11"/>
                </a:cxn>
                <a:cxn ang="0">
                  <a:pos x="24" y="14"/>
                </a:cxn>
                <a:cxn ang="0">
                  <a:pos x="26" y="17"/>
                </a:cxn>
                <a:cxn ang="0">
                  <a:pos x="25" y="21"/>
                </a:cxn>
                <a:cxn ang="0">
                  <a:pos x="23" y="23"/>
                </a:cxn>
                <a:cxn ang="0">
                  <a:pos x="21" y="24"/>
                </a:cxn>
                <a:cxn ang="0">
                  <a:pos x="21" y="27"/>
                </a:cxn>
                <a:cxn ang="0">
                  <a:pos x="23" y="32"/>
                </a:cxn>
                <a:cxn ang="0">
                  <a:pos x="25" y="33"/>
                </a:cxn>
                <a:cxn ang="0">
                  <a:pos x="26" y="37"/>
                </a:cxn>
                <a:cxn ang="0">
                  <a:pos x="29" y="42"/>
                </a:cxn>
              </a:cxnLst>
              <a:rect l="0" t="0" r="r" b="b"/>
              <a:pathLst>
                <a:path w="29" h="47">
                  <a:moveTo>
                    <a:pt x="29" y="42"/>
                  </a:moveTo>
                  <a:cubicBezTo>
                    <a:pt x="26" y="42"/>
                    <a:pt x="27" y="41"/>
                    <a:pt x="25" y="41"/>
                  </a:cubicBezTo>
                  <a:cubicBezTo>
                    <a:pt x="23" y="42"/>
                    <a:pt x="22" y="45"/>
                    <a:pt x="20" y="44"/>
                  </a:cubicBezTo>
                  <a:cubicBezTo>
                    <a:pt x="18" y="44"/>
                    <a:pt x="19" y="45"/>
                    <a:pt x="17" y="46"/>
                  </a:cubicBezTo>
                  <a:cubicBezTo>
                    <a:pt x="16" y="47"/>
                    <a:pt x="12" y="44"/>
                    <a:pt x="12" y="41"/>
                  </a:cubicBezTo>
                  <a:cubicBezTo>
                    <a:pt x="12" y="38"/>
                    <a:pt x="10" y="40"/>
                    <a:pt x="11" y="36"/>
                  </a:cubicBezTo>
                  <a:cubicBezTo>
                    <a:pt x="12" y="32"/>
                    <a:pt x="12" y="32"/>
                    <a:pt x="12" y="30"/>
                  </a:cubicBezTo>
                  <a:cubicBezTo>
                    <a:pt x="14" y="26"/>
                    <a:pt x="9" y="27"/>
                    <a:pt x="10" y="24"/>
                  </a:cubicBezTo>
                  <a:cubicBezTo>
                    <a:pt x="11" y="22"/>
                    <a:pt x="10" y="20"/>
                    <a:pt x="9" y="21"/>
                  </a:cubicBezTo>
                  <a:cubicBezTo>
                    <a:pt x="8" y="21"/>
                    <a:pt x="7" y="21"/>
                    <a:pt x="7" y="21"/>
                  </a:cubicBezTo>
                  <a:cubicBezTo>
                    <a:pt x="0" y="15"/>
                    <a:pt x="6" y="17"/>
                    <a:pt x="5" y="14"/>
                  </a:cubicBezTo>
                  <a:cubicBezTo>
                    <a:pt x="4" y="11"/>
                    <a:pt x="4" y="12"/>
                    <a:pt x="7" y="11"/>
                  </a:cubicBezTo>
                  <a:cubicBezTo>
                    <a:pt x="9" y="10"/>
                    <a:pt x="9" y="10"/>
                    <a:pt x="9" y="9"/>
                  </a:cubicBezTo>
                  <a:cubicBezTo>
                    <a:pt x="8" y="7"/>
                    <a:pt x="6" y="7"/>
                    <a:pt x="7" y="6"/>
                  </a:cubicBezTo>
                  <a:cubicBezTo>
                    <a:pt x="8" y="4"/>
                    <a:pt x="13" y="3"/>
                    <a:pt x="11" y="0"/>
                  </a:cubicBezTo>
                  <a:cubicBezTo>
                    <a:pt x="11" y="1"/>
                    <a:pt x="12" y="1"/>
                    <a:pt x="12" y="1"/>
                  </a:cubicBezTo>
                  <a:cubicBezTo>
                    <a:pt x="17" y="4"/>
                    <a:pt x="19" y="6"/>
                    <a:pt x="18" y="8"/>
                  </a:cubicBezTo>
                  <a:cubicBezTo>
                    <a:pt x="18" y="11"/>
                    <a:pt x="17" y="10"/>
                    <a:pt x="21" y="11"/>
                  </a:cubicBezTo>
                  <a:cubicBezTo>
                    <a:pt x="24" y="12"/>
                    <a:pt x="22" y="14"/>
                    <a:pt x="24" y="14"/>
                  </a:cubicBezTo>
                  <a:cubicBezTo>
                    <a:pt x="25" y="14"/>
                    <a:pt x="25" y="16"/>
                    <a:pt x="26" y="17"/>
                  </a:cubicBezTo>
                  <a:cubicBezTo>
                    <a:pt x="26" y="19"/>
                    <a:pt x="25" y="20"/>
                    <a:pt x="25" y="21"/>
                  </a:cubicBezTo>
                  <a:cubicBezTo>
                    <a:pt x="25" y="22"/>
                    <a:pt x="25" y="22"/>
                    <a:pt x="23" y="23"/>
                  </a:cubicBezTo>
                  <a:cubicBezTo>
                    <a:pt x="21" y="23"/>
                    <a:pt x="21" y="23"/>
                    <a:pt x="21" y="24"/>
                  </a:cubicBezTo>
                  <a:cubicBezTo>
                    <a:pt x="22" y="25"/>
                    <a:pt x="22" y="25"/>
                    <a:pt x="21" y="27"/>
                  </a:cubicBezTo>
                  <a:cubicBezTo>
                    <a:pt x="20" y="30"/>
                    <a:pt x="22" y="30"/>
                    <a:pt x="23" y="32"/>
                  </a:cubicBezTo>
                  <a:cubicBezTo>
                    <a:pt x="23" y="34"/>
                    <a:pt x="24" y="32"/>
                    <a:pt x="25" y="33"/>
                  </a:cubicBezTo>
                  <a:cubicBezTo>
                    <a:pt x="25" y="34"/>
                    <a:pt x="24" y="35"/>
                    <a:pt x="26" y="37"/>
                  </a:cubicBezTo>
                  <a:cubicBezTo>
                    <a:pt x="27" y="38"/>
                    <a:pt x="27" y="40"/>
                    <a:pt x="29" y="4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5" name="Freeform 20126">
              <a:extLst>
                <a:ext uri="{FF2B5EF4-FFF2-40B4-BE49-F238E27FC236}">
                  <a16:creationId xmlns:a16="http://schemas.microsoft.com/office/drawing/2014/main" id="{1ABA7E1E-302B-8B46-A889-6D90C82C3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0088" y="4173876"/>
              <a:ext cx="94760" cy="125740"/>
            </a:xfrm>
            <a:custGeom>
              <a:avLst/>
              <a:gdLst/>
              <a:ahLst/>
              <a:cxnLst>
                <a:cxn ang="0">
                  <a:pos x="22" y="3"/>
                </a:cxn>
                <a:cxn ang="0">
                  <a:pos x="19" y="10"/>
                </a:cxn>
                <a:cxn ang="0">
                  <a:pos x="21" y="15"/>
                </a:cxn>
                <a:cxn ang="0">
                  <a:pos x="21" y="18"/>
                </a:cxn>
                <a:cxn ang="0">
                  <a:pos x="19" y="24"/>
                </a:cxn>
                <a:cxn ang="0">
                  <a:pos x="17" y="23"/>
                </a:cxn>
                <a:cxn ang="0">
                  <a:pos x="13" y="24"/>
                </a:cxn>
                <a:cxn ang="0">
                  <a:pos x="12" y="26"/>
                </a:cxn>
                <a:cxn ang="0">
                  <a:pos x="9" y="27"/>
                </a:cxn>
                <a:cxn ang="0">
                  <a:pos x="6" y="22"/>
                </a:cxn>
                <a:cxn ang="0">
                  <a:pos x="5" y="18"/>
                </a:cxn>
                <a:cxn ang="0">
                  <a:pos x="3" y="17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3" y="8"/>
                </a:cxn>
                <a:cxn ang="0">
                  <a:pos x="5" y="6"/>
                </a:cxn>
                <a:cxn ang="0">
                  <a:pos x="6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6" y="1"/>
                </a:cxn>
                <a:cxn ang="0">
                  <a:pos x="22" y="3"/>
                </a:cxn>
              </a:cxnLst>
              <a:rect l="0" t="0" r="r" b="b"/>
              <a:pathLst>
                <a:path w="22" h="29">
                  <a:moveTo>
                    <a:pt x="22" y="3"/>
                  </a:moveTo>
                  <a:cubicBezTo>
                    <a:pt x="20" y="8"/>
                    <a:pt x="19" y="6"/>
                    <a:pt x="19" y="10"/>
                  </a:cubicBezTo>
                  <a:cubicBezTo>
                    <a:pt x="20" y="13"/>
                    <a:pt x="20" y="14"/>
                    <a:pt x="21" y="15"/>
                  </a:cubicBezTo>
                  <a:cubicBezTo>
                    <a:pt x="22" y="16"/>
                    <a:pt x="22" y="17"/>
                    <a:pt x="21" y="18"/>
                  </a:cubicBezTo>
                  <a:cubicBezTo>
                    <a:pt x="20" y="19"/>
                    <a:pt x="22" y="22"/>
                    <a:pt x="19" y="24"/>
                  </a:cubicBezTo>
                  <a:cubicBezTo>
                    <a:pt x="18" y="23"/>
                    <a:pt x="17" y="24"/>
                    <a:pt x="17" y="23"/>
                  </a:cubicBezTo>
                  <a:cubicBezTo>
                    <a:pt x="17" y="21"/>
                    <a:pt x="14" y="25"/>
                    <a:pt x="13" y="24"/>
                  </a:cubicBezTo>
                  <a:cubicBezTo>
                    <a:pt x="11" y="23"/>
                    <a:pt x="11" y="24"/>
                    <a:pt x="12" y="26"/>
                  </a:cubicBezTo>
                  <a:cubicBezTo>
                    <a:pt x="13" y="29"/>
                    <a:pt x="10" y="26"/>
                    <a:pt x="9" y="27"/>
                  </a:cubicBezTo>
                  <a:cubicBezTo>
                    <a:pt x="7" y="25"/>
                    <a:pt x="7" y="23"/>
                    <a:pt x="6" y="22"/>
                  </a:cubicBezTo>
                  <a:cubicBezTo>
                    <a:pt x="4" y="20"/>
                    <a:pt x="5" y="19"/>
                    <a:pt x="5" y="18"/>
                  </a:cubicBezTo>
                  <a:cubicBezTo>
                    <a:pt x="4" y="17"/>
                    <a:pt x="3" y="19"/>
                    <a:pt x="3" y="17"/>
                  </a:cubicBezTo>
                  <a:cubicBezTo>
                    <a:pt x="2" y="15"/>
                    <a:pt x="0" y="15"/>
                    <a:pt x="1" y="12"/>
                  </a:cubicBezTo>
                  <a:cubicBezTo>
                    <a:pt x="2" y="10"/>
                    <a:pt x="2" y="10"/>
                    <a:pt x="1" y="9"/>
                  </a:cubicBezTo>
                  <a:cubicBezTo>
                    <a:pt x="1" y="8"/>
                    <a:pt x="1" y="8"/>
                    <a:pt x="3" y="8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5"/>
                    <a:pt x="6" y="4"/>
                    <a:pt x="6" y="2"/>
                  </a:cubicBezTo>
                  <a:cubicBezTo>
                    <a:pt x="8" y="0"/>
                    <a:pt x="12" y="3"/>
                    <a:pt x="12" y="2"/>
                  </a:cubicBezTo>
                  <a:cubicBezTo>
                    <a:pt x="12" y="1"/>
                    <a:pt x="13" y="1"/>
                    <a:pt x="14" y="1"/>
                  </a:cubicBezTo>
                  <a:cubicBezTo>
                    <a:pt x="15" y="1"/>
                    <a:pt x="16" y="2"/>
                    <a:pt x="16" y="1"/>
                  </a:cubicBezTo>
                  <a:cubicBezTo>
                    <a:pt x="16" y="1"/>
                    <a:pt x="20" y="2"/>
                    <a:pt x="22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6" name="Freeform 20128">
              <a:extLst>
                <a:ext uri="{FF2B5EF4-FFF2-40B4-BE49-F238E27FC236}">
                  <a16:creationId xmlns:a16="http://schemas.microsoft.com/office/drawing/2014/main" id="{FED8D2C2-8921-044B-8472-8D64E40C2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031" y="4031734"/>
              <a:ext cx="78359" cy="91116"/>
            </a:xfrm>
            <a:custGeom>
              <a:avLst/>
              <a:gdLst/>
              <a:ahLst/>
              <a:cxnLst>
                <a:cxn ang="0">
                  <a:pos x="18" y="12"/>
                </a:cxn>
                <a:cxn ang="0">
                  <a:pos x="17" y="11"/>
                </a:cxn>
                <a:cxn ang="0">
                  <a:pos x="16" y="15"/>
                </a:cxn>
                <a:cxn ang="0">
                  <a:pos x="17" y="16"/>
                </a:cxn>
                <a:cxn ang="0">
                  <a:pos x="16" y="18"/>
                </a:cxn>
                <a:cxn ang="0">
                  <a:pos x="16" y="21"/>
                </a:cxn>
                <a:cxn ang="0">
                  <a:pos x="15" y="20"/>
                </a:cxn>
                <a:cxn ang="0">
                  <a:pos x="15" y="18"/>
                </a:cxn>
                <a:cxn ang="0">
                  <a:pos x="14" y="17"/>
                </a:cxn>
                <a:cxn ang="0">
                  <a:pos x="14" y="19"/>
                </a:cxn>
                <a:cxn ang="0">
                  <a:pos x="13" y="19"/>
                </a:cxn>
                <a:cxn ang="0">
                  <a:pos x="12" y="17"/>
                </a:cxn>
                <a:cxn ang="0">
                  <a:pos x="13" y="15"/>
                </a:cxn>
                <a:cxn ang="0">
                  <a:pos x="10" y="13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2" y="9"/>
                </a:cxn>
                <a:cxn ang="0">
                  <a:pos x="1" y="6"/>
                </a:cxn>
                <a:cxn ang="0">
                  <a:pos x="2" y="5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8" y="2"/>
                </a:cxn>
                <a:cxn ang="0">
                  <a:pos x="9" y="3"/>
                </a:cxn>
                <a:cxn ang="0">
                  <a:pos x="12" y="3"/>
                </a:cxn>
                <a:cxn ang="0">
                  <a:pos x="14" y="7"/>
                </a:cxn>
                <a:cxn ang="0">
                  <a:pos x="18" y="12"/>
                </a:cxn>
              </a:cxnLst>
              <a:rect l="0" t="0" r="r" b="b"/>
              <a:pathLst>
                <a:path w="18" h="21"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6" y="11"/>
                    <a:pt x="16" y="13"/>
                    <a:pt x="16" y="15"/>
                  </a:cubicBezTo>
                  <a:cubicBezTo>
                    <a:pt x="16" y="15"/>
                    <a:pt x="18" y="15"/>
                    <a:pt x="17" y="16"/>
                  </a:cubicBezTo>
                  <a:cubicBezTo>
                    <a:pt x="16" y="17"/>
                    <a:pt x="17" y="17"/>
                    <a:pt x="16" y="18"/>
                  </a:cubicBezTo>
                  <a:cubicBezTo>
                    <a:pt x="16" y="19"/>
                    <a:pt x="15" y="19"/>
                    <a:pt x="16" y="21"/>
                  </a:cubicBezTo>
                  <a:cubicBezTo>
                    <a:pt x="16" y="21"/>
                    <a:pt x="16" y="20"/>
                    <a:pt x="15" y="20"/>
                  </a:cubicBezTo>
                  <a:cubicBezTo>
                    <a:pt x="15" y="19"/>
                    <a:pt x="16" y="18"/>
                    <a:pt x="15" y="18"/>
                  </a:cubicBezTo>
                  <a:cubicBezTo>
                    <a:pt x="14" y="17"/>
                    <a:pt x="15" y="16"/>
                    <a:pt x="14" y="17"/>
                  </a:cubicBezTo>
                  <a:cubicBezTo>
                    <a:pt x="12" y="17"/>
                    <a:pt x="15" y="18"/>
                    <a:pt x="14" y="19"/>
                  </a:cubicBezTo>
                  <a:cubicBezTo>
                    <a:pt x="14" y="20"/>
                    <a:pt x="14" y="19"/>
                    <a:pt x="13" y="19"/>
                  </a:cubicBezTo>
                  <a:cubicBezTo>
                    <a:pt x="13" y="19"/>
                    <a:pt x="11" y="18"/>
                    <a:pt x="12" y="17"/>
                  </a:cubicBezTo>
                  <a:cubicBezTo>
                    <a:pt x="13" y="17"/>
                    <a:pt x="12" y="16"/>
                    <a:pt x="13" y="15"/>
                  </a:cubicBezTo>
                  <a:cubicBezTo>
                    <a:pt x="13" y="15"/>
                    <a:pt x="12" y="14"/>
                    <a:pt x="10" y="13"/>
                  </a:cubicBezTo>
                  <a:cubicBezTo>
                    <a:pt x="8" y="11"/>
                    <a:pt x="8" y="12"/>
                    <a:pt x="7" y="11"/>
                  </a:cubicBezTo>
                  <a:cubicBezTo>
                    <a:pt x="7" y="11"/>
                    <a:pt x="7" y="11"/>
                    <a:pt x="7" y="9"/>
                  </a:cubicBezTo>
                  <a:cubicBezTo>
                    <a:pt x="7" y="8"/>
                    <a:pt x="5" y="8"/>
                    <a:pt x="4" y="8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5" y="9"/>
                    <a:pt x="7" y="10"/>
                    <a:pt x="6" y="10"/>
                  </a:cubicBezTo>
                  <a:cubicBezTo>
                    <a:pt x="5" y="11"/>
                    <a:pt x="5" y="12"/>
                    <a:pt x="4" y="11"/>
                  </a:cubicBezTo>
                  <a:cubicBezTo>
                    <a:pt x="4" y="10"/>
                    <a:pt x="2" y="9"/>
                    <a:pt x="2" y="9"/>
                  </a:cubicBezTo>
                  <a:cubicBezTo>
                    <a:pt x="2" y="9"/>
                    <a:pt x="0" y="8"/>
                    <a:pt x="1" y="6"/>
                  </a:cubicBezTo>
                  <a:cubicBezTo>
                    <a:pt x="1" y="4"/>
                    <a:pt x="2" y="6"/>
                    <a:pt x="2" y="5"/>
                  </a:cubicBezTo>
                  <a:cubicBezTo>
                    <a:pt x="2" y="3"/>
                    <a:pt x="2" y="4"/>
                    <a:pt x="1" y="3"/>
                  </a:cubicBezTo>
                  <a:cubicBezTo>
                    <a:pt x="0" y="3"/>
                    <a:pt x="2" y="3"/>
                    <a:pt x="2" y="2"/>
                  </a:cubicBezTo>
                  <a:cubicBezTo>
                    <a:pt x="2" y="1"/>
                    <a:pt x="2" y="0"/>
                    <a:pt x="4" y="2"/>
                  </a:cubicBezTo>
                  <a:cubicBezTo>
                    <a:pt x="7" y="4"/>
                    <a:pt x="6" y="1"/>
                    <a:pt x="8" y="2"/>
                  </a:cubicBezTo>
                  <a:cubicBezTo>
                    <a:pt x="8" y="3"/>
                    <a:pt x="9" y="2"/>
                    <a:pt x="9" y="3"/>
                  </a:cubicBezTo>
                  <a:cubicBezTo>
                    <a:pt x="9" y="4"/>
                    <a:pt x="11" y="5"/>
                    <a:pt x="12" y="3"/>
                  </a:cubicBezTo>
                  <a:cubicBezTo>
                    <a:pt x="13" y="4"/>
                    <a:pt x="13" y="5"/>
                    <a:pt x="14" y="7"/>
                  </a:cubicBezTo>
                  <a:cubicBezTo>
                    <a:pt x="15" y="9"/>
                    <a:pt x="18" y="11"/>
                    <a:pt x="18" y="1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7" name="Freeform 20129">
              <a:extLst>
                <a:ext uri="{FF2B5EF4-FFF2-40B4-BE49-F238E27FC236}">
                  <a16:creationId xmlns:a16="http://schemas.microsoft.com/office/drawing/2014/main" id="{072ED950-BF04-CD44-9E4A-8D46F7BFB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6764" y="3933329"/>
              <a:ext cx="103872" cy="120273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4" y="12"/>
                </a:cxn>
                <a:cxn ang="0">
                  <a:pos x="5" y="10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11" y="7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21" y="1"/>
                </a:cxn>
                <a:cxn ang="0">
                  <a:pos x="24" y="0"/>
                </a:cxn>
                <a:cxn ang="0">
                  <a:pos x="24" y="3"/>
                </a:cxn>
                <a:cxn ang="0">
                  <a:pos x="22" y="8"/>
                </a:cxn>
                <a:cxn ang="0">
                  <a:pos x="22" y="11"/>
                </a:cxn>
                <a:cxn ang="0">
                  <a:pos x="22" y="16"/>
                </a:cxn>
                <a:cxn ang="0">
                  <a:pos x="22" y="17"/>
                </a:cxn>
                <a:cxn ang="0">
                  <a:pos x="21" y="18"/>
                </a:cxn>
                <a:cxn ang="0">
                  <a:pos x="21" y="20"/>
                </a:cxn>
                <a:cxn ang="0">
                  <a:pos x="21" y="22"/>
                </a:cxn>
                <a:cxn ang="0">
                  <a:pos x="20" y="24"/>
                </a:cxn>
                <a:cxn ang="0">
                  <a:pos x="21" y="26"/>
                </a:cxn>
                <a:cxn ang="0">
                  <a:pos x="18" y="26"/>
                </a:cxn>
                <a:cxn ang="0">
                  <a:pos x="17" y="25"/>
                </a:cxn>
                <a:cxn ang="0">
                  <a:pos x="13" y="25"/>
                </a:cxn>
                <a:cxn ang="0">
                  <a:pos x="11" y="25"/>
                </a:cxn>
                <a:cxn ang="0">
                  <a:pos x="6" y="20"/>
                </a:cxn>
                <a:cxn ang="0">
                  <a:pos x="2" y="15"/>
                </a:cxn>
                <a:cxn ang="0">
                  <a:pos x="1" y="13"/>
                </a:cxn>
                <a:cxn ang="0">
                  <a:pos x="2" y="13"/>
                </a:cxn>
              </a:cxnLst>
              <a:rect l="0" t="0" r="r" b="b"/>
              <a:pathLst>
                <a:path w="24" h="28">
                  <a:moveTo>
                    <a:pt x="2" y="13"/>
                  </a:moveTo>
                  <a:cubicBezTo>
                    <a:pt x="4" y="13"/>
                    <a:pt x="4" y="13"/>
                    <a:pt x="4" y="12"/>
                  </a:cubicBezTo>
                  <a:cubicBezTo>
                    <a:pt x="5" y="10"/>
                    <a:pt x="6" y="12"/>
                    <a:pt x="5" y="10"/>
                  </a:cubicBezTo>
                  <a:cubicBezTo>
                    <a:pt x="5" y="7"/>
                    <a:pt x="5" y="8"/>
                    <a:pt x="7" y="8"/>
                  </a:cubicBezTo>
                  <a:cubicBezTo>
                    <a:pt x="8" y="8"/>
                    <a:pt x="8" y="5"/>
                    <a:pt x="9" y="6"/>
                  </a:cubicBezTo>
                  <a:cubicBezTo>
                    <a:pt x="10" y="8"/>
                    <a:pt x="11" y="8"/>
                    <a:pt x="11" y="7"/>
                  </a:cubicBezTo>
                  <a:cubicBezTo>
                    <a:pt x="10" y="6"/>
                    <a:pt x="14" y="3"/>
                    <a:pt x="14" y="2"/>
                  </a:cubicBezTo>
                  <a:cubicBezTo>
                    <a:pt x="15" y="1"/>
                    <a:pt x="15" y="1"/>
                    <a:pt x="16" y="2"/>
                  </a:cubicBezTo>
                  <a:cubicBezTo>
                    <a:pt x="16" y="2"/>
                    <a:pt x="20" y="2"/>
                    <a:pt x="21" y="1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23" y="1"/>
                    <a:pt x="23" y="2"/>
                    <a:pt x="24" y="3"/>
                  </a:cubicBezTo>
                  <a:cubicBezTo>
                    <a:pt x="24" y="5"/>
                    <a:pt x="22" y="6"/>
                    <a:pt x="22" y="8"/>
                  </a:cubicBezTo>
                  <a:cubicBezTo>
                    <a:pt x="22" y="10"/>
                    <a:pt x="21" y="9"/>
                    <a:pt x="22" y="11"/>
                  </a:cubicBezTo>
                  <a:cubicBezTo>
                    <a:pt x="22" y="14"/>
                    <a:pt x="22" y="15"/>
                    <a:pt x="22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1" y="17"/>
                    <a:pt x="22" y="17"/>
                    <a:pt x="21" y="18"/>
                  </a:cubicBezTo>
                  <a:cubicBezTo>
                    <a:pt x="21" y="19"/>
                    <a:pt x="20" y="20"/>
                    <a:pt x="21" y="20"/>
                  </a:cubicBezTo>
                  <a:cubicBezTo>
                    <a:pt x="21" y="20"/>
                    <a:pt x="22" y="22"/>
                    <a:pt x="21" y="22"/>
                  </a:cubicBezTo>
                  <a:cubicBezTo>
                    <a:pt x="21" y="22"/>
                    <a:pt x="20" y="23"/>
                    <a:pt x="20" y="24"/>
                  </a:cubicBezTo>
                  <a:cubicBezTo>
                    <a:pt x="21" y="25"/>
                    <a:pt x="21" y="26"/>
                    <a:pt x="21" y="26"/>
                  </a:cubicBezTo>
                  <a:cubicBezTo>
                    <a:pt x="20" y="28"/>
                    <a:pt x="18" y="27"/>
                    <a:pt x="18" y="26"/>
                  </a:cubicBezTo>
                  <a:cubicBezTo>
                    <a:pt x="18" y="25"/>
                    <a:pt x="17" y="26"/>
                    <a:pt x="17" y="25"/>
                  </a:cubicBezTo>
                  <a:cubicBezTo>
                    <a:pt x="15" y="24"/>
                    <a:pt x="16" y="27"/>
                    <a:pt x="13" y="25"/>
                  </a:cubicBezTo>
                  <a:cubicBezTo>
                    <a:pt x="11" y="23"/>
                    <a:pt x="11" y="24"/>
                    <a:pt x="11" y="25"/>
                  </a:cubicBezTo>
                  <a:cubicBezTo>
                    <a:pt x="8" y="22"/>
                    <a:pt x="7" y="22"/>
                    <a:pt x="6" y="20"/>
                  </a:cubicBezTo>
                  <a:cubicBezTo>
                    <a:pt x="5" y="17"/>
                    <a:pt x="3" y="17"/>
                    <a:pt x="2" y="15"/>
                  </a:cubicBezTo>
                  <a:cubicBezTo>
                    <a:pt x="1" y="14"/>
                    <a:pt x="0" y="14"/>
                    <a:pt x="1" y="13"/>
                  </a:cubicBezTo>
                  <a:cubicBezTo>
                    <a:pt x="1" y="12"/>
                    <a:pt x="2" y="14"/>
                    <a:pt x="2" y="1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8" name="Freeform 20130">
              <a:extLst>
                <a:ext uri="{FF2B5EF4-FFF2-40B4-BE49-F238E27FC236}">
                  <a16:creationId xmlns:a16="http://schemas.microsoft.com/office/drawing/2014/main" id="{160C23C7-D7E9-5B4C-890F-DDC60F4BB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8492" y="3902348"/>
              <a:ext cx="142141" cy="8564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2" y="6"/>
                </a:cxn>
                <a:cxn ang="0">
                  <a:pos x="0" y="11"/>
                </a:cxn>
                <a:cxn ang="0">
                  <a:pos x="6" y="14"/>
                </a:cxn>
                <a:cxn ang="0">
                  <a:pos x="9" y="15"/>
                </a:cxn>
                <a:cxn ang="0">
                  <a:pos x="9" y="17"/>
                </a:cxn>
                <a:cxn ang="0">
                  <a:pos x="10" y="18"/>
                </a:cxn>
                <a:cxn ang="0">
                  <a:pos x="11" y="20"/>
                </a:cxn>
                <a:cxn ang="0">
                  <a:pos x="13" y="19"/>
                </a:cxn>
                <a:cxn ang="0">
                  <a:pos x="14" y="17"/>
                </a:cxn>
                <a:cxn ang="0">
                  <a:pos x="16" y="15"/>
                </a:cxn>
                <a:cxn ang="0">
                  <a:pos x="18" y="13"/>
                </a:cxn>
                <a:cxn ang="0">
                  <a:pos x="20" y="14"/>
                </a:cxn>
                <a:cxn ang="0">
                  <a:pos x="23" y="9"/>
                </a:cxn>
                <a:cxn ang="0">
                  <a:pos x="25" y="9"/>
                </a:cxn>
                <a:cxn ang="0">
                  <a:pos x="30" y="8"/>
                </a:cxn>
                <a:cxn ang="0">
                  <a:pos x="33" y="7"/>
                </a:cxn>
                <a:cxn ang="0">
                  <a:pos x="31" y="5"/>
                </a:cxn>
                <a:cxn ang="0">
                  <a:pos x="28" y="2"/>
                </a:cxn>
                <a:cxn ang="0">
                  <a:pos x="23" y="1"/>
                </a:cxn>
                <a:cxn ang="0">
                  <a:pos x="20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1" y="2"/>
                </a:cxn>
                <a:cxn ang="0">
                  <a:pos x="9" y="1"/>
                </a:cxn>
                <a:cxn ang="0">
                  <a:pos x="6" y="2"/>
                </a:cxn>
              </a:cxnLst>
              <a:rect l="0" t="0" r="r" b="b"/>
              <a:pathLst>
                <a:path w="33" h="20">
                  <a:moveTo>
                    <a:pt x="6" y="2"/>
                  </a:moveTo>
                  <a:cubicBezTo>
                    <a:pt x="5" y="3"/>
                    <a:pt x="3" y="6"/>
                    <a:pt x="2" y="6"/>
                  </a:cubicBezTo>
                  <a:cubicBezTo>
                    <a:pt x="1" y="7"/>
                    <a:pt x="3" y="10"/>
                    <a:pt x="0" y="11"/>
                  </a:cubicBezTo>
                  <a:cubicBezTo>
                    <a:pt x="4" y="12"/>
                    <a:pt x="5" y="15"/>
                    <a:pt x="6" y="14"/>
                  </a:cubicBezTo>
                  <a:cubicBezTo>
                    <a:pt x="6" y="14"/>
                    <a:pt x="9" y="13"/>
                    <a:pt x="9" y="15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10" y="18"/>
                    <a:pt x="9" y="16"/>
                    <a:pt x="10" y="18"/>
                  </a:cubicBezTo>
                  <a:cubicBezTo>
                    <a:pt x="11" y="20"/>
                    <a:pt x="12" y="19"/>
                    <a:pt x="11" y="20"/>
                  </a:cubicBezTo>
                  <a:cubicBezTo>
                    <a:pt x="13" y="20"/>
                    <a:pt x="13" y="20"/>
                    <a:pt x="13" y="19"/>
                  </a:cubicBezTo>
                  <a:cubicBezTo>
                    <a:pt x="14" y="17"/>
                    <a:pt x="15" y="19"/>
                    <a:pt x="14" y="17"/>
                  </a:cubicBezTo>
                  <a:cubicBezTo>
                    <a:pt x="14" y="14"/>
                    <a:pt x="14" y="15"/>
                    <a:pt x="16" y="15"/>
                  </a:cubicBezTo>
                  <a:cubicBezTo>
                    <a:pt x="17" y="15"/>
                    <a:pt x="17" y="12"/>
                    <a:pt x="18" y="13"/>
                  </a:cubicBezTo>
                  <a:cubicBezTo>
                    <a:pt x="19" y="15"/>
                    <a:pt x="20" y="15"/>
                    <a:pt x="20" y="14"/>
                  </a:cubicBezTo>
                  <a:cubicBezTo>
                    <a:pt x="19" y="13"/>
                    <a:pt x="23" y="10"/>
                    <a:pt x="23" y="9"/>
                  </a:cubicBezTo>
                  <a:cubicBezTo>
                    <a:pt x="24" y="8"/>
                    <a:pt x="24" y="8"/>
                    <a:pt x="25" y="9"/>
                  </a:cubicBezTo>
                  <a:cubicBezTo>
                    <a:pt x="25" y="9"/>
                    <a:pt x="29" y="9"/>
                    <a:pt x="30" y="8"/>
                  </a:cubicBezTo>
                  <a:cubicBezTo>
                    <a:pt x="31" y="7"/>
                    <a:pt x="32" y="7"/>
                    <a:pt x="33" y="7"/>
                  </a:cubicBezTo>
                  <a:cubicBezTo>
                    <a:pt x="33" y="7"/>
                    <a:pt x="32" y="6"/>
                    <a:pt x="31" y="5"/>
                  </a:cubicBezTo>
                  <a:cubicBezTo>
                    <a:pt x="29" y="4"/>
                    <a:pt x="29" y="4"/>
                    <a:pt x="28" y="2"/>
                  </a:cubicBezTo>
                  <a:cubicBezTo>
                    <a:pt x="27" y="1"/>
                    <a:pt x="24" y="0"/>
                    <a:pt x="23" y="1"/>
                  </a:cubicBezTo>
                  <a:cubicBezTo>
                    <a:pt x="22" y="1"/>
                    <a:pt x="21" y="1"/>
                    <a:pt x="20" y="1"/>
                  </a:cubicBezTo>
                  <a:cubicBezTo>
                    <a:pt x="19" y="0"/>
                    <a:pt x="18" y="0"/>
                    <a:pt x="18" y="1"/>
                  </a:cubicBezTo>
                  <a:cubicBezTo>
                    <a:pt x="19" y="1"/>
                    <a:pt x="17" y="2"/>
                    <a:pt x="16" y="2"/>
                  </a:cubicBezTo>
                  <a:cubicBezTo>
                    <a:pt x="14" y="2"/>
                    <a:pt x="12" y="1"/>
                    <a:pt x="11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8" y="1"/>
                    <a:pt x="8" y="3"/>
                    <a:pt x="6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89" name="Freeform 20131">
              <a:extLst>
                <a:ext uri="{FF2B5EF4-FFF2-40B4-BE49-F238E27FC236}">
                  <a16:creationId xmlns:a16="http://schemas.microsoft.com/office/drawing/2014/main" id="{48C41BAF-B660-BB48-8884-9808FF8F7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5737" y="3949728"/>
              <a:ext cx="54670" cy="3462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3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7"/>
                </a:cxn>
                <a:cxn ang="0">
                  <a:pos x="9" y="8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13" h="8">
                  <a:moveTo>
                    <a:pt x="3" y="0"/>
                  </a:moveTo>
                  <a:cubicBezTo>
                    <a:pt x="7" y="1"/>
                    <a:pt x="8" y="4"/>
                    <a:pt x="9" y="3"/>
                  </a:cubicBezTo>
                  <a:cubicBezTo>
                    <a:pt x="9" y="3"/>
                    <a:pt x="12" y="2"/>
                    <a:pt x="12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1" y="6"/>
                    <a:pt x="11" y="7"/>
                    <a:pt x="12" y="7"/>
                  </a:cubicBezTo>
                  <a:cubicBezTo>
                    <a:pt x="13" y="7"/>
                    <a:pt x="10" y="8"/>
                    <a:pt x="9" y="8"/>
                  </a:cubicBezTo>
                  <a:cubicBezTo>
                    <a:pt x="7" y="6"/>
                    <a:pt x="9" y="8"/>
                    <a:pt x="8" y="8"/>
                  </a:cubicBezTo>
                  <a:cubicBezTo>
                    <a:pt x="7" y="8"/>
                    <a:pt x="4" y="6"/>
                    <a:pt x="2" y="6"/>
                  </a:cubicBezTo>
                  <a:cubicBezTo>
                    <a:pt x="0" y="6"/>
                    <a:pt x="1" y="5"/>
                    <a:pt x="0" y="4"/>
                  </a:cubicBezTo>
                  <a:cubicBezTo>
                    <a:pt x="0" y="2"/>
                    <a:pt x="3" y="2"/>
                    <a:pt x="3" y="0"/>
                  </a:cubicBezTo>
                  <a:cubicBezTo>
                    <a:pt x="2" y="0"/>
                    <a:pt x="3" y="0"/>
                    <a:pt x="3" y="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0" name="Freeform 20132">
              <a:extLst>
                <a:ext uri="{FF2B5EF4-FFF2-40B4-BE49-F238E27FC236}">
                  <a16:creationId xmlns:a16="http://schemas.microsoft.com/office/drawing/2014/main" id="{49EC7E18-9CD6-934F-9C07-C7348B8BA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8356" y="3854968"/>
              <a:ext cx="85648" cy="11298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12"/>
                </a:cxn>
                <a:cxn ang="0">
                  <a:pos x="17" y="12"/>
                </a:cxn>
                <a:cxn ang="0">
                  <a:pos x="19" y="13"/>
                </a:cxn>
                <a:cxn ang="0">
                  <a:pos x="19" y="12"/>
                </a:cxn>
                <a:cxn ang="0">
                  <a:pos x="20" y="13"/>
                </a:cxn>
                <a:cxn ang="0">
                  <a:pos x="16" y="17"/>
                </a:cxn>
                <a:cxn ang="0">
                  <a:pos x="14" y="22"/>
                </a:cxn>
                <a:cxn ang="0">
                  <a:pos x="14" y="22"/>
                </a:cxn>
                <a:cxn ang="0">
                  <a:pos x="11" y="26"/>
                </a:cxn>
                <a:cxn ang="0">
                  <a:pos x="6" y="25"/>
                </a:cxn>
                <a:cxn ang="0">
                  <a:pos x="0" y="21"/>
                </a:cxn>
                <a:cxn ang="0">
                  <a:pos x="0" y="19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8" y="8"/>
                </a:cxn>
                <a:cxn ang="0">
                  <a:pos x="5" y="5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0"/>
                </a:cxn>
                <a:cxn ang="0">
                  <a:pos x="16" y="0"/>
                </a:cxn>
              </a:cxnLst>
              <a:rect l="0" t="0" r="r" b="b"/>
              <a:pathLst>
                <a:path w="20" h="26">
                  <a:moveTo>
                    <a:pt x="16" y="0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3"/>
                    <a:pt x="18" y="14"/>
                    <a:pt x="19" y="13"/>
                  </a:cubicBezTo>
                  <a:cubicBezTo>
                    <a:pt x="19" y="13"/>
                    <a:pt x="19" y="13"/>
                    <a:pt x="19" y="12"/>
                  </a:cubicBezTo>
                  <a:cubicBezTo>
                    <a:pt x="18" y="12"/>
                    <a:pt x="19" y="11"/>
                    <a:pt x="20" y="13"/>
                  </a:cubicBezTo>
                  <a:cubicBezTo>
                    <a:pt x="19" y="14"/>
                    <a:pt x="17" y="17"/>
                    <a:pt x="16" y="17"/>
                  </a:cubicBezTo>
                  <a:cubicBezTo>
                    <a:pt x="15" y="18"/>
                    <a:pt x="17" y="21"/>
                    <a:pt x="14" y="22"/>
                  </a:cubicBezTo>
                  <a:cubicBezTo>
                    <a:pt x="14" y="22"/>
                    <a:pt x="13" y="22"/>
                    <a:pt x="14" y="22"/>
                  </a:cubicBezTo>
                  <a:cubicBezTo>
                    <a:pt x="14" y="24"/>
                    <a:pt x="11" y="24"/>
                    <a:pt x="11" y="26"/>
                  </a:cubicBezTo>
                  <a:cubicBezTo>
                    <a:pt x="9" y="25"/>
                    <a:pt x="8" y="24"/>
                    <a:pt x="6" y="25"/>
                  </a:cubicBezTo>
                  <a:cubicBezTo>
                    <a:pt x="4" y="25"/>
                    <a:pt x="4" y="25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18"/>
                    <a:pt x="1" y="17"/>
                    <a:pt x="1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7"/>
                    <a:pt x="8" y="10"/>
                    <a:pt x="8" y="8"/>
                  </a:cubicBezTo>
                  <a:cubicBezTo>
                    <a:pt x="7" y="6"/>
                    <a:pt x="6" y="6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16" y="0"/>
                  </a:ln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1" name="Freeform 20133">
              <a:extLst>
                <a:ext uri="{FF2B5EF4-FFF2-40B4-BE49-F238E27FC236}">
                  <a16:creationId xmlns:a16="http://schemas.microsoft.com/office/drawing/2014/main" id="{80CD0DFC-F504-8A46-B82F-18ED34DA5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5647" y="4303258"/>
              <a:ext cx="371754" cy="178587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73" y="4"/>
                </a:cxn>
                <a:cxn ang="0">
                  <a:pos x="75" y="6"/>
                </a:cxn>
                <a:cxn ang="0">
                  <a:pos x="80" y="7"/>
                </a:cxn>
                <a:cxn ang="0">
                  <a:pos x="82" y="7"/>
                </a:cxn>
                <a:cxn ang="0">
                  <a:pos x="86" y="9"/>
                </a:cxn>
                <a:cxn ang="0">
                  <a:pos x="84" y="20"/>
                </a:cxn>
                <a:cxn ang="0">
                  <a:pos x="70" y="31"/>
                </a:cxn>
                <a:cxn ang="0">
                  <a:pos x="67" y="39"/>
                </a:cxn>
                <a:cxn ang="0">
                  <a:pos x="63" y="37"/>
                </a:cxn>
                <a:cxn ang="0">
                  <a:pos x="59" y="36"/>
                </a:cxn>
                <a:cxn ang="0">
                  <a:pos x="60" y="30"/>
                </a:cxn>
                <a:cxn ang="0">
                  <a:pos x="62" y="25"/>
                </a:cxn>
                <a:cxn ang="0">
                  <a:pos x="58" y="25"/>
                </a:cxn>
                <a:cxn ang="0">
                  <a:pos x="57" y="17"/>
                </a:cxn>
                <a:cxn ang="0">
                  <a:pos x="59" y="12"/>
                </a:cxn>
                <a:cxn ang="0">
                  <a:pos x="61" y="5"/>
                </a:cxn>
                <a:cxn ang="0">
                  <a:pos x="67" y="0"/>
                </a:cxn>
                <a:cxn ang="0">
                  <a:pos x="4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3" y="9"/>
                </a:cxn>
                <a:cxn ang="0">
                  <a:pos x="2" y="8"/>
                </a:cxn>
                <a:cxn ang="0">
                  <a:pos x="1" y="9"/>
                </a:cxn>
                <a:cxn ang="0">
                  <a:pos x="2" y="11"/>
                </a:cxn>
                <a:cxn ang="0">
                  <a:pos x="3" y="13"/>
                </a:cxn>
                <a:cxn ang="0">
                  <a:pos x="2" y="15"/>
                </a:cxn>
                <a:cxn ang="0">
                  <a:pos x="4" y="15"/>
                </a:cxn>
                <a:cxn ang="0">
                  <a:pos x="8" y="12"/>
                </a:cxn>
                <a:cxn ang="0">
                  <a:pos x="7" y="14"/>
                </a:cxn>
                <a:cxn ang="0">
                  <a:pos x="8" y="12"/>
                </a:cxn>
                <a:cxn ang="0">
                  <a:pos x="13" y="13"/>
                </a:cxn>
                <a:cxn ang="0">
                  <a:pos x="11" y="15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0"/>
                </a:cxn>
                <a:cxn ang="0">
                  <a:pos x="6" y="11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1" y="1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7" y="7"/>
                </a:cxn>
                <a:cxn ang="0">
                  <a:pos x="6" y="7"/>
                </a:cxn>
                <a:cxn ang="0">
                  <a:pos x="7" y="7"/>
                </a:cxn>
              </a:cxnLst>
              <a:rect l="0" t="0" r="r" b="b"/>
              <a:pathLst>
                <a:path w="86" h="41">
                  <a:moveTo>
                    <a:pt x="67" y="0"/>
                  </a:moveTo>
                  <a:cubicBezTo>
                    <a:pt x="71" y="3"/>
                    <a:pt x="72" y="4"/>
                    <a:pt x="73" y="4"/>
                  </a:cubicBezTo>
                  <a:cubicBezTo>
                    <a:pt x="73" y="4"/>
                    <a:pt x="75" y="5"/>
                    <a:pt x="75" y="6"/>
                  </a:cubicBezTo>
                  <a:cubicBezTo>
                    <a:pt x="75" y="7"/>
                    <a:pt x="80" y="8"/>
                    <a:pt x="80" y="7"/>
                  </a:cubicBezTo>
                  <a:cubicBezTo>
                    <a:pt x="80" y="6"/>
                    <a:pt x="81" y="5"/>
                    <a:pt x="82" y="7"/>
                  </a:cubicBezTo>
                  <a:cubicBezTo>
                    <a:pt x="83" y="9"/>
                    <a:pt x="84" y="9"/>
                    <a:pt x="86" y="9"/>
                  </a:cubicBezTo>
                  <a:cubicBezTo>
                    <a:pt x="86" y="14"/>
                    <a:pt x="86" y="15"/>
                    <a:pt x="84" y="20"/>
                  </a:cubicBezTo>
                  <a:cubicBezTo>
                    <a:pt x="81" y="24"/>
                    <a:pt x="73" y="26"/>
                    <a:pt x="70" y="31"/>
                  </a:cubicBezTo>
                  <a:cubicBezTo>
                    <a:pt x="67" y="37"/>
                    <a:pt x="69" y="37"/>
                    <a:pt x="67" y="39"/>
                  </a:cubicBezTo>
                  <a:cubicBezTo>
                    <a:pt x="65" y="41"/>
                    <a:pt x="65" y="37"/>
                    <a:pt x="63" y="37"/>
                  </a:cubicBezTo>
                  <a:cubicBezTo>
                    <a:pt x="60" y="36"/>
                    <a:pt x="59" y="38"/>
                    <a:pt x="59" y="36"/>
                  </a:cubicBezTo>
                  <a:cubicBezTo>
                    <a:pt x="58" y="34"/>
                    <a:pt x="62" y="34"/>
                    <a:pt x="60" y="30"/>
                  </a:cubicBezTo>
                  <a:cubicBezTo>
                    <a:pt x="62" y="30"/>
                    <a:pt x="62" y="27"/>
                    <a:pt x="62" y="25"/>
                  </a:cubicBezTo>
                  <a:cubicBezTo>
                    <a:pt x="62" y="23"/>
                    <a:pt x="61" y="28"/>
                    <a:pt x="58" y="25"/>
                  </a:cubicBezTo>
                  <a:cubicBezTo>
                    <a:pt x="55" y="22"/>
                    <a:pt x="58" y="24"/>
                    <a:pt x="57" y="17"/>
                  </a:cubicBezTo>
                  <a:cubicBezTo>
                    <a:pt x="56" y="13"/>
                    <a:pt x="59" y="16"/>
                    <a:pt x="59" y="12"/>
                  </a:cubicBezTo>
                  <a:cubicBezTo>
                    <a:pt x="59" y="9"/>
                    <a:pt x="62" y="10"/>
                    <a:pt x="61" y="5"/>
                  </a:cubicBezTo>
                  <a:cubicBezTo>
                    <a:pt x="61" y="1"/>
                    <a:pt x="68" y="3"/>
                    <a:pt x="67" y="0"/>
                  </a:cubicBezTo>
                  <a:close/>
                  <a:moveTo>
                    <a:pt x="4" y="15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2"/>
                    <a:pt x="5" y="12"/>
                    <a:pt x="4" y="11"/>
                  </a:cubicBezTo>
                  <a:cubicBezTo>
                    <a:pt x="3" y="11"/>
                    <a:pt x="3" y="10"/>
                    <a:pt x="3" y="9"/>
                  </a:cubicBezTo>
                  <a:cubicBezTo>
                    <a:pt x="2" y="8"/>
                    <a:pt x="2" y="7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2"/>
                    <a:pt x="4" y="12"/>
                    <a:pt x="3" y="13"/>
                  </a:cubicBezTo>
                  <a:cubicBezTo>
                    <a:pt x="3" y="13"/>
                    <a:pt x="1" y="14"/>
                    <a:pt x="2" y="15"/>
                  </a:cubicBezTo>
                  <a:cubicBezTo>
                    <a:pt x="2" y="15"/>
                    <a:pt x="2" y="16"/>
                    <a:pt x="4" y="15"/>
                  </a:cubicBezTo>
                  <a:close/>
                  <a:moveTo>
                    <a:pt x="8" y="12"/>
                  </a:moveTo>
                  <a:cubicBezTo>
                    <a:pt x="7" y="11"/>
                    <a:pt x="6" y="13"/>
                    <a:pt x="7" y="14"/>
                  </a:cubicBezTo>
                  <a:cubicBezTo>
                    <a:pt x="8" y="14"/>
                    <a:pt x="9" y="12"/>
                    <a:pt x="8" y="12"/>
                  </a:cubicBezTo>
                  <a:close/>
                  <a:moveTo>
                    <a:pt x="13" y="13"/>
                  </a:moveTo>
                  <a:cubicBezTo>
                    <a:pt x="13" y="13"/>
                    <a:pt x="11" y="15"/>
                    <a:pt x="11" y="15"/>
                  </a:cubicBezTo>
                  <a:cubicBezTo>
                    <a:pt x="13" y="15"/>
                    <a:pt x="13" y="14"/>
                    <a:pt x="13" y="13"/>
                  </a:cubicBezTo>
                  <a:close/>
                  <a:moveTo>
                    <a:pt x="6" y="11"/>
                  </a:moveTo>
                  <a:cubicBezTo>
                    <a:pt x="7" y="10"/>
                    <a:pt x="5" y="9"/>
                    <a:pt x="5" y="10"/>
                  </a:cubicBezTo>
                  <a:cubicBezTo>
                    <a:pt x="5" y="11"/>
                    <a:pt x="6" y="12"/>
                    <a:pt x="6" y="11"/>
                  </a:cubicBezTo>
                  <a:close/>
                  <a:moveTo>
                    <a:pt x="1" y="12"/>
                  </a:moveTo>
                  <a:cubicBezTo>
                    <a:pt x="3" y="12"/>
                    <a:pt x="2" y="10"/>
                    <a:pt x="1" y="11"/>
                  </a:cubicBezTo>
                  <a:cubicBezTo>
                    <a:pt x="0" y="11"/>
                    <a:pt x="0" y="12"/>
                    <a:pt x="1" y="12"/>
                  </a:cubicBezTo>
                  <a:close/>
                  <a:moveTo>
                    <a:pt x="7" y="17"/>
                  </a:moveTo>
                  <a:cubicBezTo>
                    <a:pt x="8" y="17"/>
                    <a:pt x="6" y="16"/>
                    <a:pt x="7" y="17"/>
                  </a:cubicBezTo>
                  <a:cubicBezTo>
                    <a:pt x="7" y="18"/>
                    <a:pt x="7" y="18"/>
                    <a:pt x="7" y="17"/>
                  </a:cubicBezTo>
                  <a:close/>
                  <a:moveTo>
                    <a:pt x="7" y="7"/>
                  </a:moveTo>
                  <a:cubicBezTo>
                    <a:pt x="7" y="6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2" name="Freeform 20134">
              <a:extLst>
                <a:ext uri="{FF2B5EF4-FFF2-40B4-BE49-F238E27FC236}">
                  <a16:creationId xmlns:a16="http://schemas.microsoft.com/office/drawing/2014/main" id="{72270AF5-CEB0-8546-9F15-D3FB054AF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152" y="3833101"/>
              <a:ext cx="51024" cy="25511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6" y="1"/>
                </a:cxn>
                <a:cxn ang="0">
                  <a:pos x="11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1" y="3"/>
                </a:cxn>
                <a:cxn ang="0">
                  <a:pos x="0" y="1"/>
                </a:cxn>
              </a:cxnLst>
              <a:rect l="0" t="0" r="r" b="b"/>
              <a:pathLst>
                <a:path w="12" h="6">
                  <a:moveTo>
                    <a:pt x="0" y="1"/>
                  </a:moveTo>
                  <a:cubicBezTo>
                    <a:pt x="1" y="0"/>
                    <a:pt x="3" y="0"/>
                    <a:pt x="6" y="1"/>
                  </a:cubicBezTo>
                  <a:cubicBezTo>
                    <a:pt x="10" y="2"/>
                    <a:pt x="11" y="2"/>
                    <a:pt x="11" y="4"/>
                  </a:cubicBezTo>
                  <a:cubicBezTo>
                    <a:pt x="12" y="5"/>
                    <a:pt x="10" y="4"/>
                    <a:pt x="8" y="4"/>
                  </a:cubicBezTo>
                  <a:cubicBezTo>
                    <a:pt x="6" y="4"/>
                    <a:pt x="8" y="6"/>
                    <a:pt x="5" y="5"/>
                  </a:cubicBezTo>
                  <a:cubicBezTo>
                    <a:pt x="1" y="4"/>
                    <a:pt x="3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3" name="Freeform 20135">
              <a:extLst>
                <a:ext uri="{FF2B5EF4-FFF2-40B4-BE49-F238E27FC236}">
                  <a16:creationId xmlns:a16="http://schemas.microsoft.com/office/drawing/2014/main" id="{3E754CA9-AFC3-B94E-BEF3-962839206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294" y="3791187"/>
              <a:ext cx="85648" cy="7289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9"/>
                </a:cxn>
                <a:cxn ang="0">
                  <a:pos x="2" y="13"/>
                </a:cxn>
                <a:cxn ang="0">
                  <a:pos x="5" y="13"/>
                </a:cxn>
                <a:cxn ang="0">
                  <a:pos x="8" y="11"/>
                </a:cxn>
                <a:cxn ang="0">
                  <a:pos x="10" y="11"/>
                </a:cxn>
                <a:cxn ang="0">
                  <a:pos x="17" y="12"/>
                </a:cxn>
                <a:cxn ang="0">
                  <a:pos x="19" y="9"/>
                </a:cxn>
                <a:cxn ang="0">
                  <a:pos x="16" y="7"/>
                </a:cxn>
                <a:cxn ang="0">
                  <a:pos x="14" y="6"/>
                </a:cxn>
                <a:cxn ang="0">
                  <a:pos x="13" y="5"/>
                </a:cxn>
                <a:cxn ang="0">
                  <a:pos x="10" y="3"/>
                </a:cxn>
                <a:cxn ang="0">
                  <a:pos x="5" y="1"/>
                </a:cxn>
                <a:cxn ang="0">
                  <a:pos x="2" y="2"/>
                </a:cxn>
              </a:cxnLst>
              <a:rect l="0" t="0" r="r" b="b"/>
              <a:pathLst>
                <a:path w="20" h="17">
                  <a:moveTo>
                    <a:pt x="2" y="2"/>
                  </a:moveTo>
                  <a:cubicBezTo>
                    <a:pt x="1" y="5"/>
                    <a:pt x="3" y="7"/>
                    <a:pt x="1" y="9"/>
                  </a:cubicBezTo>
                  <a:cubicBezTo>
                    <a:pt x="0" y="11"/>
                    <a:pt x="2" y="10"/>
                    <a:pt x="2" y="13"/>
                  </a:cubicBezTo>
                  <a:cubicBezTo>
                    <a:pt x="3" y="17"/>
                    <a:pt x="4" y="15"/>
                    <a:pt x="5" y="13"/>
                  </a:cubicBezTo>
                  <a:cubicBezTo>
                    <a:pt x="6" y="11"/>
                    <a:pt x="7" y="10"/>
                    <a:pt x="8" y="11"/>
                  </a:cubicBezTo>
                  <a:cubicBezTo>
                    <a:pt x="8" y="13"/>
                    <a:pt x="9" y="13"/>
                    <a:pt x="10" y="11"/>
                  </a:cubicBezTo>
                  <a:cubicBezTo>
                    <a:pt x="12" y="10"/>
                    <a:pt x="16" y="11"/>
                    <a:pt x="17" y="12"/>
                  </a:cubicBezTo>
                  <a:cubicBezTo>
                    <a:pt x="18" y="13"/>
                    <a:pt x="20" y="10"/>
                    <a:pt x="19" y="9"/>
                  </a:cubicBezTo>
                  <a:cubicBezTo>
                    <a:pt x="17" y="8"/>
                    <a:pt x="17" y="7"/>
                    <a:pt x="16" y="7"/>
                  </a:cubicBezTo>
                  <a:cubicBezTo>
                    <a:pt x="14" y="7"/>
                    <a:pt x="13" y="6"/>
                    <a:pt x="14" y="6"/>
                  </a:cubicBezTo>
                  <a:cubicBezTo>
                    <a:pt x="16" y="6"/>
                    <a:pt x="15" y="4"/>
                    <a:pt x="13" y="5"/>
                  </a:cubicBezTo>
                  <a:cubicBezTo>
                    <a:pt x="10" y="6"/>
                    <a:pt x="12" y="2"/>
                    <a:pt x="10" y="3"/>
                  </a:cubicBezTo>
                  <a:cubicBezTo>
                    <a:pt x="9" y="4"/>
                    <a:pt x="6" y="0"/>
                    <a:pt x="5" y="1"/>
                  </a:cubicBezTo>
                  <a:cubicBezTo>
                    <a:pt x="4" y="2"/>
                    <a:pt x="3" y="0"/>
                    <a:pt x="2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4" name="Freeform 20211">
              <a:extLst>
                <a:ext uri="{FF2B5EF4-FFF2-40B4-BE49-F238E27FC236}">
                  <a16:creationId xmlns:a16="http://schemas.microsoft.com/office/drawing/2014/main" id="{71D25532-CD6B-A846-93CB-CA9BC12DE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463" y="5832186"/>
              <a:ext cx="47379" cy="43734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7" y="2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3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6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8"/>
                </a:cxn>
                <a:cxn ang="0">
                  <a:pos x="1" y="9"/>
                </a:cxn>
              </a:cxnLst>
              <a:rect l="0" t="0" r="r" b="b"/>
              <a:pathLst>
                <a:path w="11" h="10">
                  <a:moveTo>
                    <a:pt x="1" y="9"/>
                  </a:moveTo>
                  <a:cubicBezTo>
                    <a:pt x="0" y="8"/>
                    <a:pt x="0" y="7"/>
                    <a:pt x="0" y="7"/>
                  </a:cubicBezTo>
                  <a:cubicBezTo>
                    <a:pt x="1" y="7"/>
                    <a:pt x="0" y="6"/>
                    <a:pt x="1" y="5"/>
                  </a:cubicBezTo>
                  <a:cubicBezTo>
                    <a:pt x="3" y="4"/>
                    <a:pt x="2" y="4"/>
                    <a:pt x="3" y="4"/>
                  </a:cubicBezTo>
                  <a:cubicBezTo>
                    <a:pt x="4" y="4"/>
                    <a:pt x="4" y="4"/>
                    <a:pt x="3" y="3"/>
                  </a:cubicBezTo>
                  <a:cubicBezTo>
                    <a:pt x="3" y="3"/>
                    <a:pt x="4" y="3"/>
                    <a:pt x="3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6" y="2"/>
                    <a:pt x="7" y="2"/>
                    <a:pt x="7" y="3"/>
                  </a:cubicBezTo>
                  <a:cubicBezTo>
                    <a:pt x="8" y="4"/>
                    <a:pt x="7" y="2"/>
                    <a:pt x="8" y="2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3"/>
                    <a:pt x="9" y="3"/>
                    <a:pt x="10" y="3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7" y="5"/>
                    <a:pt x="9" y="6"/>
                    <a:pt x="7" y="5"/>
                  </a:cubicBezTo>
                  <a:cubicBezTo>
                    <a:pt x="4" y="5"/>
                    <a:pt x="3" y="5"/>
                    <a:pt x="5" y="6"/>
                  </a:cubicBezTo>
                  <a:cubicBezTo>
                    <a:pt x="6" y="6"/>
                    <a:pt x="6" y="8"/>
                    <a:pt x="5" y="7"/>
                  </a:cubicBezTo>
                  <a:cubicBezTo>
                    <a:pt x="4" y="6"/>
                    <a:pt x="5" y="8"/>
                    <a:pt x="4" y="7"/>
                  </a:cubicBezTo>
                  <a:cubicBezTo>
                    <a:pt x="2" y="6"/>
                    <a:pt x="4" y="9"/>
                    <a:pt x="3" y="8"/>
                  </a:cubicBezTo>
                  <a:cubicBezTo>
                    <a:pt x="0" y="7"/>
                    <a:pt x="3" y="10"/>
                    <a:pt x="1" y="9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5" name="Freeform 20212">
              <a:extLst>
                <a:ext uri="{FF2B5EF4-FFF2-40B4-BE49-F238E27FC236}">
                  <a16:creationId xmlns:a16="http://schemas.microsoft.com/office/drawing/2014/main" id="{5C5A31F6-6F94-0C4C-85D0-38B4E35C4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306" y="5835829"/>
              <a:ext cx="43734" cy="30980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5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4" y="6"/>
                </a:cxn>
                <a:cxn ang="0">
                  <a:pos x="3" y="7"/>
                </a:cxn>
                <a:cxn ang="0">
                  <a:pos x="2" y="7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cubicBezTo>
                    <a:pt x="1" y="6"/>
                    <a:pt x="2" y="7"/>
                    <a:pt x="1" y="6"/>
                  </a:cubicBezTo>
                  <a:cubicBezTo>
                    <a:pt x="0" y="5"/>
                    <a:pt x="1" y="6"/>
                    <a:pt x="1" y="5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2" y="1"/>
                    <a:pt x="1" y="0"/>
                    <a:pt x="3" y="1"/>
                  </a:cubicBezTo>
                  <a:cubicBezTo>
                    <a:pt x="6" y="2"/>
                    <a:pt x="5" y="1"/>
                    <a:pt x="6" y="1"/>
                  </a:cubicBezTo>
                  <a:cubicBezTo>
                    <a:pt x="6" y="0"/>
                    <a:pt x="6" y="1"/>
                    <a:pt x="7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10" y="1"/>
                    <a:pt x="10" y="1"/>
                    <a:pt x="9" y="2"/>
                  </a:cubicBezTo>
                  <a:cubicBezTo>
                    <a:pt x="8" y="3"/>
                    <a:pt x="8" y="2"/>
                    <a:pt x="7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3" y="7"/>
                    <a:pt x="3" y="6"/>
                    <a:pt x="3" y="7"/>
                  </a:cubicBezTo>
                  <a:cubicBezTo>
                    <a:pt x="3" y="7"/>
                    <a:pt x="3" y="7"/>
                    <a:pt x="2" y="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6" name="Freeform 20266">
              <a:extLst>
                <a:ext uri="{FF2B5EF4-FFF2-40B4-BE49-F238E27FC236}">
                  <a16:creationId xmlns:a16="http://schemas.microsoft.com/office/drawing/2014/main" id="{A3F6F495-7E0A-704A-AFD4-464FB993F1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24644" y="4817153"/>
              <a:ext cx="198634" cy="1173574"/>
            </a:xfrm>
            <a:custGeom>
              <a:avLst/>
              <a:gdLst/>
              <a:ahLst/>
              <a:cxnLst>
                <a:cxn ang="0">
                  <a:pos x="45" y="38"/>
                </a:cxn>
                <a:cxn ang="0">
                  <a:pos x="30" y="101"/>
                </a:cxn>
                <a:cxn ang="0">
                  <a:pos x="21" y="161"/>
                </a:cxn>
                <a:cxn ang="0">
                  <a:pos x="21" y="201"/>
                </a:cxn>
                <a:cxn ang="0">
                  <a:pos x="30" y="241"/>
                </a:cxn>
                <a:cxn ang="0">
                  <a:pos x="20" y="251"/>
                </a:cxn>
                <a:cxn ang="0">
                  <a:pos x="16" y="250"/>
                </a:cxn>
                <a:cxn ang="0">
                  <a:pos x="13" y="248"/>
                </a:cxn>
                <a:cxn ang="0">
                  <a:pos x="18" y="240"/>
                </a:cxn>
                <a:cxn ang="0">
                  <a:pos x="11" y="237"/>
                </a:cxn>
                <a:cxn ang="0">
                  <a:pos x="9" y="229"/>
                </a:cxn>
                <a:cxn ang="0">
                  <a:pos x="9" y="219"/>
                </a:cxn>
                <a:cxn ang="0">
                  <a:pos x="12" y="210"/>
                </a:cxn>
                <a:cxn ang="0">
                  <a:pos x="2" y="201"/>
                </a:cxn>
                <a:cxn ang="0">
                  <a:pos x="14" y="188"/>
                </a:cxn>
                <a:cxn ang="0">
                  <a:pos x="14" y="164"/>
                </a:cxn>
                <a:cxn ang="0">
                  <a:pos x="22" y="106"/>
                </a:cxn>
                <a:cxn ang="0">
                  <a:pos x="28" y="37"/>
                </a:cxn>
                <a:cxn ang="0">
                  <a:pos x="38" y="246"/>
                </a:cxn>
                <a:cxn ang="0">
                  <a:pos x="30" y="256"/>
                </a:cxn>
                <a:cxn ang="0">
                  <a:pos x="22" y="261"/>
                </a:cxn>
                <a:cxn ang="0">
                  <a:pos x="31" y="264"/>
                </a:cxn>
                <a:cxn ang="0">
                  <a:pos x="14" y="184"/>
                </a:cxn>
                <a:cxn ang="0">
                  <a:pos x="29" y="259"/>
                </a:cxn>
                <a:cxn ang="0">
                  <a:pos x="8" y="174"/>
                </a:cxn>
                <a:cxn ang="0">
                  <a:pos x="9" y="166"/>
                </a:cxn>
                <a:cxn ang="0">
                  <a:pos x="10" y="190"/>
                </a:cxn>
                <a:cxn ang="0">
                  <a:pos x="9" y="186"/>
                </a:cxn>
                <a:cxn ang="0">
                  <a:pos x="11" y="192"/>
                </a:cxn>
                <a:cxn ang="0">
                  <a:pos x="10" y="193"/>
                </a:cxn>
                <a:cxn ang="0">
                  <a:pos x="4" y="196"/>
                </a:cxn>
                <a:cxn ang="0">
                  <a:pos x="9" y="183"/>
                </a:cxn>
                <a:cxn ang="0">
                  <a:pos x="6" y="193"/>
                </a:cxn>
                <a:cxn ang="0">
                  <a:pos x="34" y="268"/>
                </a:cxn>
                <a:cxn ang="0">
                  <a:pos x="38" y="267"/>
                </a:cxn>
                <a:cxn ang="0">
                  <a:pos x="31" y="265"/>
                </a:cxn>
                <a:cxn ang="0">
                  <a:pos x="25" y="264"/>
                </a:cxn>
                <a:cxn ang="0">
                  <a:pos x="43" y="270"/>
                </a:cxn>
                <a:cxn ang="0">
                  <a:pos x="21" y="259"/>
                </a:cxn>
                <a:cxn ang="0">
                  <a:pos x="16" y="254"/>
                </a:cxn>
                <a:cxn ang="0">
                  <a:pos x="15" y="258"/>
                </a:cxn>
                <a:cxn ang="0">
                  <a:pos x="11" y="246"/>
                </a:cxn>
                <a:cxn ang="0">
                  <a:pos x="12" y="250"/>
                </a:cxn>
                <a:cxn ang="0">
                  <a:pos x="10" y="240"/>
                </a:cxn>
                <a:cxn ang="0">
                  <a:pos x="7" y="239"/>
                </a:cxn>
                <a:cxn ang="0">
                  <a:pos x="8" y="243"/>
                </a:cxn>
                <a:cxn ang="0">
                  <a:pos x="6" y="244"/>
                </a:cxn>
                <a:cxn ang="0">
                  <a:pos x="9" y="236"/>
                </a:cxn>
                <a:cxn ang="0">
                  <a:pos x="8" y="233"/>
                </a:cxn>
                <a:cxn ang="0">
                  <a:pos x="4" y="220"/>
                </a:cxn>
                <a:cxn ang="0">
                  <a:pos x="3" y="231"/>
                </a:cxn>
                <a:cxn ang="0">
                  <a:pos x="8" y="232"/>
                </a:cxn>
                <a:cxn ang="0">
                  <a:pos x="5" y="228"/>
                </a:cxn>
                <a:cxn ang="0">
                  <a:pos x="6" y="233"/>
                </a:cxn>
                <a:cxn ang="0">
                  <a:pos x="5" y="219"/>
                </a:cxn>
                <a:cxn ang="0">
                  <a:pos x="6" y="216"/>
                </a:cxn>
                <a:cxn ang="0">
                  <a:pos x="4" y="214"/>
                </a:cxn>
                <a:cxn ang="0">
                  <a:pos x="5" y="211"/>
                </a:cxn>
                <a:cxn ang="0">
                  <a:pos x="2" y="216"/>
                </a:cxn>
                <a:cxn ang="0">
                  <a:pos x="3" y="209"/>
                </a:cxn>
                <a:cxn ang="0">
                  <a:pos x="3" y="217"/>
                </a:cxn>
              </a:cxnLst>
              <a:rect l="0" t="0" r="r" b="b"/>
              <a:pathLst>
                <a:path w="46" h="272">
                  <a:moveTo>
                    <a:pt x="33" y="0"/>
                  </a:moveTo>
                  <a:cubicBezTo>
                    <a:pt x="34" y="4"/>
                    <a:pt x="35" y="4"/>
                    <a:pt x="35" y="5"/>
                  </a:cubicBezTo>
                  <a:cubicBezTo>
                    <a:pt x="35" y="6"/>
                    <a:pt x="36" y="11"/>
                    <a:pt x="37" y="11"/>
                  </a:cubicBezTo>
                  <a:cubicBezTo>
                    <a:pt x="38" y="13"/>
                    <a:pt x="39" y="13"/>
                    <a:pt x="38" y="14"/>
                  </a:cubicBezTo>
                  <a:cubicBezTo>
                    <a:pt x="36" y="16"/>
                    <a:pt x="39" y="16"/>
                    <a:pt x="38" y="17"/>
                  </a:cubicBezTo>
                  <a:cubicBezTo>
                    <a:pt x="37" y="19"/>
                    <a:pt x="37" y="20"/>
                    <a:pt x="38" y="20"/>
                  </a:cubicBezTo>
                  <a:cubicBezTo>
                    <a:pt x="39" y="21"/>
                    <a:pt x="37" y="23"/>
                    <a:pt x="39" y="23"/>
                  </a:cubicBezTo>
                  <a:cubicBezTo>
                    <a:pt x="40" y="23"/>
                    <a:pt x="41" y="29"/>
                    <a:pt x="41" y="33"/>
                  </a:cubicBezTo>
                  <a:cubicBezTo>
                    <a:pt x="42" y="36"/>
                    <a:pt x="43" y="36"/>
                    <a:pt x="45" y="35"/>
                  </a:cubicBezTo>
                  <a:cubicBezTo>
                    <a:pt x="46" y="36"/>
                    <a:pt x="46" y="37"/>
                    <a:pt x="45" y="38"/>
                  </a:cubicBezTo>
                  <a:cubicBezTo>
                    <a:pt x="45" y="40"/>
                    <a:pt x="45" y="43"/>
                    <a:pt x="43" y="44"/>
                  </a:cubicBezTo>
                  <a:cubicBezTo>
                    <a:pt x="42" y="44"/>
                    <a:pt x="37" y="46"/>
                    <a:pt x="38" y="49"/>
                  </a:cubicBezTo>
                  <a:cubicBezTo>
                    <a:pt x="39" y="50"/>
                    <a:pt x="37" y="58"/>
                    <a:pt x="39" y="61"/>
                  </a:cubicBezTo>
                  <a:cubicBezTo>
                    <a:pt x="41" y="66"/>
                    <a:pt x="37" y="61"/>
                    <a:pt x="36" y="66"/>
                  </a:cubicBezTo>
                  <a:cubicBezTo>
                    <a:pt x="34" y="71"/>
                    <a:pt x="35" y="70"/>
                    <a:pt x="33" y="71"/>
                  </a:cubicBezTo>
                  <a:cubicBezTo>
                    <a:pt x="32" y="72"/>
                    <a:pt x="32" y="76"/>
                    <a:pt x="31" y="77"/>
                  </a:cubicBezTo>
                  <a:cubicBezTo>
                    <a:pt x="29" y="79"/>
                    <a:pt x="32" y="83"/>
                    <a:pt x="31" y="85"/>
                  </a:cubicBezTo>
                  <a:cubicBezTo>
                    <a:pt x="30" y="86"/>
                    <a:pt x="30" y="84"/>
                    <a:pt x="29" y="87"/>
                  </a:cubicBezTo>
                  <a:cubicBezTo>
                    <a:pt x="28" y="90"/>
                    <a:pt x="27" y="93"/>
                    <a:pt x="28" y="94"/>
                  </a:cubicBezTo>
                  <a:cubicBezTo>
                    <a:pt x="29" y="96"/>
                    <a:pt x="29" y="98"/>
                    <a:pt x="30" y="101"/>
                  </a:cubicBezTo>
                  <a:cubicBezTo>
                    <a:pt x="31" y="104"/>
                    <a:pt x="29" y="105"/>
                    <a:pt x="31" y="105"/>
                  </a:cubicBezTo>
                  <a:cubicBezTo>
                    <a:pt x="33" y="105"/>
                    <a:pt x="31" y="107"/>
                    <a:pt x="31" y="110"/>
                  </a:cubicBezTo>
                  <a:cubicBezTo>
                    <a:pt x="32" y="113"/>
                    <a:pt x="29" y="111"/>
                    <a:pt x="29" y="116"/>
                  </a:cubicBezTo>
                  <a:cubicBezTo>
                    <a:pt x="28" y="122"/>
                    <a:pt x="29" y="123"/>
                    <a:pt x="28" y="125"/>
                  </a:cubicBezTo>
                  <a:cubicBezTo>
                    <a:pt x="26" y="128"/>
                    <a:pt x="25" y="126"/>
                    <a:pt x="25" y="128"/>
                  </a:cubicBezTo>
                  <a:cubicBezTo>
                    <a:pt x="24" y="130"/>
                    <a:pt x="25" y="133"/>
                    <a:pt x="24" y="135"/>
                  </a:cubicBezTo>
                  <a:cubicBezTo>
                    <a:pt x="24" y="137"/>
                    <a:pt x="27" y="142"/>
                    <a:pt x="25" y="143"/>
                  </a:cubicBezTo>
                  <a:cubicBezTo>
                    <a:pt x="21" y="146"/>
                    <a:pt x="24" y="148"/>
                    <a:pt x="22" y="149"/>
                  </a:cubicBezTo>
                  <a:cubicBezTo>
                    <a:pt x="20" y="151"/>
                    <a:pt x="23" y="154"/>
                    <a:pt x="21" y="156"/>
                  </a:cubicBezTo>
                  <a:cubicBezTo>
                    <a:pt x="19" y="158"/>
                    <a:pt x="21" y="157"/>
                    <a:pt x="21" y="161"/>
                  </a:cubicBezTo>
                  <a:cubicBezTo>
                    <a:pt x="20" y="165"/>
                    <a:pt x="22" y="166"/>
                    <a:pt x="21" y="167"/>
                  </a:cubicBezTo>
                  <a:cubicBezTo>
                    <a:pt x="21" y="169"/>
                    <a:pt x="20" y="166"/>
                    <a:pt x="19" y="170"/>
                  </a:cubicBezTo>
                  <a:cubicBezTo>
                    <a:pt x="19" y="174"/>
                    <a:pt x="21" y="174"/>
                    <a:pt x="21" y="175"/>
                  </a:cubicBezTo>
                  <a:cubicBezTo>
                    <a:pt x="22" y="176"/>
                    <a:pt x="20" y="179"/>
                    <a:pt x="22" y="180"/>
                  </a:cubicBezTo>
                  <a:cubicBezTo>
                    <a:pt x="23" y="181"/>
                    <a:pt x="19" y="185"/>
                    <a:pt x="22" y="184"/>
                  </a:cubicBezTo>
                  <a:cubicBezTo>
                    <a:pt x="26" y="183"/>
                    <a:pt x="25" y="187"/>
                    <a:pt x="22" y="187"/>
                  </a:cubicBezTo>
                  <a:cubicBezTo>
                    <a:pt x="19" y="186"/>
                    <a:pt x="19" y="187"/>
                    <a:pt x="21" y="188"/>
                  </a:cubicBezTo>
                  <a:cubicBezTo>
                    <a:pt x="24" y="188"/>
                    <a:pt x="24" y="191"/>
                    <a:pt x="22" y="192"/>
                  </a:cubicBezTo>
                  <a:cubicBezTo>
                    <a:pt x="19" y="193"/>
                    <a:pt x="23" y="195"/>
                    <a:pt x="21" y="196"/>
                  </a:cubicBezTo>
                  <a:cubicBezTo>
                    <a:pt x="20" y="197"/>
                    <a:pt x="23" y="200"/>
                    <a:pt x="21" y="201"/>
                  </a:cubicBezTo>
                  <a:cubicBezTo>
                    <a:pt x="18" y="203"/>
                    <a:pt x="23" y="203"/>
                    <a:pt x="20" y="205"/>
                  </a:cubicBezTo>
                  <a:cubicBezTo>
                    <a:pt x="17" y="208"/>
                    <a:pt x="19" y="208"/>
                    <a:pt x="18" y="209"/>
                  </a:cubicBezTo>
                  <a:cubicBezTo>
                    <a:pt x="16" y="211"/>
                    <a:pt x="20" y="212"/>
                    <a:pt x="18" y="214"/>
                  </a:cubicBezTo>
                  <a:cubicBezTo>
                    <a:pt x="16" y="215"/>
                    <a:pt x="15" y="221"/>
                    <a:pt x="13" y="221"/>
                  </a:cubicBezTo>
                  <a:cubicBezTo>
                    <a:pt x="11" y="220"/>
                    <a:pt x="13" y="223"/>
                    <a:pt x="12" y="225"/>
                  </a:cubicBezTo>
                  <a:cubicBezTo>
                    <a:pt x="11" y="228"/>
                    <a:pt x="13" y="226"/>
                    <a:pt x="14" y="230"/>
                  </a:cubicBezTo>
                  <a:cubicBezTo>
                    <a:pt x="14" y="233"/>
                    <a:pt x="15" y="230"/>
                    <a:pt x="17" y="230"/>
                  </a:cubicBezTo>
                  <a:cubicBezTo>
                    <a:pt x="19" y="230"/>
                    <a:pt x="17" y="238"/>
                    <a:pt x="19" y="239"/>
                  </a:cubicBezTo>
                  <a:cubicBezTo>
                    <a:pt x="21" y="240"/>
                    <a:pt x="19" y="241"/>
                    <a:pt x="22" y="241"/>
                  </a:cubicBezTo>
                  <a:cubicBezTo>
                    <a:pt x="25" y="241"/>
                    <a:pt x="30" y="241"/>
                    <a:pt x="30" y="241"/>
                  </a:cubicBezTo>
                  <a:cubicBezTo>
                    <a:pt x="33" y="243"/>
                    <a:pt x="38" y="242"/>
                    <a:pt x="39" y="244"/>
                  </a:cubicBezTo>
                  <a:cubicBezTo>
                    <a:pt x="38" y="244"/>
                    <a:pt x="37" y="244"/>
                    <a:pt x="36" y="243"/>
                  </a:cubicBezTo>
                  <a:cubicBezTo>
                    <a:pt x="34" y="243"/>
                    <a:pt x="34" y="243"/>
                    <a:pt x="33" y="245"/>
                  </a:cubicBezTo>
                  <a:cubicBezTo>
                    <a:pt x="31" y="246"/>
                    <a:pt x="32" y="244"/>
                    <a:pt x="30" y="246"/>
                  </a:cubicBezTo>
                  <a:cubicBezTo>
                    <a:pt x="28" y="247"/>
                    <a:pt x="27" y="246"/>
                    <a:pt x="26" y="248"/>
                  </a:cubicBezTo>
                  <a:cubicBezTo>
                    <a:pt x="26" y="251"/>
                    <a:pt x="26" y="249"/>
                    <a:pt x="25" y="253"/>
                  </a:cubicBezTo>
                  <a:cubicBezTo>
                    <a:pt x="25" y="256"/>
                    <a:pt x="26" y="256"/>
                    <a:pt x="24" y="256"/>
                  </a:cubicBezTo>
                  <a:cubicBezTo>
                    <a:pt x="22" y="256"/>
                    <a:pt x="21" y="255"/>
                    <a:pt x="21" y="255"/>
                  </a:cubicBezTo>
                  <a:cubicBezTo>
                    <a:pt x="20" y="255"/>
                    <a:pt x="18" y="253"/>
                    <a:pt x="18" y="252"/>
                  </a:cubicBezTo>
                  <a:cubicBezTo>
                    <a:pt x="18" y="251"/>
                    <a:pt x="19" y="251"/>
                    <a:pt x="20" y="251"/>
                  </a:cubicBezTo>
                  <a:cubicBezTo>
                    <a:pt x="20" y="252"/>
                    <a:pt x="20" y="251"/>
                    <a:pt x="21" y="251"/>
                  </a:cubicBezTo>
                  <a:cubicBezTo>
                    <a:pt x="22" y="252"/>
                    <a:pt x="21" y="251"/>
                    <a:pt x="22" y="250"/>
                  </a:cubicBezTo>
                  <a:cubicBezTo>
                    <a:pt x="24" y="250"/>
                    <a:pt x="25" y="248"/>
                    <a:pt x="24" y="248"/>
                  </a:cubicBezTo>
                  <a:cubicBezTo>
                    <a:pt x="23" y="247"/>
                    <a:pt x="23" y="248"/>
                    <a:pt x="21" y="249"/>
                  </a:cubicBezTo>
                  <a:cubicBezTo>
                    <a:pt x="20" y="249"/>
                    <a:pt x="21" y="250"/>
                    <a:pt x="19" y="250"/>
                  </a:cubicBezTo>
                  <a:cubicBezTo>
                    <a:pt x="16" y="249"/>
                    <a:pt x="20" y="250"/>
                    <a:pt x="19" y="251"/>
                  </a:cubicBezTo>
                  <a:cubicBezTo>
                    <a:pt x="18" y="251"/>
                    <a:pt x="17" y="251"/>
                    <a:pt x="17" y="253"/>
                  </a:cubicBezTo>
                  <a:cubicBezTo>
                    <a:pt x="18" y="254"/>
                    <a:pt x="17" y="253"/>
                    <a:pt x="16" y="252"/>
                  </a:cubicBezTo>
                  <a:cubicBezTo>
                    <a:pt x="14" y="252"/>
                    <a:pt x="13" y="250"/>
                    <a:pt x="14" y="250"/>
                  </a:cubicBezTo>
                  <a:cubicBezTo>
                    <a:pt x="15" y="250"/>
                    <a:pt x="16" y="251"/>
                    <a:pt x="16" y="250"/>
                  </a:cubicBezTo>
                  <a:cubicBezTo>
                    <a:pt x="15" y="250"/>
                    <a:pt x="16" y="250"/>
                    <a:pt x="15" y="249"/>
                  </a:cubicBezTo>
                  <a:cubicBezTo>
                    <a:pt x="15" y="248"/>
                    <a:pt x="16" y="247"/>
                    <a:pt x="17" y="248"/>
                  </a:cubicBezTo>
                  <a:cubicBezTo>
                    <a:pt x="18" y="249"/>
                    <a:pt x="18" y="246"/>
                    <a:pt x="20" y="246"/>
                  </a:cubicBezTo>
                  <a:cubicBezTo>
                    <a:pt x="21" y="247"/>
                    <a:pt x="22" y="247"/>
                    <a:pt x="23" y="246"/>
                  </a:cubicBezTo>
                  <a:cubicBezTo>
                    <a:pt x="23" y="246"/>
                    <a:pt x="19" y="245"/>
                    <a:pt x="18" y="246"/>
                  </a:cubicBezTo>
                  <a:cubicBezTo>
                    <a:pt x="17" y="247"/>
                    <a:pt x="18" y="245"/>
                    <a:pt x="16" y="245"/>
                  </a:cubicBezTo>
                  <a:cubicBezTo>
                    <a:pt x="15" y="246"/>
                    <a:pt x="16" y="246"/>
                    <a:pt x="16" y="246"/>
                  </a:cubicBezTo>
                  <a:cubicBezTo>
                    <a:pt x="17" y="247"/>
                    <a:pt x="15" y="247"/>
                    <a:pt x="15" y="248"/>
                  </a:cubicBezTo>
                  <a:cubicBezTo>
                    <a:pt x="15" y="249"/>
                    <a:pt x="15" y="250"/>
                    <a:pt x="13" y="250"/>
                  </a:cubicBezTo>
                  <a:cubicBezTo>
                    <a:pt x="11" y="249"/>
                    <a:pt x="14" y="249"/>
                    <a:pt x="13" y="248"/>
                  </a:cubicBezTo>
                  <a:cubicBezTo>
                    <a:pt x="13" y="248"/>
                    <a:pt x="12" y="247"/>
                    <a:pt x="13" y="248"/>
                  </a:cubicBezTo>
                  <a:cubicBezTo>
                    <a:pt x="14" y="248"/>
                    <a:pt x="13" y="245"/>
                    <a:pt x="12" y="247"/>
                  </a:cubicBezTo>
                  <a:cubicBezTo>
                    <a:pt x="11" y="248"/>
                    <a:pt x="11" y="247"/>
                    <a:pt x="12" y="245"/>
                  </a:cubicBezTo>
                  <a:cubicBezTo>
                    <a:pt x="13" y="244"/>
                    <a:pt x="11" y="245"/>
                    <a:pt x="12" y="244"/>
                  </a:cubicBezTo>
                  <a:cubicBezTo>
                    <a:pt x="12" y="242"/>
                    <a:pt x="10" y="241"/>
                    <a:pt x="11" y="242"/>
                  </a:cubicBezTo>
                  <a:cubicBezTo>
                    <a:pt x="12" y="242"/>
                    <a:pt x="13" y="244"/>
                    <a:pt x="14" y="243"/>
                  </a:cubicBezTo>
                  <a:cubicBezTo>
                    <a:pt x="14" y="242"/>
                    <a:pt x="15" y="242"/>
                    <a:pt x="15" y="242"/>
                  </a:cubicBezTo>
                  <a:cubicBezTo>
                    <a:pt x="15" y="243"/>
                    <a:pt x="15" y="243"/>
                    <a:pt x="15" y="241"/>
                  </a:cubicBezTo>
                  <a:cubicBezTo>
                    <a:pt x="16" y="240"/>
                    <a:pt x="18" y="243"/>
                    <a:pt x="17" y="242"/>
                  </a:cubicBezTo>
                  <a:cubicBezTo>
                    <a:pt x="16" y="241"/>
                    <a:pt x="17" y="241"/>
                    <a:pt x="18" y="240"/>
                  </a:cubicBezTo>
                  <a:cubicBezTo>
                    <a:pt x="18" y="238"/>
                    <a:pt x="17" y="238"/>
                    <a:pt x="15" y="237"/>
                  </a:cubicBezTo>
                  <a:cubicBezTo>
                    <a:pt x="13" y="236"/>
                    <a:pt x="13" y="237"/>
                    <a:pt x="15" y="238"/>
                  </a:cubicBezTo>
                  <a:cubicBezTo>
                    <a:pt x="17" y="239"/>
                    <a:pt x="18" y="240"/>
                    <a:pt x="16" y="240"/>
                  </a:cubicBezTo>
                  <a:cubicBezTo>
                    <a:pt x="14" y="239"/>
                    <a:pt x="15" y="240"/>
                    <a:pt x="15" y="240"/>
                  </a:cubicBezTo>
                  <a:cubicBezTo>
                    <a:pt x="14" y="240"/>
                    <a:pt x="14" y="241"/>
                    <a:pt x="14" y="242"/>
                  </a:cubicBezTo>
                  <a:cubicBezTo>
                    <a:pt x="13" y="243"/>
                    <a:pt x="11" y="240"/>
                    <a:pt x="12" y="240"/>
                  </a:cubicBezTo>
                  <a:cubicBezTo>
                    <a:pt x="13" y="241"/>
                    <a:pt x="12" y="241"/>
                    <a:pt x="12" y="239"/>
                  </a:cubicBezTo>
                  <a:cubicBezTo>
                    <a:pt x="12" y="238"/>
                    <a:pt x="11" y="240"/>
                    <a:pt x="10" y="239"/>
                  </a:cubicBezTo>
                  <a:cubicBezTo>
                    <a:pt x="10" y="238"/>
                    <a:pt x="11" y="238"/>
                    <a:pt x="10" y="237"/>
                  </a:cubicBezTo>
                  <a:cubicBezTo>
                    <a:pt x="10" y="236"/>
                    <a:pt x="10" y="236"/>
                    <a:pt x="11" y="237"/>
                  </a:cubicBezTo>
                  <a:cubicBezTo>
                    <a:pt x="11" y="238"/>
                    <a:pt x="12" y="238"/>
                    <a:pt x="11" y="236"/>
                  </a:cubicBezTo>
                  <a:cubicBezTo>
                    <a:pt x="11" y="235"/>
                    <a:pt x="11" y="235"/>
                    <a:pt x="10" y="235"/>
                  </a:cubicBezTo>
                  <a:cubicBezTo>
                    <a:pt x="9" y="235"/>
                    <a:pt x="9" y="236"/>
                    <a:pt x="9" y="234"/>
                  </a:cubicBezTo>
                  <a:cubicBezTo>
                    <a:pt x="9" y="233"/>
                    <a:pt x="9" y="234"/>
                    <a:pt x="9" y="233"/>
                  </a:cubicBezTo>
                  <a:cubicBezTo>
                    <a:pt x="8" y="233"/>
                    <a:pt x="9" y="232"/>
                    <a:pt x="10" y="233"/>
                  </a:cubicBezTo>
                  <a:cubicBezTo>
                    <a:pt x="10" y="233"/>
                    <a:pt x="11" y="232"/>
                    <a:pt x="11" y="231"/>
                  </a:cubicBezTo>
                  <a:cubicBezTo>
                    <a:pt x="12" y="229"/>
                    <a:pt x="11" y="229"/>
                    <a:pt x="11" y="230"/>
                  </a:cubicBezTo>
                  <a:cubicBezTo>
                    <a:pt x="10" y="232"/>
                    <a:pt x="10" y="232"/>
                    <a:pt x="9" y="231"/>
                  </a:cubicBezTo>
                  <a:cubicBezTo>
                    <a:pt x="8" y="230"/>
                    <a:pt x="8" y="230"/>
                    <a:pt x="9" y="230"/>
                  </a:cubicBezTo>
                  <a:cubicBezTo>
                    <a:pt x="10" y="230"/>
                    <a:pt x="10" y="230"/>
                    <a:pt x="9" y="229"/>
                  </a:cubicBezTo>
                  <a:cubicBezTo>
                    <a:pt x="8" y="229"/>
                    <a:pt x="9" y="229"/>
                    <a:pt x="8" y="229"/>
                  </a:cubicBezTo>
                  <a:cubicBezTo>
                    <a:pt x="7" y="228"/>
                    <a:pt x="7" y="228"/>
                    <a:pt x="6" y="227"/>
                  </a:cubicBezTo>
                  <a:cubicBezTo>
                    <a:pt x="5" y="227"/>
                    <a:pt x="7" y="226"/>
                    <a:pt x="8" y="227"/>
                  </a:cubicBezTo>
                  <a:cubicBezTo>
                    <a:pt x="9" y="228"/>
                    <a:pt x="10" y="228"/>
                    <a:pt x="9" y="227"/>
                  </a:cubicBezTo>
                  <a:cubicBezTo>
                    <a:pt x="8" y="226"/>
                    <a:pt x="7" y="225"/>
                    <a:pt x="9" y="226"/>
                  </a:cubicBezTo>
                  <a:cubicBezTo>
                    <a:pt x="11" y="226"/>
                    <a:pt x="10" y="226"/>
                    <a:pt x="8" y="225"/>
                  </a:cubicBezTo>
                  <a:cubicBezTo>
                    <a:pt x="7" y="224"/>
                    <a:pt x="9" y="224"/>
                    <a:pt x="8" y="223"/>
                  </a:cubicBezTo>
                  <a:cubicBezTo>
                    <a:pt x="8" y="223"/>
                    <a:pt x="9" y="222"/>
                    <a:pt x="10" y="223"/>
                  </a:cubicBezTo>
                  <a:cubicBezTo>
                    <a:pt x="11" y="224"/>
                    <a:pt x="10" y="222"/>
                    <a:pt x="9" y="221"/>
                  </a:cubicBezTo>
                  <a:cubicBezTo>
                    <a:pt x="9" y="220"/>
                    <a:pt x="10" y="219"/>
                    <a:pt x="9" y="219"/>
                  </a:cubicBezTo>
                  <a:cubicBezTo>
                    <a:pt x="8" y="220"/>
                    <a:pt x="9" y="222"/>
                    <a:pt x="8" y="222"/>
                  </a:cubicBezTo>
                  <a:cubicBezTo>
                    <a:pt x="7" y="222"/>
                    <a:pt x="8" y="220"/>
                    <a:pt x="7" y="218"/>
                  </a:cubicBezTo>
                  <a:cubicBezTo>
                    <a:pt x="7" y="216"/>
                    <a:pt x="8" y="216"/>
                    <a:pt x="8" y="215"/>
                  </a:cubicBezTo>
                  <a:cubicBezTo>
                    <a:pt x="8" y="213"/>
                    <a:pt x="10" y="215"/>
                    <a:pt x="10" y="215"/>
                  </a:cubicBezTo>
                  <a:cubicBezTo>
                    <a:pt x="9" y="214"/>
                    <a:pt x="10" y="214"/>
                    <a:pt x="9" y="214"/>
                  </a:cubicBezTo>
                  <a:cubicBezTo>
                    <a:pt x="9" y="213"/>
                    <a:pt x="8" y="213"/>
                    <a:pt x="7" y="212"/>
                  </a:cubicBezTo>
                  <a:cubicBezTo>
                    <a:pt x="7" y="211"/>
                    <a:pt x="7" y="212"/>
                    <a:pt x="6" y="211"/>
                  </a:cubicBezTo>
                  <a:cubicBezTo>
                    <a:pt x="6" y="210"/>
                    <a:pt x="7" y="211"/>
                    <a:pt x="9" y="211"/>
                  </a:cubicBezTo>
                  <a:cubicBezTo>
                    <a:pt x="10" y="211"/>
                    <a:pt x="11" y="211"/>
                    <a:pt x="12" y="212"/>
                  </a:cubicBezTo>
                  <a:cubicBezTo>
                    <a:pt x="14" y="213"/>
                    <a:pt x="11" y="210"/>
                    <a:pt x="12" y="210"/>
                  </a:cubicBezTo>
                  <a:cubicBezTo>
                    <a:pt x="13" y="210"/>
                    <a:pt x="11" y="208"/>
                    <a:pt x="11" y="209"/>
                  </a:cubicBezTo>
                  <a:cubicBezTo>
                    <a:pt x="11" y="210"/>
                    <a:pt x="10" y="208"/>
                    <a:pt x="8" y="209"/>
                  </a:cubicBezTo>
                  <a:cubicBezTo>
                    <a:pt x="6" y="209"/>
                    <a:pt x="6" y="209"/>
                    <a:pt x="6" y="208"/>
                  </a:cubicBezTo>
                  <a:cubicBezTo>
                    <a:pt x="7" y="207"/>
                    <a:pt x="7" y="208"/>
                    <a:pt x="8" y="208"/>
                  </a:cubicBezTo>
                  <a:cubicBezTo>
                    <a:pt x="9" y="208"/>
                    <a:pt x="6" y="207"/>
                    <a:pt x="7" y="206"/>
                  </a:cubicBezTo>
                  <a:cubicBezTo>
                    <a:pt x="8" y="204"/>
                    <a:pt x="10" y="205"/>
                    <a:pt x="10" y="204"/>
                  </a:cubicBezTo>
                  <a:cubicBezTo>
                    <a:pt x="10" y="202"/>
                    <a:pt x="9" y="203"/>
                    <a:pt x="9" y="202"/>
                  </a:cubicBezTo>
                  <a:cubicBezTo>
                    <a:pt x="8" y="201"/>
                    <a:pt x="7" y="201"/>
                    <a:pt x="7" y="202"/>
                  </a:cubicBezTo>
                  <a:cubicBezTo>
                    <a:pt x="7" y="203"/>
                    <a:pt x="5" y="202"/>
                    <a:pt x="4" y="201"/>
                  </a:cubicBezTo>
                  <a:cubicBezTo>
                    <a:pt x="4" y="199"/>
                    <a:pt x="2" y="200"/>
                    <a:pt x="2" y="201"/>
                  </a:cubicBezTo>
                  <a:cubicBezTo>
                    <a:pt x="2" y="203"/>
                    <a:pt x="2" y="203"/>
                    <a:pt x="1" y="202"/>
                  </a:cubicBezTo>
                  <a:cubicBezTo>
                    <a:pt x="0" y="200"/>
                    <a:pt x="2" y="199"/>
                    <a:pt x="4" y="197"/>
                  </a:cubicBezTo>
                  <a:cubicBezTo>
                    <a:pt x="7" y="196"/>
                    <a:pt x="5" y="194"/>
                    <a:pt x="7" y="195"/>
                  </a:cubicBezTo>
                  <a:cubicBezTo>
                    <a:pt x="8" y="195"/>
                    <a:pt x="6" y="194"/>
                    <a:pt x="8" y="194"/>
                  </a:cubicBezTo>
                  <a:cubicBezTo>
                    <a:pt x="10" y="194"/>
                    <a:pt x="8" y="196"/>
                    <a:pt x="10" y="197"/>
                  </a:cubicBezTo>
                  <a:cubicBezTo>
                    <a:pt x="12" y="198"/>
                    <a:pt x="9" y="201"/>
                    <a:pt x="11" y="200"/>
                  </a:cubicBezTo>
                  <a:cubicBezTo>
                    <a:pt x="12" y="199"/>
                    <a:pt x="11" y="199"/>
                    <a:pt x="12" y="196"/>
                  </a:cubicBezTo>
                  <a:cubicBezTo>
                    <a:pt x="12" y="193"/>
                    <a:pt x="12" y="194"/>
                    <a:pt x="12" y="192"/>
                  </a:cubicBezTo>
                  <a:cubicBezTo>
                    <a:pt x="12" y="191"/>
                    <a:pt x="14" y="191"/>
                    <a:pt x="13" y="190"/>
                  </a:cubicBezTo>
                  <a:cubicBezTo>
                    <a:pt x="13" y="189"/>
                    <a:pt x="12" y="189"/>
                    <a:pt x="14" y="188"/>
                  </a:cubicBezTo>
                  <a:cubicBezTo>
                    <a:pt x="15" y="188"/>
                    <a:pt x="16" y="187"/>
                    <a:pt x="16" y="186"/>
                  </a:cubicBezTo>
                  <a:cubicBezTo>
                    <a:pt x="17" y="185"/>
                    <a:pt x="17" y="183"/>
                    <a:pt x="15" y="183"/>
                  </a:cubicBezTo>
                  <a:cubicBezTo>
                    <a:pt x="14" y="183"/>
                    <a:pt x="13" y="182"/>
                    <a:pt x="14" y="182"/>
                  </a:cubicBezTo>
                  <a:cubicBezTo>
                    <a:pt x="15" y="181"/>
                    <a:pt x="15" y="179"/>
                    <a:pt x="14" y="177"/>
                  </a:cubicBezTo>
                  <a:cubicBezTo>
                    <a:pt x="14" y="175"/>
                    <a:pt x="17" y="175"/>
                    <a:pt x="16" y="172"/>
                  </a:cubicBezTo>
                  <a:cubicBezTo>
                    <a:pt x="15" y="170"/>
                    <a:pt x="16" y="171"/>
                    <a:pt x="16" y="169"/>
                  </a:cubicBezTo>
                  <a:cubicBezTo>
                    <a:pt x="16" y="168"/>
                    <a:pt x="16" y="168"/>
                    <a:pt x="17" y="169"/>
                  </a:cubicBezTo>
                  <a:cubicBezTo>
                    <a:pt x="18" y="170"/>
                    <a:pt x="19" y="167"/>
                    <a:pt x="16" y="167"/>
                  </a:cubicBezTo>
                  <a:cubicBezTo>
                    <a:pt x="14" y="166"/>
                    <a:pt x="18" y="165"/>
                    <a:pt x="17" y="164"/>
                  </a:cubicBezTo>
                  <a:cubicBezTo>
                    <a:pt x="15" y="164"/>
                    <a:pt x="15" y="161"/>
                    <a:pt x="14" y="164"/>
                  </a:cubicBezTo>
                  <a:cubicBezTo>
                    <a:pt x="14" y="165"/>
                    <a:pt x="12" y="166"/>
                    <a:pt x="10" y="162"/>
                  </a:cubicBezTo>
                  <a:cubicBezTo>
                    <a:pt x="9" y="159"/>
                    <a:pt x="10" y="159"/>
                    <a:pt x="11" y="153"/>
                  </a:cubicBezTo>
                  <a:cubicBezTo>
                    <a:pt x="11" y="149"/>
                    <a:pt x="12" y="154"/>
                    <a:pt x="13" y="148"/>
                  </a:cubicBezTo>
                  <a:cubicBezTo>
                    <a:pt x="14" y="143"/>
                    <a:pt x="12" y="144"/>
                    <a:pt x="12" y="140"/>
                  </a:cubicBezTo>
                  <a:cubicBezTo>
                    <a:pt x="13" y="135"/>
                    <a:pt x="11" y="138"/>
                    <a:pt x="11" y="133"/>
                  </a:cubicBezTo>
                  <a:cubicBezTo>
                    <a:pt x="12" y="130"/>
                    <a:pt x="14" y="135"/>
                    <a:pt x="14" y="130"/>
                  </a:cubicBezTo>
                  <a:cubicBezTo>
                    <a:pt x="14" y="126"/>
                    <a:pt x="15" y="132"/>
                    <a:pt x="15" y="126"/>
                  </a:cubicBezTo>
                  <a:cubicBezTo>
                    <a:pt x="16" y="122"/>
                    <a:pt x="17" y="125"/>
                    <a:pt x="17" y="122"/>
                  </a:cubicBezTo>
                  <a:cubicBezTo>
                    <a:pt x="17" y="120"/>
                    <a:pt x="20" y="118"/>
                    <a:pt x="20" y="112"/>
                  </a:cubicBezTo>
                  <a:cubicBezTo>
                    <a:pt x="20" y="107"/>
                    <a:pt x="23" y="110"/>
                    <a:pt x="22" y="106"/>
                  </a:cubicBezTo>
                  <a:cubicBezTo>
                    <a:pt x="21" y="103"/>
                    <a:pt x="24" y="101"/>
                    <a:pt x="23" y="99"/>
                  </a:cubicBezTo>
                  <a:cubicBezTo>
                    <a:pt x="22" y="97"/>
                    <a:pt x="23" y="96"/>
                    <a:pt x="22" y="91"/>
                  </a:cubicBezTo>
                  <a:cubicBezTo>
                    <a:pt x="21" y="86"/>
                    <a:pt x="22" y="85"/>
                    <a:pt x="23" y="84"/>
                  </a:cubicBezTo>
                  <a:cubicBezTo>
                    <a:pt x="24" y="83"/>
                    <a:pt x="24" y="80"/>
                    <a:pt x="23" y="77"/>
                  </a:cubicBezTo>
                  <a:cubicBezTo>
                    <a:pt x="21" y="74"/>
                    <a:pt x="24" y="75"/>
                    <a:pt x="25" y="71"/>
                  </a:cubicBezTo>
                  <a:cubicBezTo>
                    <a:pt x="25" y="66"/>
                    <a:pt x="26" y="68"/>
                    <a:pt x="26" y="65"/>
                  </a:cubicBezTo>
                  <a:cubicBezTo>
                    <a:pt x="25" y="63"/>
                    <a:pt x="28" y="58"/>
                    <a:pt x="27" y="56"/>
                  </a:cubicBezTo>
                  <a:cubicBezTo>
                    <a:pt x="26" y="54"/>
                    <a:pt x="29" y="53"/>
                    <a:pt x="28" y="49"/>
                  </a:cubicBezTo>
                  <a:cubicBezTo>
                    <a:pt x="26" y="44"/>
                    <a:pt x="29" y="40"/>
                    <a:pt x="28" y="40"/>
                  </a:cubicBezTo>
                  <a:cubicBezTo>
                    <a:pt x="26" y="39"/>
                    <a:pt x="28" y="37"/>
                    <a:pt x="28" y="37"/>
                  </a:cubicBezTo>
                  <a:cubicBezTo>
                    <a:pt x="29" y="37"/>
                    <a:pt x="29" y="36"/>
                    <a:pt x="30" y="30"/>
                  </a:cubicBezTo>
                  <a:cubicBezTo>
                    <a:pt x="31" y="24"/>
                    <a:pt x="29" y="23"/>
                    <a:pt x="30" y="19"/>
                  </a:cubicBezTo>
                  <a:cubicBezTo>
                    <a:pt x="30" y="15"/>
                    <a:pt x="29" y="15"/>
                    <a:pt x="29" y="12"/>
                  </a:cubicBezTo>
                  <a:cubicBezTo>
                    <a:pt x="29" y="10"/>
                    <a:pt x="28" y="13"/>
                    <a:pt x="28" y="6"/>
                  </a:cubicBezTo>
                  <a:cubicBezTo>
                    <a:pt x="34" y="4"/>
                    <a:pt x="30" y="2"/>
                    <a:pt x="31" y="2"/>
                  </a:cubicBezTo>
                  <a:cubicBezTo>
                    <a:pt x="33" y="2"/>
                    <a:pt x="33" y="0"/>
                    <a:pt x="33" y="0"/>
                  </a:cubicBezTo>
                  <a:close/>
                  <a:moveTo>
                    <a:pt x="38" y="246"/>
                  </a:moveTo>
                  <a:cubicBezTo>
                    <a:pt x="38" y="264"/>
                    <a:pt x="38" y="264"/>
                    <a:pt x="38" y="264"/>
                  </a:cubicBezTo>
                  <a:moveTo>
                    <a:pt x="38" y="264"/>
                  </a:moveTo>
                  <a:cubicBezTo>
                    <a:pt x="38" y="246"/>
                    <a:pt x="38" y="246"/>
                    <a:pt x="38" y="246"/>
                  </a:cubicBezTo>
                  <a:cubicBezTo>
                    <a:pt x="37" y="245"/>
                    <a:pt x="36" y="247"/>
                    <a:pt x="35" y="247"/>
                  </a:cubicBezTo>
                  <a:cubicBezTo>
                    <a:pt x="34" y="247"/>
                    <a:pt x="34" y="245"/>
                    <a:pt x="33" y="245"/>
                  </a:cubicBezTo>
                  <a:cubicBezTo>
                    <a:pt x="32" y="245"/>
                    <a:pt x="32" y="247"/>
                    <a:pt x="31" y="248"/>
                  </a:cubicBezTo>
                  <a:cubicBezTo>
                    <a:pt x="30" y="248"/>
                    <a:pt x="29" y="247"/>
                    <a:pt x="29" y="247"/>
                  </a:cubicBezTo>
                  <a:cubicBezTo>
                    <a:pt x="28" y="247"/>
                    <a:pt x="29" y="247"/>
                    <a:pt x="29" y="248"/>
                  </a:cubicBezTo>
                  <a:cubicBezTo>
                    <a:pt x="29" y="249"/>
                    <a:pt x="30" y="248"/>
                    <a:pt x="30" y="249"/>
                  </a:cubicBezTo>
                  <a:cubicBezTo>
                    <a:pt x="29" y="250"/>
                    <a:pt x="29" y="250"/>
                    <a:pt x="29" y="249"/>
                  </a:cubicBezTo>
                  <a:cubicBezTo>
                    <a:pt x="28" y="248"/>
                    <a:pt x="28" y="250"/>
                    <a:pt x="29" y="252"/>
                  </a:cubicBezTo>
                  <a:cubicBezTo>
                    <a:pt x="29" y="254"/>
                    <a:pt x="33" y="251"/>
                    <a:pt x="34" y="252"/>
                  </a:cubicBezTo>
                  <a:cubicBezTo>
                    <a:pt x="35" y="254"/>
                    <a:pt x="29" y="254"/>
                    <a:pt x="30" y="256"/>
                  </a:cubicBezTo>
                  <a:cubicBezTo>
                    <a:pt x="30" y="259"/>
                    <a:pt x="36" y="260"/>
                    <a:pt x="36" y="261"/>
                  </a:cubicBezTo>
                  <a:cubicBezTo>
                    <a:pt x="32" y="260"/>
                    <a:pt x="33" y="259"/>
                    <a:pt x="33" y="260"/>
                  </a:cubicBezTo>
                  <a:cubicBezTo>
                    <a:pt x="32" y="261"/>
                    <a:pt x="31" y="259"/>
                    <a:pt x="30" y="259"/>
                  </a:cubicBezTo>
                  <a:cubicBezTo>
                    <a:pt x="29" y="260"/>
                    <a:pt x="31" y="261"/>
                    <a:pt x="29" y="260"/>
                  </a:cubicBezTo>
                  <a:cubicBezTo>
                    <a:pt x="27" y="258"/>
                    <a:pt x="25" y="257"/>
                    <a:pt x="26" y="258"/>
                  </a:cubicBezTo>
                  <a:cubicBezTo>
                    <a:pt x="26" y="260"/>
                    <a:pt x="29" y="259"/>
                    <a:pt x="27" y="260"/>
                  </a:cubicBezTo>
                  <a:cubicBezTo>
                    <a:pt x="25" y="260"/>
                    <a:pt x="26" y="261"/>
                    <a:pt x="25" y="261"/>
                  </a:cubicBezTo>
                  <a:cubicBezTo>
                    <a:pt x="23" y="260"/>
                    <a:pt x="23" y="260"/>
                    <a:pt x="23" y="260"/>
                  </a:cubicBezTo>
                  <a:cubicBezTo>
                    <a:pt x="23" y="261"/>
                    <a:pt x="22" y="260"/>
                    <a:pt x="21" y="260"/>
                  </a:cubicBezTo>
                  <a:cubicBezTo>
                    <a:pt x="20" y="260"/>
                    <a:pt x="22" y="261"/>
                    <a:pt x="22" y="261"/>
                  </a:cubicBezTo>
                  <a:cubicBezTo>
                    <a:pt x="21" y="262"/>
                    <a:pt x="20" y="260"/>
                    <a:pt x="20" y="261"/>
                  </a:cubicBezTo>
                  <a:cubicBezTo>
                    <a:pt x="20" y="262"/>
                    <a:pt x="20" y="262"/>
                    <a:pt x="20" y="262"/>
                  </a:cubicBezTo>
                  <a:cubicBezTo>
                    <a:pt x="21" y="263"/>
                    <a:pt x="22" y="262"/>
                    <a:pt x="23" y="262"/>
                  </a:cubicBezTo>
                  <a:cubicBezTo>
                    <a:pt x="23" y="263"/>
                    <a:pt x="23" y="261"/>
                    <a:pt x="24" y="261"/>
                  </a:cubicBezTo>
                  <a:cubicBezTo>
                    <a:pt x="24" y="261"/>
                    <a:pt x="23" y="262"/>
                    <a:pt x="24" y="262"/>
                  </a:cubicBezTo>
                  <a:cubicBezTo>
                    <a:pt x="24" y="263"/>
                    <a:pt x="26" y="261"/>
                    <a:pt x="25" y="262"/>
                  </a:cubicBezTo>
                  <a:cubicBezTo>
                    <a:pt x="25" y="264"/>
                    <a:pt x="25" y="263"/>
                    <a:pt x="26" y="263"/>
                  </a:cubicBezTo>
                  <a:cubicBezTo>
                    <a:pt x="26" y="263"/>
                    <a:pt x="26" y="264"/>
                    <a:pt x="27" y="263"/>
                  </a:cubicBezTo>
                  <a:cubicBezTo>
                    <a:pt x="28" y="263"/>
                    <a:pt x="29" y="264"/>
                    <a:pt x="29" y="264"/>
                  </a:cubicBezTo>
                  <a:cubicBezTo>
                    <a:pt x="30" y="263"/>
                    <a:pt x="30" y="264"/>
                    <a:pt x="31" y="264"/>
                  </a:cubicBezTo>
                  <a:cubicBezTo>
                    <a:pt x="31" y="263"/>
                    <a:pt x="32" y="264"/>
                    <a:pt x="32" y="263"/>
                  </a:cubicBezTo>
                  <a:cubicBezTo>
                    <a:pt x="32" y="262"/>
                    <a:pt x="32" y="264"/>
                    <a:pt x="33" y="264"/>
                  </a:cubicBezTo>
                  <a:cubicBezTo>
                    <a:pt x="36" y="264"/>
                    <a:pt x="37" y="265"/>
                    <a:pt x="37" y="264"/>
                  </a:cubicBezTo>
                  <a:cubicBezTo>
                    <a:pt x="37" y="263"/>
                    <a:pt x="37" y="264"/>
                    <a:pt x="38" y="264"/>
                  </a:cubicBezTo>
                  <a:close/>
                  <a:moveTo>
                    <a:pt x="13" y="187"/>
                  </a:moveTo>
                  <a:cubicBezTo>
                    <a:pt x="13" y="187"/>
                    <a:pt x="12" y="187"/>
                    <a:pt x="13" y="188"/>
                  </a:cubicBezTo>
                  <a:cubicBezTo>
                    <a:pt x="14" y="188"/>
                    <a:pt x="15" y="187"/>
                    <a:pt x="15" y="187"/>
                  </a:cubicBezTo>
                  <a:cubicBezTo>
                    <a:pt x="16" y="186"/>
                    <a:pt x="15" y="186"/>
                    <a:pt x="15" y="186"/>
                  </a:cubicBezTo>
                  <a:cubicBezTo>
                    <a:pt x="16" y="186"/>
                    <a:pt x="17" y="185"/>
                    <a:pt x="15" y="184"/>
                  </a:cubicBezTo>
                  <a:cubicBezTo>
                    <a:pt x="14" y="183"/>
                    <a:pt x="15" y="184"/>
                    <a:pt x="14" y="184"/>
                  </a:cubicBezTo>
                  <a:cubicBezTo>
                    <a:pt x="14" y="184"/>
                    <a:pt x="13" y="184"/>
                    <a:pt x="13" y="185"/>
                  </a:cubicBezTo>
                  <a:cubicBezTo>
                    <a:pt x="14" y="186"/>
                    <a:pt x="13" y="185"/>
                    <a:pt x="12" y="186"/>
                  </a:cubicBezTo>
                  <a:cubicBezTo>
                    <a:pt x="12" y="186"/>
                    <a:pt x="12" y="186"/>
                    <a:pt x="13" y="187"/>
                  </a:cubicBezTo>
                  <a:close/>
                  <a:moveTo>
                    <a:pt x="28" y="258"/>
                  </a:moveTo>
                  <a:cubicBezTo>
                    <a:pt x="27" y="257"/>
                    <a:pt x="27" y="257"/>
                    <a:pt x="28" y="257"/>
                  </a:cubicBezTo>
                  <a:cubicBezTo>
                    <a:pt x="29" y="258"/>
                    <a:pt x="29" y="258"/>
                    <a:pt x="28" y="257"/>
                  </a:cubicBezTo>
                  <a:cubicBezTo>
                    <a:pt x="28" y="256"/>
                    <a:pt x="28" y="255"/>
                    <a:pt x="28" y="254"/>
                  </a:cubicBezTo>
                  <a:cubicBezTo>
                    <a:pt x="28" y="253"/>
                    <a:pt x="27" y="254"/>
                    <a:pt x="27" y="255"/>
                  </a:cubicBezTo>
                  <a:cubicBezTo>
                    <a:pt x="27" y="256"/>
                    <a:pt x="26" y="255"/>
                    <a:pt x="26" y="256"/>
                  </a:cubicBezTo>
                  <a:cubicBezTo>
                    <a:pt x="26" y="257"/>
                    <a:pt x="27" y="258"/>
                    <a:pt x="29" y="259"/>
                  </a:cubicBezTo>
                  <a:cubicBezTo>
                    <a:pt x="30" y="260"/>
                    <a:pt x="29" y="259"/>
                    <a:pt x="28" y="258"/>
                  </a:cubicBezTo>
                  <a:close/>
                  <a:moveTo>
                    <a:pt x="25" y="258"/>
                  </a:moveTo>
                  <a:cubicBezTo>
                    <a:pt x="25" y="257"/>
                    <a:pt x="24" y="258"/>
                    <a:pt x="24" y="257"/>
                  </a:cubicBezTo>
                  <a:cubicBezTo>
                    <a:pt x="23" y="256"/>
                    <a:pt x="22" y="256"/>
                    <a:pt x="22" y="257"/>
                  </a:cubicBezTo>
                  <a:cubicBezTo>
                    <a:pt x="22" y="258"/>
                    <a:pt x="21" y="259"/>
                    <a:pt x="22" y="259"/>
                  </a:cubicBezTo>
                  <a:cubicBezTo>
                    <a:pt x="23" y="259"/>
                    <a:pt x="22" y="258"/>
                    <a:pt x="23" y="259"/>
                  </a:cubicBezTo>
                  <a:cubicBezTo>
                    <a:pt x="24" y="259"/>
                    <a:pt x="23" y="259"/>
                    <a:pt x="24" y="260"/>
                  </a:cubicBezTo>
                  <a:cubicBezTo>
                    <a:pt x="25" y="260"/>
                    <a:pt x="25" y="259"/>
                    <a:pt x="25" y="258"/>
                  </a:cubicBezTo>
                  <a:close/>
                  <a:moveTo>
                    <a:pt x="8" y="170"/>
                  </a:moveTo>
                  <a:cubicBezTo>
                    <a:pt x="8" y="171"/>
                    <a:pt x="9" y="171"/>
                    <a:pt x="8" y="174"/>
                  </a:cubicBezTo>
                  <a:cubicBezTo>
                    <a:pt x="7" y="177"/>
                    <a:pt x="8" y="176"/>
                    <a:pt x="10" y="177"/>
                  </a:cubicBezTo>
                  <a:cubicBezTo>
                    <a:pt x="13" y="177"/>
                    <a:pt x="10" y="175"/>
                    <a:pt x="11" y="175"/>
                  </a:cubicBezTo>
                  <a:cubicBezTo>
                    <a:pt x="13" y="175"/>
                    <a:pt x="11" y="173"/>
                    <a:pt x="12" y="173"/>
                  </a:cubicBezTo>
                  <a:cubicBezTo>
                    <a:pt x="13" y="173"/>
                    <a:pt x="13" y="173"/>
                    <a:pt x="11" y="171"/>
                  </a:cubicBezTo>
                  <a:cubicBezTo>
                    <a:pt x="10" y="170"/>
                    <a:pt x="12" y="171"/>
                    <a:pt x="11" y="170"/>
                  </a:cubicBezTo>
                  <a:cubicBezTo>
                    <a:pt x="11" y="169"/>
                    <a:pt x="11" y="169"/>
                    <a:pt x="12" y="169"/>
                  </a:cubicBezTo>
                  <a:cubicBezTo>
                    <a:pt x="14" y="169"/>
                    <a:pt x="13" y="168"/>
                    <a:pt x="12" y="167"/>
                  </a:cubicBezTo>
                  <a:cubicBezTo>
                    <a:pt x="12" y="166"/>
                    <a:pt x="12" y="165"/>
                    <a:pt x="11" y="166"/>
                  </a:cubicBezTo>
                  <a:cubicBezTo>
                    <a:pt x="9" y="166"/>
                    <a:pt x="11" y="165"/>
                    <a:pt x="10" y="165"/>
                  </a:cubicBezTo>
                  <a:cubicBezTo>
                    <a:pt x="9" y="165"/>
                    <a:pt x="9" y="165"/>
                    <a:pt x="9" y="166"/>
                  </a:cubicBezTo>
                  <a:cubicBezTo>
                    <a:pt x="10" y="168"/>
                    <a:pt x="9" y="168"/>
                    <a:pt x="8" y="170"/>
                  </a:cubicBezTo>
                  <a:close/>
                  <a:moveTo>
                    <a:pt x="13" y="181"/>
                  </a:moveTo>
                  <a:cubicBezTo>
                    <a:pt x="14" y="181"/>
                    <a:pt x="14" y="180"/>
                    <a:pt x="14" y="180"/>
                  </a:cubicBezTo>
                  <a:cubicBezTo>
                    <a:pt x="13" y="180"/>
                    <a:pt x="13" y="181"/>
                    <a:pt x="13" y="181"/>
                  </a:cubicBezTo>
                  <a:close/>
                  <a:moveTo>
                    <a:pt x="10" y="180"/>
                  </a:moveTo>
                  <a:cubicBezTo>
                    <a:pt x="10" y="180"/>
                    <a:pt x="11" y="180"/>
                    <a:pt x="11" y="180"/>
                  </a:cubicBezTo>
                  <a:cubicBezTo>
                    <a:pt x="10" y="179"/>
                    <a:pt x="10" y="180"/>
                    <a:pt x="9" y="180"/>
                  </a:cubicBezTo>
                  <a:cubicBezTo>
                    <a:pt x="9" y="179"/>
                    <a:pt x="8" y="180"/>
                    <a:pt x="9" y="180"/>
                  </a:cubicBezTo>
                  <a:cubicBezTo>
                    <a:pt x="10" y="181"/>
                    <a:pt x="10" y="181"/>
                    <a:pt x="10" y="180"/>
                  </a:cubicBezTo>
                  <a:close/>
                  <a:moveTo>
                    <a:pt x="10" y="190"/>
                  </a:moveTo>
                  <a:cubicBezTo>
                    <a:pt x="10" y="190"/>
                    <a:pt x="10" y="190"/>
                    <a:pt x="11" y="190"/>
                  </a:cubicBezTo>
                  <a:cubicBezTo>
                    <a:pt x="11" y="191"/>
                    <a:pt x="11" y="190"/>
                    <a:pt x="11" y="189"/>
                  </a:cubicBezTo>
                  <a:cubicBezTo>
                    <a:pt x="10" y="188"/>
                    <a:pt x="10" y="189"/>
                    <a:pt x="9" y="189"/>
                  </a:cubicBezTo>
                  <a:cubicBezTo>
                    <a:pt x="8" y="188"/>
                    <a:pt x="8" y="189"/>
                    <a:pt x="9" y="190"/>
                  </a:cubicBezTo>
                  <a:cubicBezTo>
                    <a:pt x="9" y="190"/>
                    <a:pt x="9" y="190"/>
                    <a:pt x="10" y="190"/>
                  </a:cubicBezTo>
                  <a:close/>
                  <a:moveTo>
                    <a:pt x="10" y="188"/>
                  </a:moveTo>
                  <a:cubicBezTo>
                    <a:pt x="10" y="188"/>
                    <a:pt x="10" y="188"/>
                    <a:pt x="9" y="187"/>
                  </a:cubicBezTo>
                  <a:cubicBezTo>
                    <a:pt x="8" y="187"/>
                    <a:pt x="8" y="188"/>
                    <a:pt x="8" y="188"/>
                  </a:cubicBezTo>
                  <a:cubicBezTo>
                    <a:pt x="7" y="189"/>
                    <a:pt x="8" y="188"/>
                    <a:pt x="10" y="188"/>
                  </a:cubicBezTo>
                  <a:close/>
                  <a:moveTo>
                    <a:pt x="9" y="186"/>
                  </a:moveTo>
                  <a:cubicBezTo>
                    <a:pt x="10" y="186"/>
                    <a:pt x="10" y="186"/>
                    <a:pt x="10" y="186"/>
                  </a:cubicBezTo>
                  <a:cubicBezTo>
                    <a:pt x="10" y="185"/>
                    <a:pt x="9" y="185"/>
                    <a:pt x="8" y="186"/>
                  </a:cubicBezTo>
                  <a:cubicBezTo>
                    <a:pt x="7" y="186"/>
                    <a:pt x="8" y="186"/>
                    <a:pt x="8" y="187"/>
                  </a:cubicBezTo>
                  <a:cubicBezTo>
                    <a:pt x="8" y="187"/>
                    <a:pt x="9" y="187"/>
                    <a:pt x="9" y="186"/>
                  </a:cubicBezTo>
                  <a:close/>
                  <a:moveTo>
                    <a:pt x="11" y="186"/>
                  </a:moveTo>
                  <a:cubicBezTo>
                    <a:pt x="12" y="186"/>
                    <a:pt x="12" y="185"/>
                    <a:pt x="11" y="185"/>
                  </a:cubicBezTo>
                  <a:cubicBezTo>
                    <a:pt x="10" y="185"/>
                    <a:pt x="11" y="185"/>
                    <a:pt x="11" y="186"/>
                  </a:cubicBezTo>
                  <a:cubicBezTo>
                    <a:pt x="11" y="186"/>
                    <a:pt x="11" y="186"/>
                    <a:pt x="11" y="186"/>
                  </a:cubicBezTo>
                  <a:close/>
                  <a:moveTo>
                    <a:pt x="12" y="193"/>
                  </a:moveTo>
                  <a:cubicBezTo>
                    <a:pt x="12" y="192"/>
                    <a:pt x="12" y="192"/>
                    <a:pt x="11" y="192"/>
                  </a:cubicBezTo>
                  <a:cubicBezTo>
                    <a:pt x="11" y="192"/>
                    <a:pt x="10" y="193"/>
                    <a:pt x="11" y="194"/>
                  </a:cubicBezTo>
                  <a:cubicBezTo>
                    <a:pt x="11" y="194"/>
                    <a:pt x="12" y="194"/>
                    <a:pt x="12" y="193"/>
                  </a:cubicBezTo>
                  <a:close/>
                  <a:moveTo>
                    <a:pt x="8" y="193"/>
                  </a:moveTo>
                  <a:cubicBezTo>
                    <a:pt x="9" y="193"/>
                    <a:pt x="8" y="192"/>
                    <a:pt x="8" y="192"/>
                  </a:cubicBezTo>
                  <a:cubicBezTo>
                    <a:pt x="7" y="191"/>
                    <a:pt x="7" y="192"/>
                    <a:pt x="7" y="193"/>
                  </a:cubicBezTo>
                  <a:cubicBezTo>
                    <a:pt x="8" y="193"/>
                    <a:pt x="7" y="194"/>
                    <a:pt x="8" y="194"/>
                  </a:cubicBezTo>
                  <a:cubicBezTo>
                    <a:pt x="8" y="194"/>
                    <a:pt x="8" y="193"/>
                    <a:pt x="8" y="193"/>
                  </a:cubicBezTo>
                  <a:close/>
                  <a:moveTo>
                    <a:pt x="10" y="193"/>
                  </a:moveTo>
                  <a:cubicBezTo>
                    <a:pt x="10" y="192"/>
                    <a:pt x="9" y="193"/>
                    <a:pt x="9" y="193"/>
                  </a:cubicBezTo>
                  <a:cubicBezTo>
                    <a:pt x="10" y="194"/>
                    <a:pt x="10" y="193"/>
                    <a:pt x="10" y="193"/>
                  </a:cubicBezTo>
                  <a:close/>
                  <a:moveTo>
                    <a:pt x="11" y="195"/>
                  </a:moveTo>
                  <a:cubicBezTo>
                    <a:pt x="11" y="195"/>
                    <a:pt x="11" y="195"/>
                    <a:pt x="11" y="194"/>
                  </a:cubicBezTo>
                  <a:cubicBezTo>
                    <a:pt x="11" y="194"/>
                    <a:pt x="10" y="194"/>
                    <a:pt x="10" y="195"/>
                  </a:cubicBezTo>
                  <a:cubicBezTo>
                    <a:pt x="10" y="196"/>
                    <a:pt x="10" y="196"/>
                    <a:pt x="11" y="195"/>
                  </a:cubicBezTo>
                  <a:close/>
                  <a:moveTo>
                    <a:pt x="4" y="196"/>
                  </a:moveTo>
                  <a:cubicBezTo>
                    <a:pt x="4" y="196"/>
                    <a:pt x="4" y="196"/>
                    <a:pt x="4" y="196"/>
                  </a:cubicBezTo>
                  <a:cubicBezTo>
                    <a:pt x="4" y="197"/>
                    <a:pt x="5" y="197"/>
                    <a:pt x="5" y="196"/>
                  </a:cubicBezTo>
                  <a:cubicBezTo>
                    <a:pt x="6" y="196"/>
                    <a:pt x="6" y="195"/>
                    <a:pt x="5" y="194"/>
                  </a:cubicBezTo>
                  <a:cubicBezTo>
                    <a:pt x="5" y="194"/>
                    <a:pt x="5" y="194"/>
                    <a:pt x="4" y="195"/>
                  </a:cubicBezTo>
                  <a:cubicBezTo>
                    <a:pt x="4" y="195"/>
                    <a:pt x="4" y="195"/>
                    <a:pt x="4" y="196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5"/>
                    <a:pt x="7" y="185"/>
                  </a:cubicBezTo>
                  <a:cubicBezTo>
                    <a:pt x="8" y="185"/>
                    <a:pt x="8" y="184"/>
                    <a:pt x="8" y="184"/>
                  </a:cubicBezTo>
                  <a:close/>
                  <a:moveTo>
                    <a:pt x="9" y="185"/>
                  </a:moveTo>
                  <a:cubicBezTo>
                    <a:pt x="10" y="185"/>
                    <a:pt x="10" y="185"/>
                    <a:pt x="10" y="185"/>
                  </a:cubicBezTo>
                  <a:cubicBezTo>
                    <a:pt x="10" y="184"/>
                    <a:pt x="9" y="185"/>
                    <a:pt x="8" y="185"/>
                  </a:cubicBezTo>
                  <a:cubicBezTo>
                    <a:pt x="8" y="185"/>
                    <a:pt x="8" y="185"/>
                    <a:pt x="9" y="185"/>
                  </a:cubicBezTo>
                  <a:close/>
                  <a:moveTo>
                    <a:pt x="10" y="182"/>
                  </a:moveTo>
                  <a:cubicBezTo>
                    <a:pt x="9" y="182"/>
                    <a:pt x="9" y="182"/>
                    <a:pt x="9" y="183"/>
                  </a:cubicBezTo>
                  <a:cubicBezTo>
                    <a:pt x="9" y="184"/>
                    <a:pt x="10" y="183"/>
                    <a:pt x="10" y="182"/>
                  </a:cubicBezTo>
                  <a:close/>
                  <a:moveTo>
                    <a:pt x="11" y="181"/>
                  </a:moveTo>
                  <a:cubicBezTo>
                    <a:pt x="11" y="181"/>
                    <a:pt x="11" y="182"/>
                    <a:pt x="12" y="182"/>
                  </a:cubicBezTo>
                  <a:cubicBezTo>
                    <a:pt x="12" y="182"/>
                    <a:pt x="11" y="180"/>
                    <a:pt x="11" y="181"/>
                  </a:cubicBezTo>
                  <a:close/>
                  <a:moveTo>
                    <a:pt x="6" y="178"/>
                  </a:moveTo>
                  <a:cubicBezTo>
                    <a:pt x="6" y="177"/>
                    <a:pt x="5" y="178"/>
                    <a:pt x="5" y="178"/>
                  </a:cubicBezTo>
                  <a:cubicBezTo>
                    <a:pt x="5" y="179"/>
                    <a:pt x="7" y="178"/>
                    <a:pt x="6" y="178"/>
                  </a:cubicBezTo>
                  <a:close/>
                  <a:moveTo>
                    <a:pt x="6" y="193"/>
                  </a:moveTo>
                  <a:cubicBezTo>
                    <a:pt x="6" y="193"/>
                    <a:pt x="6" y="194"/>
                    <a:pt x="6" y="194"/>
                  </a:cubicBezTo>
                  <a:cubicBezTo>
                    <a:pt x="7" y="194"/>
                    <a:pt x="7" y="193"/>
                    <a:pt x="6" y="193"/>
                  </a:cubicBezTo>
                  <a:close/>
                  <a:moveTo>
                    <a:pt x="10" y="192"/>
                  </a:moveTo>
                  <a:cubicBezTo>
                    <a:pt x="10" y="192"/>
                    <a:pt x="9" y="191"/>
                    <a:pt x="9" y="192"/>
                  </a:cubicBezTo>
                  <a:cubicBezTo>
                    <a:pt x="9" y="192"/>
                    <a:pt x="9" y="192"/>
                    <a:pt x="10" y="192"/>
                  </a:cubicBezTo>
                  <a:cubicBezTo>
                    <a:pt x="10" y="192"/>
                    <a:pt x="11" y="192"/>
                    <a:pt x="10" y="192"/>
                  </a:cubicBezTo>
                  <a:close/>
                  <a:moveTo>
                    <a:pt x="10" y="187"/>
                  </a:moveTo>
                  <a:cubicBezTo>
                    <a:pt x="10" y="187"/>
                    <a:pt x="10" y="188"/>
                    <a:pt x="11" y="188"/>
                  </a:cubicBezTo>
                  <a:cubicBezTo>
                    <a:pt x="11" y="188"/>
                    <a:pt x="11" y="187"/>
                    <a:pt x="10" y="187"/>
                  </a:cubicBezTo>
                  <a:close/>
                  <a:moveTo>
                    <a:pt x="33" y="268"/>
                  </a:moveTo>
                  <a:cubicBezTo>
                    <a:pt x="34" y="268"/>
                    <a:pt x="34" y="269"/>
                    <a:pt x="35" y="269"/>
                  </a:cubicBezTo>
                  <a:cubicBezTo>
                    <a:pt x="36" y="269"/>
                    <a:pt x="35" y="269"/>
                    <a:pt x="34" y="268"/>
                  </a:cubicBezTo>
                  <a:cubicBezTo>
                    <a:pt x="33" y="267"/>
                    <a:pt x="34" y="267"/>
                    <a:pt x="35" y="267"/>
                  </a:cubicBezTo>
                  <a:cubicBezTo>
                    <a:pt x="36" y="267"/>
                    <a:pt x="37" y="267"/>
                    <a:pt x="36" y="267"/>
                  </a:cubicBezTo>
                  <a:cubicBezTo>
                    <a:pt x="36" y="268"/>
                    <a:pt x="36" y="268"/>
                    <a:pt x="36" y="269"/>
                  </a:cubicBezTo>
                  <a:cubicBezTo>
                    <a:pt x="37" y="270"/>
                    <a:pt x="37" y="268"/>
                    <a:pt x="38" y="269"/>
                  </a:cubicBezTo>
                  <a:cubicBezTo>
                    <a:pt x="38" y="270"/>
                    <a:pt x="39" y="269"/>
                    <a:pt x="39" y="270"/>
                  </a:cubicBezTo>
                  <a:cubicBezTo>
                    <a:pt x="40" y="271"/>
                    <a:pt x="40" y="270"/>
                    <a:pt x="40" y="271"/>
                  </a:cubicBezTo>
                  <a:cubicBezTo>
                    <a:pt x="41" y="272"/>
                    <a:pt x="41" y="270"/>
                    <a:pt x="41" y="270"/>
                  </a:cubicBezTo>
                  <a:cubicBezTo>
                    <a:pt x="40" y="269"/>
                    <a:pt x="41" y="269"/>
                    <a:pt x="39" y="268"/>
                  </a:cubicBezTo>
                  <a:cubicBezTo>
                    <a:pt x="37" y="267"/>
                    <a:pt x="40" y="268"/>
                    <a:pt x="39" y="267"/>
                  </a:cubicBezTo>
                  <a:cubicBezTo>
                    <a:pt x="39" y="267"/>
                    <a:pt x="39" y="267"/>
                    <a:pt x="38" y="267"/>
                  </a:cubicBezTo>
                  <a:cubicBezTo>
                    <a:pt x="37" y="266"/>
                    <a:pt x="37" y="266"/>
                    <a:pt x="38" y="266"/>
                  </a:cubicBezTo>
                  <a:cubicBezTo>
                    <a:pt x="39" y="266"/>
                    <a:pt x="39" y="265"/>
                    <a:pt x="39" y="265"/>
                  </a:cubicBezTo>
                  <a:cubicBezTo>
                    <a:pt x="38" y="264"/>
                    <a:pt x="36" y="265"/>
                    <a:pt x="35" y="265"/>
                  </a:cubicBezTo>
                  <a:cubicBezTo>
                    <a:pt x="34" y="265"/>
                    <a:pt x="33" y="265"/>
                    <a:pt x="31" y="266"/>
                  </a:cubicBezTo>
                  <a:cubicBezTo>
                    <a:pt x="30" y="266"/>
                    <a:pt x="31" y="266"/>
                    <a:pt x="32" y="267"/>
                  </a:cubicBezTo>
                  <a:cubicBezTo>
                    <a:pt x="33" y="268"/>
                    <a:pt x="30" y="267"/>
                    <a:pt x="33" y="268"/>
                  </a:cubicBezTo>
                  <a:close/>
                  <a:moveTo>
                    <a:pt x="33" y="265"/>
                  </a:moveTo>
                  <a:cubicBezTo>
                    <a:pt x="35" y="264"/>
                    <a:pt x="34" y="265"/>
                    <a:pt x="33" y="264"/>
                  </a:cubicBezTo>
                  <a:cubicBezTo>
                    <a:pt x="31" y="264"/>
                    <a:pt x="31" y="264"/>
                    <a:pt x="30" y="265"/>
                  </a:cubicBezTo>
                  <a:cubicBezTo>
                    <a:pt x="29" y="265"/>
                    <a:pt x="30" y="265"/>
                    <a:pt x="31" y="265"/>
                  </a:cubicBezTo>
                  <a:cubicBezTo>
                    <a:pt x="31" y="265"/>
                    <a:pt x="31" y="265"/>
                    <a:pt x="33" y="265"/>
                  </a:cubicBezTo>
                  <a:close/>
                  <a:moveTo>
                    <a:pt x="28" y="265"/>
                  </a:moveTo>
                  <a:cubicBezTo>
                    <a:pt x="28" y="265"/>
                    <a:pt x="27" y="265"/>
                    <a:pt x="28" y="265"/>
                  </a:cubicBezTo>
                  <a:cubicBezTo>
                    <a:pt x="30" y="265"/>
                    <a:pt x="29" y="264"/>
                    <a:pt x="28" y="264"/>
                  </a:cubicBezTo>
                  <a:cubicBezTo>
                    <a:pt x="27" y="264"/>
                    <a:pt x="27" y="265"/>
                    <a:pt x="26" y="265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5" y="266"/>
                    <a:pt x="26" y="266"/>
                    <a:pt x="27" y="266"/>
                  </a:cubicBezTo>
                  <a:cubicBezTo>
                    <a:pt x="28" y="266"/>
                    <a:pt x="27" y="267"/>
                    <a:pt x="28" y="267"/>
                  </a:cubicBezTo>
                  <a:cubicBezTo>
                    <a:pt x="29" y="266"/>
                    <a:pt x="29" y="265"/>
                    <a:pt x="28" y="265"/>
                  </a:cubicBezTo>
                  <a:close/>
                  <a:moveTo>
                    <a:pt x="25" y="264"/>
                  </a:moveTo>
                  <a:cubicBezTo>
                    <a:pt x="25" y="264"/>
                    <a:pt x="24" y="263"/>
                    <a:pt x="23" y="264"/>
                  </a:cubicBezTo>
                  <a:cubicBezTo>
                    <a:pt x="23" y="264"/>
                    <a:pt x="23" y="265"/>
                    <a:pt x="24" y="264"/>
                  </a:cubicBezTo>
                  <a:cubicBezTo>
                    <a:pt x="25" y="264"/>
                    <a:pt x="24" y="265"/>
                    <a:pt x="25" y="264"/>
                  </a:cubicBezTo>
                  <a:cubicBezTo>
                    <a:pt x="26" y="264"/>
                    <a:pt x="25" y="264"/>
                    <a:pt x="25" y="264"/>
                  </a:cubicBezTo>
                  <a:close/>
                  <a:moveTo>
                    <a:pt x="43" y="271"/>
                  </a:moveTo>
                  <a:cubicBezTo>
                    <a:pt x="43" y="271"/>
                    <a:pt x="41" y="271"/>
                    <a:pt x="42" y="272"/>
                  </a:cubicBezTo>
                  <a:cubicBezTo>
                    <a:pt x="42" y="272"/>
                    <a:pt x="44" y="272"/>
                    <a:pt x="43" y="271"/>
                  </a:cubicBezTo>
                  <a:close/>
                  <a:moveTo>
                    <a:pt x="44" y="270"/>
                  </a:moveTo>
                  <a:cubicBezTo>
                    <a:pt x="44" y="270"/>
                    <a:pt x="44" y="269"/>
                    <a:pt x="44" y="270"/>
                  </a:cubicBezTo>
                  <a:cubicBezTo>
                    <a:pt x="44" y="271"/>
                    <a:pt x="43" y="270"/>
                    <a:pt x="43" y="270"/>
                  </a:cubicBezTo>
                  <a:cubicBezTo>
                    <a:pt x="43" y="271"/>
                    <a:pt x="43" y="271"/>
                    <a:pt x="44" y="271"/>
                  </a:cubicBezTo>
                  <a:cubicBezTo>
                    <a:pt x="45" y="271"/>
                    <a:pt x="45" y="271"/>
                    <a:pt x="44" y="270"/>
                  </a:cubicBezTo>
                  <a:close/>
                  <a:moveTo>
                    <a:pt x="21" y="259"/>
                  </a:moveTo>
                  <a:cubicBezTo>
                    <a:pt x="21" y="258"/>
                    <a:pt x="22" y="258"/>
                    <a:pt x="22" y="258"/>
                  </a:cubicBezTo>
                  <a:cubicBezTo>
                    <a:pt x="21" y="257"/>
                    <a:pt x="22" y="256"/>
                    <a:pt x="21" y="256"/>
                  </a:cubicBezTo>
                  <a:cubicBezTo>
                    <a:pt x="21" y="256"/>
                    <a:pt x="20" y="256"/>
                    <a:pt x="20" y="256"/>
                  </a:cubicBezTo>
                  <a:cubicBezTo>
                    <a:pt x="20" y="257"/>
                    <a:pt x="19" y="256"/>
                    <a:pt x="19" y="256"/>
                  </a:cubicBezTo>
                  <a:cubicBezTo>
                    <a:pt x="18" y="257"/>
                    <a:pt x="19" y="257"/>
                    <a:pt x="19" y="258"/>
                  </a:cubicBezTo>
                  <a:cubicBezTo>
                    <a:pt x="20" y="258"/>
                    <a:pt x="21" y="258"/>
                    <a:pt x="20" y="259"/>
                  </a:cubicBezTo>
                  <a:cubicBezTo>
                    <a:pt x="20" y="260"/>
                    <a:pt x="21" y="260"/>
                    <a:pt x="21" y="259"/>
                  </a:cubicBezTo>
                  <a:cubicBezTo>
                    <a:pt x="21" y="259"/>
                    <a:pt x="21" y="259"/>
                    <a:pt x="21" y="259"/>
                  </a:cubicBezTo>
                  <a:close/>
                  <a:moveTo>
                    <a:pt x="15" y="240"/>
                  </a:moveTo>
                  <a:cubicBezTo>
                    <a:pt x="15" y="240"/>
                    <a:pt x="14" y="241"/>
                    <a:pt x="14" y="242"/>
                  </a:cubicBezTo>
                  <a:cubicBezTo>
                    <a:pt x="15" y="242"/>
                    <a:pt x="16" y="240"/>
                    <a:pt x="15" y="240"/>
                  </a:cubicBezTo>
                  <a:close/>
                  <a:moveTo>
                    <a:pt x="18" y="257"/>
                  </a:moveTo>
                  <a:cubicBezTo>
                    <a:pt x="18" y="258"/>
                    <a:pt x="18" y="258"/>
                    <a:pt x="18" y="257"/>
                  </a:cubicBezTo>
                  <a:cubicBezTo>
                    <a:pt x="18" y="256"/>
                    <a:pt x="20" y="256"/>
                    <a:pt x="19" y="255"/>
                  </a:cubicBezTo>
                  <a:cubicBezTo>
                    <a:pt x="19" y="255"/>
                    <a:pt x="18" y="255"/>
                    <a:pt x="18" y="254"/>
                  </a:cubicBezTo>
                  <a:cubicBezTo>
                    <a:pt x="18" y="254"/>
                    <a:pt x="17" y="253"/>
                    <a:pt x="16" y="254"/>
                  </a:cubicBezTo>
                  <a:cubicBezTo>
                    <a:pt x="16" y="254"/>
                    <a:pt x="16" y="253"/>
                    <a:pt x="16" y="254"/>
                  </a:cubicBezTo>
                  <a:cubicBezTo>
                    <a:pt x="15" y="254"/>
                    <a:pt x="16" y="253"/>
                    <a:pt x="15" y="252"/>
                  </a:cubicBezTo>
                  <a:cubicBezTo>
                    <a:pt x="14" y="252"/>
                    <a:pt x="15" y="253"/>
                    <a:pt x="13" y="253"/>
                  </a:cubicBezTo>
                  <a:cubicBezTo>
                    <a:pt x="12" y="252"/>
                    <a:pt x="14" y="254"/>
                    <a:pt x="13" y="254"/>
                  </a:cubicBezTo>
                  <a:cubicBezTo>
                    <a:pt x="12" y="254"/>
                    <a:pt x="12" y="253"/>
                    <a:pt x="12" y="254"/>
                  </a:cubicBezTo>
                  <a:cubicBezTo>
                    <a:pt x="11" y="255"/>
                    <a:pt x="12" y="254"/>
                    <a:pt x="12" y="255"/>
                  </a:cubicBezTo>
                  <a:cubicBezTo>
                    <a:pt x="12" y="256"/>
                    <a:pt x="13" y="254"/>
                    <a:pt x="13" y="255"/>
                  </a:cubicBezTo>
                  <a:cubicBezTo>
                    <a:pt x="14" y="256"/>
                    <a:pt x="13" y="257"/>
                    <a:pt x="14" y="257"/>
                  </a:cubicBezTo>
                  <a:cubicBezTo>
                    <a:pt x="15" y="258"/>
                    <a:pt x="14" y="255"/>
                    <a:pt x="15" y="256"/>
                  </a:cubicBezTo>
                  <a:cubicBezTo>
                    <a:pt x="15" y="257"/>
                    <a:pt x="16" y="255"/>
                    <a:pt x="16" y="256"/>
                  </a:cubicBezTo>
                  <a:cubicBezTo>
                    <a:pt x="16" y="258"/>
                    <a:pt x="14" y="258"/>
                    <a:pt x="15" y="258"/>
                  </a:cubicBezTo>
                  <a:cubicBezTo>
                    <a:pt x="16" y="258"/>
                    <a:pt x="16" y="257"/>
                    <a:pt x="17" y="258"/>
                  </a:cubicBezTo>
                  <a:cubicBezTo>
                    <a:pt x="17" y="258"/>
                    <a:pt x="17" y="257"/>
                    <a:pt x="18" y="257"/>
                  </a:cubicBezTo>
                  <a:close/>
                  <a:moveTo>
                    <a:pt x="19" y="259"/>
                  </a:moveTo>
                  <a:cubicBezTo>
                    <a:pt x="19" y="258"/>
                    <a:pt x="19" y="257"/>
                    <a:pt x="18" y="258"/>
                  </a:cubicBezTo>
                  <a:cubicBezTo>
                    <a:pt x="18" y="259"/>
                    <a:pt x="17" y="258"/>
                    <a:pt x="18" y="259"/>
                  </a:cubicBezTo>
                  <a:cubicBezTo>
                    <a:pt x="18" y="259"/>
                    <a:pt x="18" y="259"/>
                    <a:pt x="19" y="259"/>
                  </a:cubicBezTo>
                  <a:close/>
                  <a:moveTo>
                    <a:pt x="8" y="252"/>
                  </a:moveTo>
                  <a:cubicBezTo>
                    <a:pt x="9" y="252"/>
                    <a:pt x="10" y="251"/>
                    <a:pt x="9" y="251"/>
                  </a:cubicBezTo>
                  <a:cubicBezTo>
                    <a:pt x="9" y="251"/>
                    <a:pt x="8" y="251"/>
                    <a:pt x="8" y="252"/>
                  </a:cubicBezTo>
                  <a:close/>
                  <a:moveTo>
                    <a:pt x="11" y="246"/>
                  </a:moveTo>
                  <a:cubicBezTo>
                    <a:pt x="11" y="245"/>
                    <a:pt x="11" y="245"/>
                    <a:pt x="11" y="245"/>
                  </a:cubicBezTo>
                  <a:cubicBezTo>
                    <a:pt x="11" y="244"/>
                    <a:pt x="11" y="245"/>
                    <a:pt x="10" y="245"/>
                  </a:cubicBezTo>
                  <a:cubicBezTo>
                    <a:pt x="9" y="246"/>
                    <a:pt x="10" y="246"/>
                    <a:pt x="10" y="247"/>
                  </a:cubicBezTo>
                  <a:cubicBezTo>
                    <a:pt x="10" y="247"/>
                    <a:pt x="11" y="247"/>
                    <a:pt x="11" y="246"/>
                  </a:cubicBezTo>
                  <a:close/>
                  <a:moveTo>
                    <a:pt x="10" y="251"/>
                  </a:moveTo>
                  <a:cubicBezTo>
                    <a:pt x="11" y="251"/>
                    <a:pt x="11" y="250"/>
                    <a:pt x="12" y="251"/>
                  </a:cubicBezTo>
                  <a:cubicBezTo>
                    <a:pt x="12" y="251"/>
                    <a:pt x="11" y="251"/>
                    <a:pt x="12" y="252"/>
                  </a:cubicBezTo>
                  <a:cubicBezTo>
                    <a:pt x="12" y="252"/>
                    <a:pt x="12" y="251"/>
                    <a:pt x="13" y="252"/>
                  </a:cubicBezTo>
                  <a:cubicBezTo>
                    <a:pt x="14" y="252"/>
                    <a:pt x="14" y="252"/>
                    <a:pt x="14" y="251"/>
                  </a:cubicBezTo>
                  <a:cubicBezTo>
                    <a:pt x="13" y="251"/>
                    <a:pt x="13" y="250"/>
                    <a:pt x="12" y="250"/>
                  </a:cubicBezTo>
                  <a:cubicBezTo>
                    <a:pt x="12" y="250"/>
                    <a:pt x="12" y="249"/>
                    <a:pt x="11" y="250"/>
                  </a:cubicBezTo>
                  <a:cubicBezTo>
                    <a:pt x="11" y="250"/>
                    <a:pt x="11" y="249"/>
                    <a:pt x="10" y="249"/>
                  </a:cubicBezTo>
                  <a:cubicBezTo>
                    <a:pt x="9" y="249"/>
                    <a:pt x="8" y="249"/>
                    <a:pt x="7" y="248"/>
                  </a:cubicBezTo>
                  <a:cubicBezTo>
                    <a:pt x="6" y="247"/>
                    <a:pt x="5" y="247"/>
                    <a:pt x="6" y="248"/>
                  </a:cubicBezTo>
                  <a:cubicBezTo>
                    <a:pt x="7" y="248"/>
                    <a:pt x="6" y="248"/>
                    <a:pt x="7" y="249"/>
                  </a:cubicBezTo>
                  <a:cubicBezTo>
                    <a:pt x="8" y="249"/>
                    <a:pt x="7" y="250"/>
                    <a:pt x="9" y="250"/>
                  </a:cubicBezTo>
                  <a:cubicBezTo>
                    <a:pt x="9" y="250"/>
                    <a:pt x="10" y="250"/>
                    <a:pt x="10" y="251"/>
                  </a:cubicBezTo>
                  <a:close/>
                  <a:moveTo>
                    <a:pt x="9" y="238"/>
                  </a:moveTo>
                  <a:cubicBezTo>
                    <a:pt x="9" y="237"/>
                    <a:pt x="9" y="238"/>
                    <a:pt x="9" y="239"/>
                  </a:cubicBezTo>
                  <a:cubicBezTo>
                    <a:pt x="8" y="239"/>
                    <a:pt x="9" y="240"/>
                    <a:pt x="10" y="240"/>
                  </a:cubicBezTo>
                  <a:cubicBezTo>
                    <a:pt x="10" y="239"/>
                    <a:pt x="10" y="238"/>
                    <a:pt x="9" y="238"/>
                  </a:cubicBezTo>
                  <a:close/>
                  <a:moveTo>
                    <a:pt x="5" y="241"/>
                  </a:moveTo>
                  <a:cubicBezTo>
                    <a:pt x="5" y="240"/>
                    <a:pt x="6" y="240"/>
                    <a:pt x="6" y="239"/>
                  </a:cubicBezTo>
                  <a:cubicBezTo>
                    <a:pt x="5" y="238"/>
                    <a:pt x="5" y="238"/>
                    <a:pt x="5" y="239"/>
                  </a:cubicBezTo>
                  <a:cubicBezTo>
                    <a:pt x="5" y="240"/>
                    <a:pt x="5" y="240"/>
                    <a:pt x="5" y="239"/>
                  </a:cubicBezTo>
                  <a:cubicBezTo>
                    <a:pt x="4" y="239"/>
                    <a:pt x="4" y="240"/>
                    <a:pt x="4" y="240"/>
                  </a:cubicBezTo>
                  <a:cubicBezTo>
                    <a:pt x="5" y="241"/>
                    <a:pt x="4" y="241"/>
                    <a:pt x="4" y="242"/>
                  </a:cubicBezTo>
                  <a:cubicBezTo>
                    <a:pt x="4" y="242"/>
                    <a:pt x="5" y="242"/>
                    <a:pt x="5" y="241"/>
                  </a:cubicBezTo>
                  <a:close/>
                  <a:moveTo>
                    <a:pt x="8" y="240"/>
                  </a:moveTo>
                  <a:cubicBezTo>
                    <a:pt x="7" y="239"/>
                    <a:pt x="7" y="239"/>
                    <a:pt x="7" y="239"/>
                  </a:cubicBezTo>
                  <a:cubicBezTo>
                    <a:pt x="8" y="240"/>
                    <a:pt x="7" y="240"/>
                    <a:pt x="8" y="241"/>
                  </a:cubicBezTo>
                  <a:cubicBezTo>
                    <a:pt x="9" y="241"/>
                    <a:pt x="9" y="240"/>
                    <a:pt x="8" y="240"/>
                  </a:cubicBezTo>
                  <a:close/>
                  <a:moveTo>
                    <a:pt x="10" y="242"/>
                  </a:moveTo>
                  <a:cubicBezTo>
                    <a:pt x="11" y="244"/>
                    <a:pt x="11" y="243"/>
                    <a:pt x="11" y="242"/>
                  </a:cubicBezTo>
                  <a:cubicBezTo>
                    <a:pt x="10" y="241"/>
                    <a:pt x="9" y="240"/>
                    <a:pt x="9" y="241"/>
                  </a:cubicBezTo>
                  <a:cubicBezTo>
                    <a:pt x="9" y="242"/>
                    <a:pt x="9" y="241"/>
                    <a:pt x="10" y="242"/>
                  </a:cubicBezTo>
                  <a:close/>
                  <a:moveTo>
                    <a:pt x="10" y="244"/>
                  </a:moveTo>
                  <a:cubicBezTo>
                    <a:pt x="10" y="244"/>
                    <a:pt x="10" y="243"/>
                    <a:pt x="9" y="242"/>
                  </a:cubicBezTo>
                  <a:cubicBezTo>
                    <a:pt x="8" y="242"/>
                    <a:pt x="7" y="242"/>
                    <a:pt x="8" y="242"/>
                  </a:cubicBezTo>
                  <a:cubicBezTo>
                    <a:pt x="8" y="243"/>
                    <a:pt x="8" y="242"/>
                    <a:pt x="8" y="243"/>
                  </a:cubicBezTo>
                  <a:cubicBezTo>
                    <a:pt x="9" y="243"/>
                    <a:pt x="8" y="243"/>
                    <a:pt x="9" y="244"/>
                  </a:cubicBezTo>
                  <a:cubicBezTo>
                    <a:pt x="9" y="245"/>
                    <a:pt x="9" y="244"/>
                    <a:pt x="10" y="244"/>
                  </a:cubicBezTo>
                  <a:close/>
                  <a:moveTo>
                    <a:pt x="6" y="241"/>
                  </a:moveTo>
                  <a:cubicBezTo>
                    <a:pt x="7" y="240"/>
                    <a:pt x="6" y="240"/>
                    <a:pt x="6" y="241"/>
                  </a:cubicBezTo>
                  <a:cubicBezTo>
                    <a:pt x="5" y="242"/>
                    <a:pt x="5" y="243"/>
                    <a:pt x="5" y="242"/>
                  </a:cubicBezTo>
                  <a:cubicBezTo>
                    <a:pt x="6" y="242"/>
                    <a:pt x="6" y="242"/>
                    <a:pt x="6" y="241"/>
                  </a:cubicBezTo>
                  <a:close/>
                  <a:moveTo>
                    <a:pt x="6" y="244"/>
                  </a:moveTo>
                  <a:cubicBezTo>
                    <a:pt x="6" y="244"/>
                    <a:pt x="7" y="243"/>
                    <a:pt x="6" y="243"/>
                  </a:cubicBezTo>
                  <a:cubicBezTo>
                    <a:pt x="6" y="243"/>
                    <a:pt x="5" y="243"/>
                    <a:pt x="5" y="243"/>
                  </a:cubicBezTo>
                  <a:cubicBezTo>
                    <a:pt x="5" y="243"/>
                    <a:pt x="5" y="243"/>
                    <a:pt x="6" y="244"/>
                  </a:cubicBezTo>
                  <a:close/>
                  <a:moveTo>
                    <a:pt x="4" y="237"/>
                  </a:moveTo>
                  <a:cubicBezTo>
                    <a:pt x="4" y="236"/>
                    <a:pt x="4" y="236"/>
                    <a:pt x="4" y="236"/>
                  </a:cubicBezTo>
                  <a:cubicBezTo>
                    <a:pt x="3" y="235"/>
                    <a:pt x="3" y="236"/>
                    <a:pt x="3" y="237"/>
                  </a:cubicBezTo>
                  <a:cubicBezTo>
                    <a:pt x="3" y="238"/>
                    <a:pt x="2" y="239"/>
                    <a:pt x="3" y="238"/>
                  </a:cubicBezTo>
                  <a:cubicBezTo>
                    <a:pt x="4" y="238"/>
                    <a:pt x="3" y="237"/>
                    <a:pt x="4" y="237"/>
                  </a:cubicBezTo>
                  <a:close/>
                  <a:moveTo>
                    <a:pt x="8" y="236"/>
                  </a:moveTo>
                  <a:cubicBezTo>
                    <a:pt x="8" y="236"/>
                    <a:pt x="8" y="237"/>
                    <a:pt x="9" y="237"/>
                  </a:cubicBezTo>
                  <a:cubicBezTo>
                    <a:pt x="9" y="237"/>
                    <a:pt x="9" y="236"/>
                    <a:pt x="8" y="236"/>
                  </a:cubicBezTo>
                  <a:close/>
                  <a:moveTo>
                    <a:pt x="10" y="236"/>
                  </a:moveTo>
                  <a:cubicBezTo>
                    <a:pt x="10" y="235"/>
                    <a:pt x="9" y="235"/>
                    <a:pt x="9" y="236"/>
                  </a:cubicBezTo>
                  <a:cubicBezTo>
                    <a:pt x="9" y="237"/>
                    <a:pt x="10" y="236"/>
                    <a:pt x="10" y="236"/>
                  </a:cubicBezTo>
                  <a:close/>
                  <a:moveTo>
                    <a:pt x="6" y="236"/>
                  </a:moveTo>
                  <a:cubicBezTo>
                    <a:pt x="6" y="237"/>
                    <a:pt x="7" y="237"/>
                    <a:pt x="7" y="236"/>
                  </a:cubicBezTo>
                  <a:cubicBezTo>
                    <a:pt x="6" y="236"/>
                    <a:pt x="7" y="235"/>
                    <a:pt x="6" y="235"/>
                  </a:cubicBezTo>
                  <a:cubicBezTo>
                    <a:pt x="5" y="235"/>
                    <a:pt x="5" y="236"/>
                    <a:pt x="5" y="236"/>
                  </a:cubicBezTo>
                  <a:cubicBezTo>
                    <a:pt x="4" y="237"/>
                    <a:pt x="4" y="237"/>
                    <a:pt x="5" y="237"/>
                  </a:cubicBezTo>
                  <a:cubicBezTo>
                    <a:pt x="6" y="237"/>
                    <a:pt x="6" y="236"/>
                    <a:pt x="6" y="236"/>
                  </a:cubicBezTo>
                  <a:close/>
                  <a:moveTo>
                    <a:pt x="8" y="233"/>
                  </a:moveTo>
                  <a:cubicBezTo>
                    <a:pt x="8" y="233"/>
                    <a:pt x="8" y="235"/>
                    <a:pt x="8" y="235"/>
                  </a:cubicBezTo>
                  <a:cubicBezTo>
                    <a:pt x="9" y="235"/>
                    <a:pt x="8" y="233"/>
                    <a:pt x="8" y="233"/>
                  </a:cubicBezTo>
                  <a:close/>
                  <a:moveTo>
                    <a:pt x="7" y="224"/>
                  </a:moveTo>
                  <a:cubicBezTo>
                    <a:pt x="8" y="224"/>
                    <a:pt x="7" y="223"/>
                    <a:pt x="7" y="223"/>
                  </a:cubicBezTo>
                  <a:cubicBezTo>
                    <a:pt x="7" y="224"/>
                    <a:pt x="6" y="223"/>
                    <a:pt x="7" y="223"/>
                  </a:cubicBezTo>
                  <a:cubicBezTo>
                    <a:pt x="7" y="222"/>
                    <a:pt x="7" y="221"/>
                    <a:pt x="7" y="219"/>
                  </a:cubicBezTo>
                  <a:cubicBezTo>
                    <a:pt x="7" y="217"/>
                    <a:pt x="7" y="216"/>
                    <a:pt x="7" y="216"/>
                  </a:cubicBezTo>
                  <a:cubicBezTo>
                    <a:pt x="6" y="216"/>
                    <a:pt x="6" y="216"/>
                    <a:pt x="5" y="216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5" y="218"/>
                    <a:pt x="4" y="218"/>
                    <a:pt x="5" y="218"/>
                  </a:cubicBezTo>
                  <a:cubicBezTo>
                    <a:pt x="5" y="219"/>
                    <a:pt x="5" y="220"/>
                    <a:pt x="5" y="221"/>
                  </a:cubicBezTo>
                  <a:cubicBezTo>
                    <a:pt x="5" y="221"/>
                    <a:pt x="4" y="220"/>
                    <a:pt x="4" y="220"/>
                  </a:cubicBezTo>
                  <a:cubicBezTo>
                    <a:pt x="3" y="221"/>
                    <a:pt x="3" y="220"/>
                    <a:pt x="3" y="220"/>
                  </a:cubicBezTo>
                  <a:cubicBezTo>
                    <a:pt x="2" y="221"/>
                    <a:pt x="2" y="221"/>
                    <a:pt x="3" y="222"/>
                  </a:cubicBezTo>
                  <a:cubicBezTo>
                    <a:pt x="3" y="223"/>
                    <a:pt x="3" y="224"/>
                    <a:pt x="4" y="225"/>
                  </a:cubicBezTo>
                  <a:cubicBezTo>
                    <a:pt x="5" y="226"/>
                    <a:pt x="5" y="224"/>
                    <a:pt x="4" y="223"/>
                  </a:cubicBezTo>
                  <a:cubicBezTo>
                    <a:pt x="4" y="222"/>
                    <a:pt x="4" y="222"/>
                    <a:pt x="5" y="223"/>
                  </a:cubicBezTo>
                  <a:cubicBezTo>
                    <a:pt x="6" y="223"/>
                    <a:pt x="5" y="223"/>
                    <a:pt x="5" y="224"/>
                  </a:cubicBezTo>
                  <a:cubicBezTo>
                    <a:pt x="5" y="225"/>
                    <a:pt x="5" y="224"/>
                    <a:pt x="5" y="225"/>
                  </a:cubicBezTo>
                  <a:cubicBezTo>
                    <a:pt x="5" y="226"/>
                    <a:pt x="5" y="226"/>
                    <a:pt x="6" y="226"/>
                  </a:cubicBezTo>
                  <a:cubicBezTo>
                    <a:pt x="8" y="226"/>
                    <a:pt x="7" y="224"/>
                    <a:pt x="7" y="224"/>
                  </a:cubicBezTo>
                  <a:close/>
                  <a:moveTo>
                    <a:pt x="3" y="231"/>
                  </a:moveTo>
                  <a:cubicBezTo>
                    <a:pt x="4" y="230"/>
                    <a:pt x="4" y="230"/>
                    <a:pt x="3" y="230"/>
                  </a:cubicBezTo>
                  <a:cubicBezTo>
                    <a:pt x="1" y="229"/>
                    <a:pt x="3" y="230"/>
                    <a:pt x="2" y="231"/>
                  </a:cubicBezTo>
                  <a:cubicBezTo>
                    <a:pt x="2" y="231"/>
                    <a:pt x="1" y="232"/>
                    <a:pt x="2" y="232"/>
                  </a:cubicBezTo>
                  <a:cubicBezTo>
                    <a:pt x="3" y="232"/>
                    <a:pt x="3" y="231"/>
                    <a:pt x="3" y="231"/>
                  </a:cubicBezTo>
                  <a:close/>
                  <a:moveTo>
                    <a:pt x="8" y="232"/>
                  </a:moveTo>
                  <a:cubicBezTo>
                    <a:pt x="9" y="232"/>
                    <a:pt x="9" y="232"/>
                    <a:pt x="8" y="231"/>
                  </a:cubicBezTo>
                  <a:cubicBezTo>
                    <a:pt x="8" y="230"/>
                    <a:pt x="8" y="230"/>
                    <a:pt x="7" y="229"/>
                  </a:cubicBezTo>
                  <a:cubicBezTo>
                    <a:pt x="7" y="229"/>
                    <a:pt x="6" y="229"/>
                    <a:pt x="7" y="230"/>
                  </a:cubicBezTo>
                  <a:cubicBezTo>
                    <a:pt x="8" y="231"/>
                    <a:pt x="6" y="230"/>
                    <a:pt x="7" y="232"/>
                  </a:cubicBezTo>
                  <a:cubicBezTo>
                    <a:pt x="8" y="232"/>
                    <a:pt x="8" y="232"/>
                    <a:pt x="8" y="232"/>
                  </a:cubicBezTo>
                  <a:close/>
                  <a:moveTo>
                    <a:pt x="2" y="224"/>
                  </a:moveTo>
                  <a:cubicBezTo>
                    <a:pt x="3" y="224"/>
                    <a:pt x="2" y="225"/>
                    <a:pt x="3" y="225"/>
                  </a:cubicBezTo>
                  <a:cubicBezTo>
                    <a:pt x="3" y="225"/>
                    <a:pt x="3" y="225"/>
                    <a:pt x="3" y="224"/>
                  </a:cubicBezTo>
                  <a:cubicBezTo>
                    <a:pt x="3" y="223"/>
                    <a:pt x="3" y="223"/>
                    <a:pt x="2" y="223"/>
                  </a:cubicBezTo>
                  <a:cubicBezTo>
                    <a:pt x="1" y="223"/>
                    <a:pt x="1" y="223"/>
                    <a:pt x="1" y="225"/>
                  </a:cubicBezTo>
                  <a:cubicBezTo>
                    <a:pt x="1" y="225"/>
                    <a:pt x="2" y="225"/>
                    <a:pt x="2" y="224"/>
                  </a:cubicBezTo>
                  <a:close/>
                  <a:moveTo>
                    <a:pt x="3" y="229"/>
                  </a:moveTo>
                  <a:cubicBezTo>
                    <a:pt x="3" y="229"/>
                    <a:pt x="3" y="230"/>
                    <a:pt x="4" y="229"/>
                  </a:cubicBezTo>
                  <a:cubicBezTo>
                    <a:pt x="4" y="228"/>
                    <a:pt x="4" y="229"/>
                    <a:pt x="5" y="229"/>
                  </a:cubicBezTo>
                  <a:cubicBezTo>
                    <a:pt x="5" y="228"/>
                    <a:pt x="4" y="228"/>
                    <a:pt x="5" y="228"/>
                  </a:cubicBezTo>
                  <a:cubicBezTo>
                    <a:pt x="6" y="227"/>
                    <a:pt x="5" y="227"/>
                    <a:pt x="5" y="227"/>
                  </a:cubicBezTo>
                  <a:cubicBezTo>
                    <a:pt x="4" y="228"/>
                    <a:pt x="5" y="226"/>
                    <a:pt x="4" y="227"/>
                  </a:cubicBezTo>
                  <a:cubicBezTo>
                    <a:pt x="4" y="227"/>
                    <a:pt x="3" y="226"/>
                    <a:pt x="2" y="226"/>
                  </a:cubicBezTo>
                  <a:cubicBezTo>
                    <a:pt x="1" y="226"/>
                    <a:pt x="4" y="227"/>
                    <a:pt x="3" y="227"/>
                  </a:cubicBezTo>
                  <a:cubicBezTo>
                    <a:pt x="3" y="228"/>
                    <a:pt x="2" y="226"/>
                    <a:pt x="2" y="228"/>
                  </a:cubicBezTo>
                  <a:cubicBezTo>
                    <a:pt x="2" y="229"/>
                    <a:pt x="3" y="228"/>
                    <a:pt x="3" y="229"/>
                  </a:cubicBezTo>
                  <a:close/>
                  <a:moveTo>
                    <a:pt x="7" y="234"/>
                  </a:moveTo>
                  <a:cubicBezTo>
                    <a:pt x="7" y="234"/>
                    <a:pt x="8" y="233"/>
                    <a:pt x="7" y="233"/>
                  </a:cubicBezTo>
                  <a:cubicBezTo>
                    <a:pt x="7" y="232"/>
                    <a:pt x="6" y="231"/>
                    <a:pt x="6" y="232"/>
                  </a:cubicBezTo>
                  <a:cubicBezTo>
                    <a:pt x="6" y="233"/>
                    <a:pt x="7" y="233"/>
                    <a:pt x="6" y="233"/>
                  </a:cubicBezTo>
                  <a:cubicBezTo>
                    <a:pt x="4" y="233"/>
                    <a:pt x="4" y="233"/>
                    <a:pt x="5" y="233"/>
                  </a:cubicBezTo>
                  <a:cubicBezTo>
                    <a:pt x="6" y="234"/>
                    <a:pt x="5" y="234"/>
                    <a:pt x="6" y="234"/>
                  </a:cubicBezTo>
                  <a:cubicBezTo>
                    <a:pt x="6" y="235"/>
                    <a:pt x="7" y="233"/>
                    <a:pt x="7" y="234"/>
                  </a:cubicBezTo>
                  <a:close/>
                  <a:moveTo>
                    <a:pt x="5" y="231"/>
                  </a:moveTo>
                  <a:cubicBezTo>
                    <a:pt x="4" y="232"/>
                    <a:pt x="5" y="232"/>
                    <a:pt x="6" y="233"/>
                  </a:cubicBezTo>
                  <a:cubicBezTo>
                    <a:pt x="6" y="233"/>
                    <a:pt x="5" y="231"/>
                    <a:pt x="5" y="231"/>
                  </a:cubicBezTo>
                  <a:close/>
                  <a:moveTo>
                    <a:pt x="7" y="234"/>
                  </a:moveTo>
                  <a:cubicBezTo>
                    <a:pt x="7" y="234"/>
                    <a:pt x="6" y="235"/>
                    <a:pt x="7" y="235"/>
                  </a:cubicBezTo>
                  <a:cubicBezTo>
                    <a:pt x="8" y="236"/>
                    <a:pt x="7" y="235"/>
                    <a:pt x="7" y="234"/>
                  </a:cubicBezTo>
                  <a:close/>
                  <a:moveTo>
                    <a:pt x="5" y="219"/>
                  </a:moveTo>
                  <a:cubicBezTo>
                    <a:pt x="5" y="219"/>
                    <a:pt x="3" y="218"/>
                    <a:pt x="3" y="219"/>
                  </a:cubicBezTo>
                  <a:cubicBezTo>
                    <a:pt x="3" y="220"/>
                    <a:pt x="4" y="219"/>
                    <a:pt x="4" y="220"/>
                  </a:cubicBezTo>
                  <a:cubicBezTo>
                    <a:pt x="5" y="220"/>
                    <a:pt x="5" y="220"/>
                    <a:pt x="5" y="219"/>
                  </a:cubicBezTo>
                  <a:close/>
                  <a:moveTo>
                    <a:pt x="7" y="215"/>
                  </a:moveTo>
                  <a:cubicBezTo>
                    <a:pt x="7" y="215"/>
                    <a:pt x="7" y="216"/>
                    <a:pt x="7" y="215"/>
                  </a:cubicBezTo>
                  <a:cubicBezTo>
                    <a:pt x="6" y="214"/>
                    <a:pt x="7" y="214"/>
                    <a:pt x="7" y="213"/>
                  </a:cubicBezTo>
                  <a:cubicBezTo>
                    <a:pt x="6" y="212"/>
                    <a:pt x="6" y="211"/>
                    <a:pt x="6" y="212"/>
                  </a:cubicBezTo>
                  <a:cubicBezTo>
                    <a:pt x="5" y="213"/>
                    <a:pt x="6" y="213"/>
                    <a:pt x="6" y="214"/>
                  </a:cubicBezTo>
                  <a:cubicBezTo>
                    <a:pt x="6" y="215"/>
                    <a:pt x="5" y="213"/>
                    <a:pt x="4" y="214"/>
                  </a:cubicBezTo>
                  <a:cubicBezTo>
                    <a:pt x="4" y="215"/>
                    <a:pt x="5" y="215"/>
                    <a:pt x="6" y="216"/>
                  </a:cubicBezTo>
                  <a:cubicBezTo>
                    <a:pt x="7" y="216"/>
                    <a:pt x="7" y="216"/>
                    <a:pt x="7" y="215"/>
                  </a:cubicBezTo>
                  <a:close/>
                  <a:moveTo>
                    <a:pt x="10" y="210"/>
                  </a:moveTo>
                  <a:cubicBezTo>
                    <a:pt x="10" y="211"/>
                    <a:pt x="10" y="210"/>
                    <a:pt x="11" y="210"/>
                  </a:cubicBezTo>
                  <a:cubicBezTo>
                    <a:pt x="11" y="210"/>
                    <a:pt x="10" y="210"/>
                    <a:pt x="9" y="209"/>
                  </a:cubicBezTo>
                  <a:cubicBezTo>
                    <a:pt x="9" y="209"/>
                    <a:pt x="7" y="209"/>
                    <a:pt x="7" y="210"/>
                  </a:cubicBezTo>
                  <a:cubicBezTo>
                    <a:pt x="7" y="211"/>
                    <a:pt x="9" y="210"/>
                    <a:pt x="10" y="210"/>
                  </a:cubicBezTo>
                  <a:close/>
                  <a:moveTo>
                    <a:pt x="5" y="214"/>
                  </a:moveTo>
                  <a:cubicBezTo>
                    <a:pt x="5" y="213"/>
                    <a:pt x="5" y="213"/>
                    <a:pt x="5" y="212"/>
                  </a:cubicBezTo>
                  <a:cubicBezTo>
                    <a:pt x="5" y="212"/>
                    <a:pt x="4" y="212"/>
                    <a:pt x="4" y="211"/>
                  </a:cubicBezTo>
                  <a:cubicBezTo>
                    <a:pt x="3" y="211"/>
                    <a:pt x="3" y="213"/>
                    <a:pt x="4" y="214"/>
                  </a:cubicBezTo>
                  <a:cubicBezTo>
                    <a:pt x="4" y="214"/>
                    <a:pt x="5" y="214"/>
                    <a:pt x="5" y="214"/>
                  </a:cubicBezTo>
                  <a:close/>
                  <a:moveTo>
                    <a:pt x="2" y="220"/>
                  </a:moveTo>
                  <a:cubicBezTo>
                    <a:pt x="2" y="219"/>
                    <a:pt x="3" y="220"/>
                    <a:pt x="2" y="219"/>
                  </a:cubicBezTo>
                  <a:cubicBezTo>
                    <a:pt x="2" y="218"/>
                    <a:pt x="2" y="219"/>
                    <a:pt x="2" y="219"/>
                  </a:cubicBezTo>
                  <a:cubicBezTo>
                    <a:pt x="1" y="219"/>
                    <a:pt x="1" y="220"/>
                    <a:pt x="1" y="220"/>
                  </a:cubicBezTo>
                  <a:cubicBezTo>
                    <a:pt x="2" y="221"/>
                    <a:pt x="2" y="221"/>
                    <a:pt x="2" y="220"/>
                  </a:cubicBezTo>
                  <a:close/>
                  <a:moveTo>
                    <a:pt x="5" y="209"/>
                  </a:moveTo>
                  <a:cubicBezTo>
                    <a:pt x="5" y="209"/>
                    <a:pt x="5" y="210"/>
                    <a:pt x="4" y="210"/>
                  </a:cubicBezTo>
                  <a:cubicBezTo>
                    <a:pt x="3" y="210"/>
                    <a:pt x="3" y="211"/>
                    <a:pt x="4" y="211"/>
                  </a:cubicBezTo>
                  <a:cubicBezTo>
                    <a:pt x="5" y="211"/>
                    <a:pt x="4" y="211"/>
                    <a:pt x="5" y="211"/>
                  </a:cubicBezTo>
                  <a:cubicBezTo>
                    <a:pt x="5" y="211"/>
                    <a:pt x="6" y="209"/>
                    <a:pt x="5" y="209"/>
                  </a:cubicBezTo>
                  <a:close/>
                  <a:moveTo>
                    <a:pt x="4" y="215"/>
                  </a:moveTo>
                  <a:cubicBezTo>
                    <a:pt x="4" y="214"/>
                    <a:pt x="3" y="213"/>
                    <a:pt x="3" y="212"/>
                  </a:cubicBezTo>
                  <a:cubicBezTo>
                    <a:pt x="2" y="211"/>
                    <a:pt x="2" y="211"/>
                    <a:pt x="2" y="211"/>
                  </a:cubicBezTo>
                  <a:cubicBezTo>
                    <a:pt x="1" y="212"/>
                    <a:pt x="2" y="212"/>
                    <a:pt x="2" y="213"/>
                  </a:cubicBezTo>
                  <a:cubicBezTo>
                    <a:pt x="1" y="213"/>
                    <a:pt x="1" y="214"/>
                    <a:pt x="2" y="214"/>
                  </a:cubicBezTo>
                  <a:cubicBezTo>
                    <a:pt x="3" y="213"/>
                    <a:pt x="3" y="214"/>
                    <a:pt x="3" y="215"/>
                  </a:cubicBezTo>
                  <a:cubicBezTo>
                    <a:pt x="3" y="215"/>
                    <a:pt x="3" y="216"/>
                    <a:pt x="3" y="216"/>
                  </a:cubicBezTo>
                  <a:cubicBezTo>
                    <a:pt x="4" y="215"/>
                    <a:pt x="4" y="215"/>
                    <a:pt x="4" y="215"/>
                  </a:cubicBezTo>
                  <a:close/>
                  <a:moveTo>
                    <a:pt x="2" y="216"/>
                  </a:moveTo>
                  <a:cubicBezTo>
                    <a:pt x="3" y="215"/>
                    <a:pt x="2" y="214"/>
                    <a:pt x="2" y="214"/>
                  </a:cubicBezTo>
                  <a:cubicBezTo>
                    <a:pt x="1" y="215"/>
                    <a:pt x="1" y="214"/>
                    <a:pt x="1" y="215"/>
                  </a:cubicBezTo>
                  <a:cubicBezTo>
                    <a:pt x="1" y="216"/>
                    <a:pt x="1" y="216"/>
                    <a:pt x="2" y="216"/>
                  </a:cubicBezTo>
                  <a:close/>
                  <a:moveTo>
                    <a:pt x="2" y="218"/>
                  </a:moveTo>
                  <a:cubicBezTo>
                    <a:pt x="3" y="218"/>
                    <a:pt x="3" y="219"/>
                    <a:pt x="3" y="218"/>
                  </a:cubicBezTo>
                  <a:cubicBezTo>
                    <a:pt x="3" y="218"/>
                    <a:pt x="3" y="217"/>
                    <a:pt x="2" y="217"/>
                  </a:cubicBezTo>
                  <a:cubicBezTo>
                    <a:pt x="2" y="217"/>
                    <a:pt x="0" y="217"/>
                    <a:pt x="1" y="218"/>
                  </a:cubicBezTo>
                  <a:cubicBezTo>
                    <a:pt x="1" y="218"/>
                    <a:pt x="2" y="218"/>
                    <a:pt x="2" y="218"/>
                  </a:cubicBezTo>
                  <a:close/>
                  <a:moveTo>
                    <a:pt x="4" y="209"/>
                  </a:moveTo>
                  <a:cubicBezTo>
                    <a:pt x="4" y="208"/>
                    <a:pt x="3" y="209"/>
                    <a:pt x="3" y="209"/>
                  </a:cubicBezTo>
                  <a:cubicBezTo>
                    <a:pt x="3" y="210"/>
                    <a:pt x="4" y="209"/>
                    <a:pt x="4" y="209"/>
                  </a:cubicBezTo>
                  <a:close/>
                  <a:moveTo>
                    <a:pt x="9" y="204"/>
                  </a:moveTo>
                  <a:cubicBezTo>
                    <a:pt x="10" y="203"/>
                    <a:pt x="8" y="203"/>
                    <a:pt x="8" y="204"/>
                  </a:cubicBezTo>
                  <a:cubicBezTo>
                    <a:pt x="8" y="204"/>
                    <a:pt x="9" y="204"/>
                    <a:pt x="9" y="204"/>
                  </a:cubicBezTo>
                  <a:close/>
                  <a:moveTo>
                    <a:pt x="2" y="216"/>
                  </a:moveTo>
                  <a:cubicBezTo>
                    <a:pt x="3" y="216"/>
                    <a:pt x="3" y="216"/>
                    <a:pt x="2" y="216"/>
                  </a:cubicBezTo>
                  <a:cubicBezTo>
                    <a:pt x="1" y="216"/>
                    <a:pt x="1" y="216"/>
                    <a:pt x="1" y="217"/>
                  </a:cubicBezTo>
                  <a:cubicBezTo>
                    <a:pt x="1" y="217"/>
                    <a:pt x="1" y="217"/>
                    <a:pt x="2" y="216"/>
                  </a:cubicBezTo>
                  <a:close/>
                  <a:moveTo>
                    <a:pt x="4" y="218"/>
                  </a:moveTo>
                  <a:cubicBezTo>
                    <a:pt x="4" y="218"/>
                    <a:pt x="4" y="217"/>
                    <a:pt x="3" y="217"/>
                  </a:cubicBezTo>
                  <a:cubicBezTo>
                    <a:pt x="3" y="217"/>
                    <a:pt x="3" y="217"/>
                    <a:pt x="3" y="218"/>
                  </a:cubicBezTo>
                  <a:cubicBezTo>
                    <a:pt x="3" y="218"/>
                    <a:pt x="3" y="218"/>
                    <a:pt x="4" y="218"/>
                  </a:cubicBezTo>
                  <a:close/>
                  <a:moveTo>
                    <a:pt x="9" y="214"/>
                  </a:moveTo>
                  <a:cubicBezTo>
                    <a:pt x="9" y="214"/>
                    <a:pt x="8" y="213"/>
                    <a:pt x="7" y="213"/>
                  </a:cubicBezTo>
                  <a:cubicBezTo>
                    <a:pt x="7" y="212"/>
                    <a:pt x="7" y="211"/>
                    <a:pt x="7" y="212"/>
                  </a:cubicBezTo>
                  <a:cubicBezTo>
                    <a:pt x="7" y="214"/>
                    <a:pt x="7" y="213"/>
                    <a:pt x="7" y="214"/>
                  </a:cubicBezTo>
                  <a:cubicBezTo>
                    <a:pt x="8" y="214"/>
                    <a:pt x="9" y="214"/>
                    <a:pt x="9" y="214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7" name="Freeform 20267">
              <a:extLst>
                <a:ext uri="{FF2B5EF4-FFF2-40B4-BE49-F238E27FC236}">
                  <a16:creationId xmlns:a16="http://schemas.microsoft.com/office/drawing/2014/main" id="{DF89D9A7-1155-7C49-BF54-221893EC11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2025" y="4939249"/>
              <a:ext cx="451935" cy="1035077"/>
            </a:xfrm>
            <a:custGeom>
              <a:avLst/>
              <a:gdLst/>
              <a:ahLst/>
              <a:cxnLst>
                <a:cxn ang="0">
                  <a:pos x="81" y="67"/>
                </a:cxn>
                <a:cxn ang="0">
                  <a:pos x="85" y="90"/>
                </a:cxn>
                <a:cxn ang="0">
                  <a:pos x="86" y="107"/>
                </a:cxn>
                <a:cxn ang="0">
                  <a:pos x="61" y="116"/>
                </a:cxn>
                <a:cxn ang="0">
                  <a:pos x="60" y="128"/>
                </a:cxn>
                <a:cxn ang="0">
                  <a:pos x="45" y="130"/>
                </a:cxn>
                <a:cxn ang="0">
                  <a:pos x="53" y="143"/>
                </a:cxn>
                <a:cxn ang="0">
                  <a:pos x="48" y="146"/>
                </a:cxn>
                <a:cxn ang="0">
                  <a:pos x="38" y="161"/>
                </a:cxn>
                <a:cxn ang="0">
                  <a:pos x="42" y="177"/>
                </a:cxn>
                <a:cxn ang="0">
                  <a:pos x="32" y="192"/>
                </a:cxn>
                <a:cxn ang="0">
                  <a:pos x="28" y="216"/>
                </a:cxn>
                <a:cxn ang="0">
                  <a:pos x="8" y="211"/>
                </a:cxn>
                <a:cxn ang="0">
                  <a:pos x="1" y="197"/>
                </a:cxn>
                <a:cxn ang="0">
                  <a:pos x="7" y="181"/>
                </a:cxn>
                <a:cxn ang="0">
                  <a:pos x="10" y="168"/>
                </a:cxn>
                <a:cxn ang="0">
                  <a:pos x="11" y="159"/>
                </a:cxn>
                <a:cxn ang="0">
                  <a:pos x="10" y="147"/>
                </a:cxn>
                <a:cxn ang="0">
                  <a:pos x="10" y="133"/>
                </a:cxn>
                <a:cxn ang="0">
                  <a:pos x="14" y="115"/>
                </a:cxn>
                <a:cxn ang="0">
                  <a:pos x="17" y="97"/>
                </a:cxn>
                <a:cxn ang="0">
                  <a:pos x="20" y="77"/>
                </a:cxn>
                <a:cxn ang="0">
                  <a:pos x="18" y="59"/>
                </a:cxn>
                <a:cxn ang="0">
                  <a:pos x="22" y="43"/>
                </a:cxn>
                <a:cxn ang="0">
                  <a:pos x="27" y="21"/>
                </a:cxn>
                <a:cxn ang="0">
                  <a:pos x="34" y="7"/>
                </a:cxn>
                <a:cxn ang="0">
                  <a:pos x="43" y="3"/>
                </a:cxn>
                <a:cxn ang="0">
                  <a:pos x="56" y="2"/>
                </a:cxn>
                <a:cxn ang="0">
                  <a:pos x="66" y="13"/>
                </a:cxn>
                <a:cxn ang="0">
                  <a:pos x="84" y="25"/>
                </a:cxn>
                <a:cxn ang="0">
                  <a:pos x="79" y="36"/>
                </a:cxn>
                <a:cxn ang="0">
                  <a:pos x="95" y="37"/>
                </a:cxn>
                <a:cxn ang="0">
                  <a:pos x="104" y="27"/>
                </a:cxn>
                <a:cxn ang="0">
                  <a:pos x="87" y="53"/>
                </a:cxn>
                <a:cxn ang="0">
                  <a:pos x="29" y="236"/>
                </a:cxn>
                <a:cxn ang="0">
                  <a:pos x="42" y="236"/>
                </a:cxn>
                <a:cxn ang="0">
                  <a:pos x="43" y="234"/>
                </a:cxn>
                <a:cxn ang="0">
                  <a:pos x="30" y="225"/>
                </a:cxn>
                <a:cxn ang="0">
                  <a:pos x="28" y="222"/>
                </a:cxn>
                <a:cxn ang="0">
                  <a:pos x="27" y="236"/>
                </a:cxn>
                <a:cxn ang="0">
                  <a:pos x="51" y="235"/>
                </a:cxn>
                <a:cxn ang="0">
                  <a:pos x="47" y="236"/>
                </a:cxn>
                <a:cxn ang="0">
                  <a:pos x="32" y="238"/>
                </a:cxn>
                <a:cxn ang="0">
                  <a:pos x="33" y="237"/>
                </a:cxn>
                <a:cxn ang="0">
                  <a:pos x="29" y="239"/>
                </a:cxn>
                <a:cxn ang="0">
                  <a:pos x="35" y="239"/>
                </a:cxn>
                <a:cxn ang="0">
                  <a:pos x="37" y="239"/>
                </a:cxn>
              </a:cxnLst>
              <a:rect l="0" t="0" r="r" b="b"/>
              <a:pathLst>
                <a:path w="105" h="240">
                  <a:moveTo>
                    <a:pt x="84" y="56"/>
                  </a:moveTo>
                  <a:cubicBezTo>
                    <a:pt x="82" y="59"/>
                    <a:pt x="84" y="60"/>
                    <a:pt x="82" y="63"/>
                  </a:cubicBezTo>
                  <a:cubicBezTo>
                    <a:pt x="80" y="66"/>
                    <a:pt x="83" y="66"/>
                    <a:pt x="81" y="67"/>
                  </a:cubicBezTo>
                  <a:cubicBezTo>
                    <a:pt x="80" y="69"/>
                    <a:pt x="83" y="75"/>
                    <a:pt x="81" y="76"/>
                  </a:cubicBezTo>
                  <a:cubicBezTo>
                    <a:pt x="79" y="77"/>
                    <a:pt x="79" y="81"/>
                    <a:pt x="80" y="83"/>
                  </a:cubicBezTo>
                  <a:cubicBezTo>
                    <a:pt x="77" y="87"/>
                    <a:pt x="83" y="87"/>
                    <a:pt x="85" y="90"/>
                  </a:cubicBezTo>
                  <a:cubicBezTo>
                    <a:pt x="88" y="94"/>
                    <a:pt x="84" y="93"/>
                    <a:pt x="85" y="96"/>
                  </a:cubicBezTo>
                  <a:cubicBezTo>
                    <a:pt x="87" y="100"/>
                    <a:pt x="89" y="96"/>
                    <a:pt x="89" y="100"/>
                  </a:cubicBezTo>
                  <a:cubicBezTo>
                    <a:pt x="89" y="103"/>
                    <a:pt x="88" y="105"/>
                    <a:pt x="86" y="107"/>
                  </a:cubicBezTo>
                  <a:cubicBezTo>
                    <a:pt x="84" y="110"/>
                    <a:pt x="86" y="110"/>
                    <a:pt x="83" y="112"/>
                  </a:cubicBezTo>
                  <a:cubicBezTo>
                    <a:pt x="79" y="114"/>
                    <a:pt x="72" y="116"/>
                    <a:pt x="67" y="117"/>
                  </a:cubicBezTo>
                  <a:cubicBezTo>
                    <a:pt x="62" y="117"/>
                    <a:pt x="63" y="118"/>
                    <a:pt x="61" y="116"/>
                  </a:cubicBezTo>
                  <a:cubicBezTo>
                    <a:pt x="58" y="115"/>
                    <a:pt x="59" y="118"/>
                    <a:pt x="60" y="119"/>
                  </a:cubicBezTo>
                  <a:cubicBezTo>
                    <a:pt x="62" y="120"/>
                    <a:pt x="61" y="122"/>
                    <a:pt x="60" y="124"/>
                  </a:cubicBezTo>
                  <a:cubicBezTo>
                    <a:pt x="59" y="125"/>
                    <a:pt x="58" y="127"/>
                    <a:pt x="60" y="128"/>
                  </a:cubicBezTo>
                  <a:cubicBezTo>
                    <a:pt x="61" y="129"/>
                    <a:pt x="61" y="130"/>
                    <a:pt x="57" y="132"/>
                  </a:cubicBezTo>
                  <a:cubicBezTo>
                    <a:pt x="54" y="133"/>
                    <a:pt x="56" y="132"/>
                    <a:pt x="53" y="132"/>
                  </a:cubicBezTo>
                  <a:cubicBezTo>
                    <a:pt x="50" y="133"/>
                    <a:pt x="48" y="129"/>
                    <a:pt x="45" y="130"/>
                  </a:cubicBezTo>
                  <a:cubicBezTo>
                    <a:pt x="43" y="131"/>
                    <a:pt x="46" y="134"/>
                    <a:pt x="45" y="137"/>
                  </a:cubicBezTo>
                  <a:cubicBezTo>
                    <a:pt x="45" y="141"/>
                    <a:pt x="47" y="141"/>
                    <a:pt x="51" y="139"/>
                  </a:cubicBezTo>
                  <a:cubicBezTo>
                    <a:pt x="53" y="139"/>
                    <a:pt x="53" y="142"/>
                    <a:pt x="53" y="143"/>
                  </a:cubicBezTo>
                  <a:cubicBezTo>
                    <a:pt x="52" y="146"/>
                    <a:pt x="50" y="146"/>
                    <a:pt x="49" y="144"/>
                  </a:cubicBezTo>
                  <a:cubicBezTo>
                    <a:pt x="48" y="142"/>
                    <a:pt x="44" y="143"/>
                    <a:pt x="46" y="145"/>
                  </a:cubicBezTo>
                  <a:cubicBezTo>
                    <a:pt x="48" y="146"/>
                    <a:pt x="50" y="145"/>
                    <a:pt x="48" y="146"/>
                  </a:cubicBezTo>
                  <a:cubicBezTo>
                    <a:pt x="44" y="147"/>
                    <a:pt x="43" y="151"/>
                    <a:pt x="44" y="153"/>
                  </a:cubicBezTo>
                  <a:cubicBezTo>
                    <a:pt x="46" y="158"/>
                    <a:pt x="41" y="157"/>
                    <a:pt x="42" y="159"/>
                  </a:cubicBezTo>
                  <a:cubicBezTo>
                    <a:pt x="44" y="161"/>
                    <a:pt x="39" y="160"/>
                    <a:pt x="38" y="161"/>
                  </a:cubicBezTo>
                  <a:cubicBezTo>
                    <a:pt x="37" y="163"/>
                    <a:pt x="36" y="160"/>
                    <a:pt x="34" y="165"/>
                  </a:cubicBezTo>
                  <a:cubicBezTo>
                    <a:pt x="31" y="169"/>
                    <a:pt x="31" y="169"/>
                    <a:pt x="34" y="173"/>
                  </a:cubicBezTo>
                  <a:cubicBezTo>
                    <a:pt x="38" y="178"/>
                    <a:pt x="41" y="174"/>
                    <a:pt x="42" y="177"/>
                  </a:cubicBezTo>
                  <a:cubicBezTo>
                    <a:pt x="42" y="181"/>
                    <a:pt x="40" y="180"/>
                    <a:pt x="41" y="181"/>
                  </a:cubicBezTo>
                  <a:cubicBezTo>
                    <a:pt x="42" y="183"/>
                    <a:pt x="39" y="183"/>
                    <a:pt x="39" y="185"/>
                  </a:cubicBezTo>
                  <a:cubicBezTo>
                    <a:pt x="39" y="186"/>
                    <a:pt x="33" y="187"/>
                    <a:pt x="32" y="192"/>
                  </a:cubicBezTo>
                  <a:cubicBezTo>
                    <a:pt x="31" y="196"/>
                    <a:pt x="32" y="198"/>
                    <a:pt x="28" y="199"/>
                  </a:cubicBezTo>
                  <a:cubicBezTo>
                    <a:pt x="23" y="201"/>
                    <a:pt x="24" y="205"/>
                    <a:pt x="24" y="208"/>
                  </a:cubicBezTo>
                  <a:cubicBezTo>
                    <a:pt x="25" y="213"/>
                    <a:pt x="29" y="216"/>
                    <a:pt x="28" y="216"/>
                  </a:cubicBezTo>
                  <a:cubicBezTo>
                    <a:pt x="27" y="214"/>
                    <a:pt x="22" y="215"/>
                    <a:pt x="19" y="213"/>
                  </a:cubicBezTo>
                  <a:cubicBezTo>
                    <a:pt x="19" y="213"/>
                    <a:pt x="14" y="213"/>
                    <a:pt x="11" y="213"/>
                  </a:cubicBezTo>
                  <a:cubicBezTo>
                    <a:pt x="8" y="213"/>
                    <a:pt x="10" y="212"/>
                    <a:pt x="8" y="211"/>
                  </a:cubicBezTo>
                  <a:cubicBezTo>
                    <a:pt x="6" y="210"/>
                    <a:pt x="8" y="202"/>
                    <a:pt x="6" y="202"/>
                  </a:cubicBezTo>
                  <a:cubicBezTo>
                    <a:pt x="4" y="202"/>
                    <a:pt x="3" y="205"/>
                    <a:pt x="3" y="202"/>
                  </a:cubicBezTo>
                  <a:cubicBezTo>
                    <a:pt x="2" y="198"/>
                    <a:pt x="0" y="200"/>
                    <a:pt x="1" y="197"/>
                  </a:cubicBezTo>
                  <a:cubicBezTo>
                    <a:pt x="2" y="195"/>
                    <a:pt x="0" y="192"/>
                    <a:pt x="2" y="193"/>
                  </a:cubicBezTo>
                  <a:cubicBezTo>
                    <a:pt x="4" y="193"/>
                    <a:pt x="5" y="187"/>
                    <a:pt x="7" y="186"/>
                  </a:cubicBezTo>
                  <a:cubicBezTo>
                    <a:pt x="9" y="184"/>
                    <a:pt x="5" y="183"/>
                    <a:pt x="7" y="181"/>
                  </a:cubicBezTo>
                  <a:cubicBezTo>
                    <a:pt x="8" y="180"/>
                    <a:pt x="6" y="180"/>
                    <a:pt x="9" y="177"/>
                  </a:cubicBezTo>
                  <a:cubicBezTo>
                    <a:pt x="12" y="175"/>
                    <a:pt x="7" y="175"/>
                    <a:pt x="10" y="173"/>
                  </a:cubicBezTo>
                  <a:cubicBezTo>
                    <a:pt x="12" y="172"/>
                    <a:pt x="9" y="169"/>
                    <a:pt x="10" y="168"/>
                  </a:cubicBezTo>
                  <a:cubicBezTo>
                    <a:pt x="12" y="167"/>
                    <a:pt x="8" y="165"/>
                    <a:pt x="11" y="164"/>
                  </a:cubicBezTo>
                  <a:cubicBezTo>
                    <a:pt x="13" y="163"/>
                    <a:pt x="13" y="160"/>
                    <a:pt x="10" y="160"/>
                  </a:cubicBezTo>
                  <a:cubicBezTo>
                    <a:pt x="8" y="159"/>
                    <a:pt x="8" y="158"/>
                    <a:pt x="11" y="159"/>
                  </a:cubicBezTo>
                  <a:cubicBezTo>
                    <a:pt x="14" y="159"/>
                    <a:pt x="15" y="155"/>
                    <a:pt x="11" y="156"/>
                  </a:cubicBezTo>
                  <a:cubicBezTo>
                    <a:pt x="8" y="157"/>
                    <a:pt x="12" y="153"/>
                    <a:pt x="11" y="152"/>
                  </a:cubicBezTo>
                  <a:cubicBezTo>
                    <a:pt x="9" y="151"/>
                    <a:pt x="11" y="148"/>
                    <a:pt x="10" y="147"/>
                  </a:cubicBezTo>
                  <a:cubicBezTo>
                    <a:pt x="10" y="146"/>
                    <a:pt x="8" y="146"/>
                    <a:pt x="8" y="142"/>
                  </a:cubicBezTo>
                  <a:cubicBezTo>
                    <a:pt x="9" y="138"/>
                    <a:pt x="10" y="141"/>
                    <a:pt x="10" y="139"/>
                  </a:cubicBezTo>
                  <a:cubicBezTo>
                    <a:pt x="11" y="138"/>
                    <a:pt x="9" y="137"/>
                    <a:pt x="10" y="133"/>
                  </a:cubicBezTo>
                  <a:cubicBezTo>
                    <a:pt x="10" y="129"/>
                    <a:pt x="8" y="130"/>
                    <a:pt x="10" y="128"/>
                  </a:cubicBezTo>
                  <a:cubicBezTo>
                    <a:pt x="12" y="126"/>
                    <a:pt x="9" y="123"/>
                    <a:pt x="11" y="121"/>
                  </a:cubicBezTo>
                  <a:cubicBezTo>
                    <a:pt x="13" y="120"/>
                    <a:pt x="10" y="118"/>
                    <a:pt x="14" y="115"/>
                  </a:cubicBezTo>
                  <a:cubicBezTo>
                    <a:pt x="16" y="114"/>
                    <a:pt x="13" y="109"/>
                    <a:pt x="13" y="107"/>
                  </a:cubicBezTo>
                  <a:cubicBezTo>
                    <a:pt x="14" y="105"/>
                    <a:pt x="13" y="102"/>
                    <a:pt x="14" y="100"/>
                  </a:cubicBezTo>
                  <a:cubicBezTo>
                    <a:pt x="14" y="98"/>
                    <a:pt x="15" y="100"/>
                    <a:pt x="17" y="97"/>
                  </a:cubicBezTo>
                  <a:cubicBezTo>
                    <a:pt x="18" y="95"/>
                    <a:pt x="17" y="94"/>
                    <a:pt x="18" y="88"/>
                  </a:cubicBezTo>
                  <a:cubicBezTo>
                    <a:pt x="18" y="83"/>
                    <a:pt x="21" y="85"/>
                    <a:pt x="20" y="82"/>
                  </a:cubicBezTo>
                  <a:cubicBezTo>
                    <a:pt x="20" y="79"/>
                    <a:pt x="22" y="77"/>
                    <a:pt x="20" y="77"/>
                  </a:cubicBezTo>
                  <a:cubicBezTo>
                    <a:pt x="18" y="77"/>
                    <a:pt x="20" y="76"/>
                    <a:pt x="19" y="73"/>
                  </a:cubicBezTo>
                  <a:cubicBezTo>
                    <a:pt x="18" y="70"/>
                    <a:pt x="18" y="68"/>
                    <a:pt x="17" y="66"/>
                  </a:cubicBezTo>
                  <a:cubicBezTo>
                    <a:pt x="16" y="65"/>
                    <a:pt x="17" y="62"/>
                    <a:pt x="18" y="59"/>
                  </a:cubicBezTo>
                  <a:cubicBezTo>
                    <a:pt x="19" y="56"/>
                    <a:pt x="19" y="58"/>
                    <a:pt x="20" y="57"/>
                  </a:cubicBezTo>
                  <a:cubicBezTo>
                    <a:pt x="21" y="55"/>
                    <a:pt x="18" y="51"/>
                    <a:pt x="20" y="49"/>
                  </a:cubicBezTo>
                  <a:cubicBezTo>
                    <a:pt x="21" y="48"/>
                    <a:pt x="21" y="44"/>
                    <a:pt x="22" y="43"/>
                  </a:cubicBezTo>
                  <a:cubicBezTo>
                    <a:pt x="24" y="42"/>
                    <a:pt x="23" y="43"/>
                    <a:pt x="25" y="38"/>
                  </a:cubicBezTo>
                  <a:cubicBezTo>
                    <a:pt x="26" y="33"/>
                    <a:pt x="30" y="38"/>
                    <a:pt x="28" y="33"/>
                  </a:cubicBezTo>
                  <a:cubicBezTo>
                    <a:pt x="26" y="30"/>
                    <a:pt x="28" y="22"/>
                    <a:pt x="27" y="21"/>
                  </a:cubicBezTo>
                  <a:cubicBezTo>
                    <a:pt x="26" y="18"/>
                    <a:pt x="31" y="16"/>
                    <a:pt x="32" y="16"/>
                  </a:cubicBezTo>
                  <a:cubicBezTo>
                    <a:pt x="34" y="15"/>
                    <a:pt x="34" y="12"/>
                    <a:pt x="34" y="10"/>
                  </a:cubicBezTo>
                  <a:cubicBezTo>
                    <a:pt x="35" y="9"/>
                    <a:pt x="35" y="8"/>
                    <a:pt x="34" y="7"/>
                  </a:cubicBezTo>
                  <a:cubicBezTo>
                    <a:pt x="36" y="6"/>
                    <a:pt x="36" y="4"/>
                    <a:pt x="37" y="3"/>
                  </a:cubicBezTo>
                  <a:cubicBezTo>
                    <a:pt x="39" y="2"/>
                    <a:pt x="38" y="1"/>
                    <a:pt x="39" y="0"/>
                  </a:cubicBezTo>
                  <a:cubicBezTo>
                    <a:pt x="40" y="0"/>
                    <a:pt x="40" y="3"/>
                    <a:pt x="43" y="3"/>
                  </a:cubicBezTo>
                  <a:cubicBezTo>
                    <a:pt x="46" y="2"/>
                    <a:pt x="48" y="2"/>
                    <a:pt x="49" y="7"/>
                  </a:cubicBezTo>
                  <a:cubicBezTo>
                    <a:pt x="50" y="3"/>
                    <a:pt x="51" y="2"/>
                    <a:pt x="52" y="2"/>
                  </a:cubicBezTo>
                  <a:cubicBezTo>
                    <a:pt x="54" y="2"/>
                    <a:pt x="55" y="2"/>
                    <a:pt x="56" y="2"/>
                  </a:cubicBezTo>
                  <a:cubicBezTo>
                    <a:pt x="57" y="2"/>
                    <a:pt x="57" y="3"/>
                    <a:pt x="58" y="4"/>
                  </a:cubicBezTo>
                  <a:cubicBezTo>
                    <a:pt x="59" y="5"/>
                    <a:pt x="59" y="4"/>
                    <a:pt x="60" y="7"/>
                  </a:cubicBezTo>
                  <a:cubicBezTo>
                    <a:pt x="62" y="11"/>
                    <a:pt x="65" y="11"/>
                    <a:pt x="66" y="13"/>
                  </a:cubicBezTo>
                  <a:cubicBezTo>
                    <a:pt x="67" y="15"/>
                    <a:pt x="70" y="14"/>
                    <a:pt x="73" y="17"/>
                  </a:cubicBezTo>
                  <a:cubicBezTo>
                    <a:pt x="77" y="20"/>
                    <a:pt x="79" y="21"/>
                    <a:pt x="81" y="21"/>
                  </a:cubicBezTo>
                  <a:cubicBezTo>
                    <a:pt x="82" y="21"/>
                    <a:pt x="85" y="24"/>
                    <a:pt x="84" y="25"/>
                  </a:cubicBezTo>
                  <a:cubicBezTo>
                    <a:pt x="82" y="28"/>
                    <a:pt x="84" y="28"/>
                    <a:pt x="82" y="29"/>
                  </a:cubicBezTo>
                  <a:cubicBezTo>
                    <a:pt x="80" y="30"/>
                    <a:pt x="82" y="31"/>
                    <a:pt x="81" y="33"/>
                  </a:cubicBezTo>
                  <a:cubicBezTo>
                    <a:pt x="80" y="35"/>
                    <a:pt x="78" y="35"/>
                    <a:pt x="79" y="36"/>
                  </a:cubicBezTo>
                  <a:cubicBezTo>
                    <a:pt x="79" y="38"/>
                    <a:pt x="79" y="37"/>
                    <a:pt x="82" y="37"/>
                  </a:cubicBezTo>
                  <a:cubicBezTo>
                    <a:pt x="86" y="37"/>
                    <a:pt x="88" y="40"/>
                    <a:pt x="91" y="38"/>
                  </a:cubicBezTo>
                  <a:cubicBezTo>
                    <a:pt x="93" y="35"/>
                    <a:pt x="94" y="40"/>
                    <a:pt x="95" y="37"/>
                  </a:cubicBezTo>
                  <a:cubicBezTo>
                    <a:pt x="95" y="34"/>
                    <a:pt x="98" y="34"/>
                    <a:pt x="99" y="31"/>
                  </a:cubicBezTo>
                  <a:cubicBezTo>
                    <a:pt x="99" y="28"/>
                    <a:pt x="100" y="29"/>
                    <a:pt x="99" y="25"/>
                  </a:cubicBezTo>
                  <a:cubicBezTo>
                    <a:pt x="101" y="26"/>
                    <a:pt x="102" y="22"/>
                    <a:pt x="104" y="27"/>
                  </a:cubicBezTo>
                  <a:cubicBezTo>
                    <a:pt x="105" y="31"/>
                    <a:pt x="105" y="35"/>
                    <a:pt x="102" y="37"/>
                  </a:cubicBezTo>
                  <a:cubicBezTo>
                    <a:pt x="99" y="39"/>
                    <a:pt x="95" y="41"/>
                    <a:pt x="92" y="46"/>
                  </a:cubicBezTo>
                  <a:cubicBezTo>
                    <a:pt x="88" y="51"/>
                    <a:pt x="88" y="53"/>
                    <a:pt x="87" y="53"/>
                  </a:cubicBezTo>
                  <a:cubicBezTo>
                    <a:pt x="85" y="54"/>
                    <a:pt x="85" y="55"/>
                    <a:pt x="84" y="56"/>
                  </a:cubicBezTo>
                  <a:close/>
                  <a:moveTo>
                    <a:pt x="27" y="236"/>
                  </a:moveTo>
                  <a:cubicBezTo>
                    <a:pt x="29" y="236"/>
                    <a:pt x="27" y="235"/>
                    <a:pt x="29" y="236"/>
                  </a:cubicBezTo>
                  <a:cubicBezTo>
                    <a:pt x="31" y="236"/>
                    <a:pt x="35" y="236"/>
                    <a:pt x="37" y="237"/>
                  </a:cubicBezTo>
                  <a:cubicBezTo>
                    <a:pt x="39" y="238"/>
                    <a:pt x="38" y="237"/>
                    <a:pt x="39" y="237"/>
                  </a:cubicBezTo>
                  <a:cubicBezTo>
                    <a:pt x="41" y="237"/>
                    <a:pt x="41" y="235"/>
                    <a:pt x="42" y="236"/>
                  </a:cubicBezTo>
                  <a:cubicBezTo>
                    <a:pt x="42" y="237"/>
                    <a:pt x="42" y="236"/>
                    <a:pt x="43" y="236"/>
                  </a:cubicBezTo>
                  <a:cubicBezTo>
                    <a:pt x="44" y="236"/>
                    <a:pt x="44" y="236"/>
                    <a:pt x="44" y="235"/>
                  </a:cubicBezTo>
                  <a:cubicBezTo>
                    <a:pt x="45" y="234"/>
                    <a:pt x="44" y="234"/>
                    <a:pt x="43" y="234"/>
                  </a:cubicBezTo>
                  <a:cubicBezTo>
                    <a:pt x="41" y="235"/>
                    <a:pt x="41" y="234"/>
                    <a:pt x="39" y="233"/>
                  </a:cubicBezTo>
                  <a:cubicBezTo>
                    <a:pt x="38" y="233"/>
                    <a:pt x="37" y="231"/>
                    <a:pt x="35" y="230"/>
                  </a:cubicBezTo>
                  <a:cubicBezTo>
                    <a:pt x="33" y="229"/>
                    <a:pt x="30" y="226"/>
                    <a:pt x="30" y="225"/>
                  </a:cubicBezTo>
                  <a:cubicBezTo>
                    <a:pt x="29" y="224"/>
                    <a:pt x="30" y="223"/>
                    <a:pt x="28" y="223"/>
                  </a:cubicBezTo>
                  <a:cubicBezTo>
                    <a:pt x="27" y="223"/>
                    <a:pt x="27" y="223"/>
                    <a:pt x="27" y="222"/>
                  </a:cubicBezTo>
                  <a:cubicBezTo>
                    <a:pt x="28" y="221"/>
                    <a:pt x="28" y="221"/>
                    <a:pt x="28" y="222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9" y="221"/>
                    <a:pt x="28" y="220"/>
                    <a:pt x="27" y="218"/>
                  </a:cubicBezTo>
                  <a:lnTo>
                    <a:pt x="27" y="236"/>
                  </a:lnTo>
                  <a:close/>
                  <a:moveTo>
                    <a:pt x="48" y="236"/>
                  </a:moveTo>
                  <a:cubicBezTo>
                    <a:pt x="49" y="235"/>
                    <a:pt x="49" y="236"/>
                    <a:pt x="50" y="236"/>
                  </a:cubicBezTo>
                  <a:cubicBezTo>
                    <a:pt x="51" y="235"/>
                    <a:pt x="50" y="236"/>
                    <a:pt x="51" y="235"/>
                  </a:cubicBezTo>
                  <a:cubicBezTo>
                    <a:pt x="52" y="235"/>
                    <a:pt x="52" y="234"/>
                    <a:pt x="51" y="235"/>
                  </a:cubicBezTo>
                  <a:cubicBezTo>
                    <a:pt x="50" y="235"/>
                    <a:pt x="50" y="234"/>
                    <a:pt x="48" y="235"/>
                  </a:cubicBezTo>
                  <a:cubicBezTo>
                    <a:pt x="48" y="235"/>
                    <a:pt x="46" y="235"/>
                    <a:pt x="47" y="236"/>
                  </a:cubicBezTo>
                  <a:cubicBezTo>
                    <a:pt x="48" y="236"/>
                    <a:pt x="48" y="236"/>
                    <a:pt x="48" y="236"/>
                  </a:cubicBezTo>
                  <a:close/>
                  <a:moveTo>
                    <a:pt x="31" y="239"/>
                  </a:moveTo>
                  <a:cubicBezTo>
                    <a:pt x="32" y="239"/>
                    <a:pt x="31" y="238"/>
                    <a:pt x="32" y="238"/>
                  </a:cubicBezTo>
                  <a:cubicBezTo>
                    <a:pt x="33" y="238"/>
                    <a:pt x="32" y="239"/>
                    <a:pt x="33" y="239"/>
                  </a:cubicBezTo>
                  <a:cubicBezTo>
                    <a:pt x="34" y="239"/>
                    <a:pt x="34" y="239"/>
                    <a:pt x="35" y="238"/>
                  </a:cubicBezTo>
                  <a:cubicBezTo>
                    <a:pt x="35" y="237"/>
                    <a:pt x="34" y="237"/>
                    <a:pt x="33" y="237"/>
                  </a:cubicBezTo>
                  <a:cubicBezTo>
                    <a:pt x="32" y="237"/>
                    <a:pt x="31" y="236"/>
                    <a:pt x="29" y="236"/>
                  </a:cubicBezTo>
                  <a:cubicBezTo>
                    <a:pt x="28" y="236"/>
                    <a:pt x="28" y="237"/>
                    <a:pt x="29" y="237"/>
                  </a:cubicBezTo>
                  <a:cubicBezTo>
                    <a:pt x="29" y="237"/>
                    <a:pt x="29" y="237"/>
                    <a:pt x="29" y="239"/>
                  </a:cubicBezTo>
                  <a:cubicBezTo>
                    <a:pt x="29" y="239"/>
                    <a:pt x="30" y="239"/>
                    <a:pt x="31" y="239"/>
                  </a:cubicBezTo>
                  <a:close/>
                  <a:moveTo>
                    <a:pt x="36" y="239"/>
                  </a:moveTo>
                  <a:cubicBezTo>
                    <a:pt x="36" y="238"/>
                    <a:pt x="35" y="239"/>
                    <a:pt x="35" y="239"/>
                  </a:cubicBezTo>
                  <a:cubicBezTo>
                    <a:pt x="35" y="240"/>
                    <a:pt x="36" y="240"/>
                    <a:pt x="36" y="239"/>
                  </a:cubicBezTo>
                  <a:close/>
                  <a:moveTo>
                    <a:pt x="38" y="238"/>
                  </a:moveTo>
                  <a:cubicBezTo>
                    <a:pt x="37" y="238"/>
                    <a:pt x="36" y="239"/>
                    <a:pt x="37" y="239"/>
                  </a:cubicBezTo>
                  <a:cubicBezTo>
                    <a:pt x="38" y="239"/>
                    <a:pt x="38" y="239"/>
                    <a:pt x="38" y="238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8" name="Freeform 20272">
              <a:extLst>
                <a:ext uri="{FF2B5EF4-FFF2-40B4-BE49-F238E27FC236}">
                  <a16:creationId xmlns:a16="http://schemas.microsoft.com/office/drawing/2014/main" id="{776F1103-5F08-354F-8B6A-D4E38D428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9929" y="3596199"/>
              <a:ext cx="143963" cy="173120"/>
            </a:xfrm>
            <a:custGeom>
              <a:avLst/>
              <a:gdLst/>
              <a:ahLst/>
              <a:cxnLst>
                <a:cxn ang="0">
                  <a:pos x="28" y="39"/>
                </a:cxn>
                <a:cxn ang="0">
                  <a:pos x="31" y="38"/>
                </a:cxn>
                <a:cxn ang="0">
                  <a:pos x="30" y="40"/>
                </a:cxn>
                <a:cxn ang="0">
                  <a:pos x="28" y="39"/>
                </a:cxn>
                <a:cxn ang="0">
                  <a:pos x="7" y="17"/>
                </a:cxn>
                <a:cxn ang="0">
                  <a:pos x="7" y="14"/>
                </a:cxn>
                <a:cxn ang="0">
                  <a:pos x="6" y="12"/>
                </a:cxn>
                <a:cxn ang="0">
                  <a:pos x="5" y="15"/>
                </a:cxn>
                <a:cxn ang="0">
                  <a:pos x="6" y="17"/>
                </a:cxn>
                <a:cxn ang="0">
                  <a:pos x="7" y="17"/>
                </a:cxn>
                <a:cxn ang="0">
                  <a:pos x="8" y="21"/>
                </a:cxn>
                <a:cxn ang="0">
                  <a:pos x="8" y="19"/>
                </a:cxn>
                <a:cxn ang="0">
                  <a:pos x="7" y="18"/>
                </a:cxn>
                <a:cxn ang="0">
                  <a:pos x="7" y="20"/>
                </a:cxn>
                <a:cxn ang="0">
                  <a:pos x="8" y="21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4" y="2"/>
                </a:cxn>
                <a:cxn ang="0">
                  <a:pos x="11" y="5"/>
                </a:cxn>
                <a:cxn ang="0">
                  <a:pos x="10" y="3"/>
                </a:cxn>
                <a:cxn ang="0">
                  <a:pos x="7" y="0"/>
                </a:cxn>
                <a:cxn ang="0">
                  <a:pos x="8" y="1"/>
                </a:cxn>
                <a:cxn ang="0">
                  <a:pos x="10" y="3"/>
                </a:cxn>
                <a:cxn ang="0">
                  <a:pos x="10" y="5"/>
                </a:cxn>
                <a:cxn ang="0">
                  <a:pos x="10" y="7"/>
                </a:cxn>
                <a:cxn ang="0">
                  <a:pos x="11" y="5"/>
                </a:cxn>
                <a:cxn ang="0">
                  <a:pos x="32" y="31"/>
                </a:cxn>
                <a:cxn ang="0">
                  <a:pos x="33" y="31"/>
                </a:cxn>
                <a:cxn ang="0">
                  <a:pos x="31" y="30"/>
                </a:cxn>
                <a:cxn ang="0">
                  <a:pos x="32" y="31"/>
                </a:cxn>
                <a:cxn ang="0">
                  <a:pos x="15" y="12"/>
                </a:cxn>
                <a:cxn ang="0">
                  <a:pos x="14" y="15"/>
                </a:cxn>
                <a:cxn ang="0">
                  <a:pos x="15" y="16"/>
                </a:cxn>
                <a:cxn ang="0">
                  <a:pos x="15" y="15"/>
                </a:cxn>
                <a:cxn ang="0">
                  <a:pos x="15" y="11"/>
                </a:cxn>
                <a:cxn ang="0">
                  <a:pos x="12" y="10"/>
                </a:cxn>
                <a:cxn ang="0">
                  <a:pos x="15" y="12"/>
                </a:cxn>
                <a:cxn ang="0">
                  <a:pos x="26" y="30"/>
                </a:cxn>
                <a:cxn ang="0">
                  <a:pos x="26" y="31"/>
                </a:cxn>
                <a:cxn ang="0">
                  <a:pos x="27" y="28"/>
                </a:cxn>
                <a:cxn ang="0">
                  <a:pos x="25" y="27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17" y="23"/>
                </a:cxn>
                <a:cxn ang="0">
                  <a:pos x="17" y="23"/>
                </a:cxn>
                <a:cxn ang="0">
                  <a:pos x="16" y="22"/>
                </a:cxn>
                <a:cxn ang="0">
                  <a:pos x="17" y="23"/>
                </a:cxn>
                <a:cxn ang="0">
                  <a:pos x="19" y="18"/>
                </a:cxn>
                <a:cxn ang="0">
                  <a:pos x="18" y="15"/>
                </a:cxn>
                <a:cxn ang="0">
                  <a:pos x="18" y="16"/>
                </a:cxn>
                <a:cxn ang="0">
                  <a:pos x="19" y="18"/>
                </a:cxn>
                <a:cxn ang="0">
                  <a:pos x="19" y="19"/>
                </a:cxn>
                <a:cxn ang="0">
                  <a:pos x="19" y="18"/>
                </a:cxn>
                <a:cxn ang="0">
                  <a:pos x="22" y="27"/>
                </a:cxn>
                <a:cxn ang="0">
                  <a:pos x="22" y="26"/>
                </a:cxn>
                <a:cxn ang="0">
                  <a:pos x="21" y="25"/>
                </a:cxn>
                <a:cxn ang="0">
                  <a:pos x="20" y="22"/>
                </a:cxn>
                <a:cxn ang="0">
                  <a:pos x="21" y="24"/>
                </a:cxn>
                <a:cxn ang="0">
                  <a:pos x="21" y="26"/>
                </a:cxn>
                <a:cxn ang="0">
                  <a:pos x="22" y="27"/>
                </a:cxn>
              </a:cxnLst>
              <a:rect l="0" t="0" r="r" b="b"/>
              <a:pathLst>
                <a:path w="33" h="40">
                  <a:moveTo>
                    <a:pt x="28" y="39"/>
                  </a:moveTo>
                  <a:cubicBezTo>
                    <a:pt x="30" y="37"/>
                    <a:pt x="31" y="39"/>
                    <a:pt x="31" y="38"/>
                  </a:cubicBezTo>
                  <a:cubicBezTo>
                    <a:pt x="32" y="36"/>
                    <a:pt x="33" y="39"/>
                    <a:pt x="30" y="40"/>
                  </a:cubicBezTo>
                  <a:cubicBezTo>
                    <a:pt x="28" y="40"/>
                    <a:pt x="28" y="40"/>
                    <a:pt x="28" y="39"/>
                  </a:cubicBezTo>
                  <a:close/>
                  <a:moveTo>
                    <a:pt x="7" y="17"/>
                  </a:moveTo>
                  <a:cubicBezTo>
                    <a:pt x="8" y="16"/>
                    <a:pt x="8" y="15"/>
                    <a:pt x="7" y="14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5" y="12"/>
                    <a:pt x="5" y="13"/>
                    <a:pt x="5" y="15"/>
                  </a:cubicBezTo>
                  <a:cubicBezTo>
                    <a:pt x="4" y="16"/>
                    <a:pt x="4" y="16"/>
                    <a:pt x="6" y="17"/>
                  </a:cubicBezTo>
                  <a:cubicBezTo>
                    <a:pt x="7" y="18"/>
                    <a:pt x="7" y="17"/>
                    <a:pt x="7" y="17"/>
                  </a:cubicBezTo>
                  <a:close/>
                  <a:moveTo>
                    <a:pt x="8" y="21"/>
                  </a:moveTo>
                  <a:cubicBezTo>
                    <a:pt x="9" y="21"/>
                    <a:pt x="9" y="21"/>
                    <a:pt x="8" y="19"/>
                  </a:cubicBezTo>
                  <a:cubicBezTo>
                    <a:pt x="8" y="17"/>
                    <a:pt x="8" y="19"/>
                    <a:pt x="7" y="18"/>
                  </a:cubicBezTo>
                  <a:cubicBezTo>
                    <a:pt x="6" y="17"/>
                    <a:pt x="6" y="19"/>
                    <a:pt x="7" y="20"/>
                  </a:cubicBezTo>
                  <a:cubicBezTo>
                    <a:pt x="8" y="21"/>
                    <a:pt x="7" y="21"/>
                    <a:pt x="8" y="21"/>
                  </a:cubicBezTo>
                  <a:close/>
                  <a:moveTo>
                    <a:pt x="4" y="2"/>
                  </a:moveTo>
                  <a:cubicBezTo>
                    <a:pt x="6" y="2"/>
                    <a:pt x="6" y="3"/>
                    <a:pt x="6" y="2"/>
                  </a:cubicBezTo>
                  <a:cubicBezTo>
                    <a:pt x="7" y="1"/>
                    <a:pt x="5" y="2"/>
                    <a:pt x="3" y="1"/>
                  </a:cubicBezTo>
                  <a:cubicBezTo>
                    <a:pt x="1" y="1"/>
                    <a:pt x="4" y="3"/>
                    <a:pt x="2" y="2"/>
                  </a:cubicBezTo>
                  <a:cubicBezTo>
                    <a:pt x="1" y="2"/>
                    <a:pt x="0" y="2"/>
                    <a:pt x="2" y="3"/>
                  </a:cubicBezTo>
                  <a:cubicBezTo>
                    <a:pt x="2" y="3"/>
                    <a:pt x="2" y="3"/>
                    <a:pt x="4" y="2"/>
                  </a:cubicBezTo>
                  <a:close/>
                  <a:moveTo>
                    <a:pt x="11" y="5"/>
                  </a:moveTo>
                  <a:cubicBezTo>
                    <a:pt x="11" y="5"/>
                    <a:pt x="11" y="3"/>
                    <a:pt x="10" y="3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5" y="0"/>
                    <a:pt x="7" y="0"/>
                    <a:pt x="8" y="1"/>
                  </a:cubicBezTo>
                  <a:cubicBezTo>
                    <a:pt x="9" y="1"/>
                    <a:pt x="9" y="2"/>
                    <a:pt x="10" y="3"/>
                  </a:cubicBezTo>
                  <a:cubicBezTo>
                    <a:pt x="11" y="4"/>
                    <a:pt x="10" y="3"/>
                    <a:pt x="10" y="5"/>
                  </a:cubicBezTo>
                  <a:cubicBezTo>
                    <a:pt x="10" y="7"/>
                    <a:pt x="8" y="5"/>
                    <a:pt x="10" y="7"/>
                  </a:cubicBezTo>
                  <a:cubicBezTo>
                    <a:pt x="10" y="8"/>
                    <a:pt x="10" y="5"/>
                    <a:pt x="11" y="5"/>
                  </a:cubicBezTo>
                  <a:close/>
                  <a:moveTo>
                    <a:pt x="32" y="31"/>
                  </a:moveTo>
                  <a:cubicBezTo>
                    <a:pt x="33" y="31"/>
                    <a:pt x="33" y="31"/>
                    <a:pt x="33" y="31"/>
                  </a:cubicBezTo>
                  <a:cubicBezTo>
                    <a:pt x="33" y="30"/>
                    <a:pt x="31" y="30"/>
                    <a:pt x="31" y="30"/>
                  </a:cubicBezTo>
                  <a:cubicBezTo>
                    <a:pt x="31" y="30"/>
                    <a:pt x="31" y="31"/>
                    <a:pt x="32" y="31"/>
                  </a:cubicBezTo>
                  <a:close/>
                  <a:moveTo>
                    <a:pt x="15" y="12"/>
                  </a:moveTo>
                  <a:cubicBezTo>
                    <a:pt x="16" y="14"/>
                    <a:pt x="14" y="14"/>
                    <a:pt x="14" y="15"/>
                  </a:cubicBezTo>
                  <a:cubicBezTo>
                    <a:pt x="15" y="15"/>
                    <a:pt x="15" y="17"/>
                    <a:pt x="15" y="16"/>
                  </a:cubicBezTo>
                  <a:cubicBezTo>
                    <a:pt x="16" y="16"/>
                    <a:pt x="15" y="16"/>
                    <a:pt x="15" y="15"/>
                  </a:cubicBezTo>
                  <a:cubicBezTo>
                    <a:pt x="15" y="13"/>
                    <a:pt x="16" y="13"/>
                    <a:pt x="15" y="11"/>
                  </a:cubicBezTo>
                  <a:cubicBezTo>
                    <a:pt x="14" y="10"/>
                    <a:pt x="12" y="9"/>
                    <a:pt x="12" y="10"/>
                  </a:cubicBezTo>
                  <a:cubicBezTo>
                    <a:pt x="12" y="10"/>
                    <a:pt x="14" y="11"/>
                    <a:pt x="15" y="12"/>
                  </a:cubicBezTo>
                  <a:close/>
                  <a:moveTo>
                    <a:pt x="26" y="30"/>
                  </a:moveTo>
                  <a:cubicBezTo>
                    <a:pt x="25" y="31"/>
                    <a:pt x="25" y="32"/>
                    <a:pt x="26" y="31"/>
                  </a:cubicBezTo>
                  <a:cubicBezTo>
                    <a:pt x="28" y="30"/>
                    <a:pt x="28" y="29"/>
                    <a:pt x="27" y="28"/>
                  </a:cubicBezTo>
                  <a:cubicBezTo>
                    <a:pt x="27" y="27"/>
                    <a:pt x="27" y="28"/>
                    <a:pt x="25" y="27"/>
                  </a:cubicBezTo>
                  <a:cubicBezTo>
                    <a:pt x="24" y="27"/>
                    <a:pt x="25" y="29"/>
                    <a:pt x="26" y="29"/>
                  </a:cubicBezTo>
                  <a:cubicBezTo>
                    <a:pt x="27" y="28"/>
                    <a:pt x="27" y="29"/>
                    <a:pt x="26" y="30"/>
                  </a:cubicBezTo>
                  <a:close/>
                  <a:moveTo>
                    <a:pt x="17" y="23"/>
                  </a:moveTo>
                  <a:cubicBezTo>
                    <a:pt x="18" y="24"/>
                    <a:pt x="18" y="23"/>
                    <a:pt x="17" y="23"/>
                  </a:cubicBezTo>
                  <a:cubicBezTo>
                    <a:pt x="17" y="22"/>
                    <a:pt x="16" y="21"/>
                    <a:pt x="16" y="22"/>
                  </a:cubicBezTo>
                  <a:cubicBezTo>
                    <a:pt x="16" y="23"/>
                    <a:pt x="16" y="22"/>
                    <a:pt x="17" y="23"/>
                  </a:cubicBezTo>
                  <a:close/>
                  <a:moveTo>
                    <a:pt x="19" y="18"/>
                  </a:moveTo>
                  <a:cubicBezTo>
                    <a:pt x="19" y="17"/>
                    <a:pt x="19" y="16"/>
                    <a:pt x="18" y="15"/>
                  </a:cubicBezTo>
                  <a:cubicBezTo>
                    <a:pt x="17" y="15"/>
                    <a:pt x="17" y="15"/>
                    <a:pt x="18" y="16"/>
                  </a:cubicBezTo>
                  <a:cubicBezTo>
                    <a:pt x="18" y="16"/>
                    <a:pt x="18" y="17"/>
                    <a:pt x="19" y="18"/>
                  </a:cubicBezTo>
                  <a:cubicBezTo>
                    <a:pt x="20" y="19"/>
                    <a:pt x="18" y="20"/>
                    <a:pt x="19" y="19"/>
                  </a:cubicBezTo>
                  <a:cubicBezTo>
                    <a:pt x="20" y="19"/>
                    <a:pt x="20" y="18"/>
                    <a:pt x="19" y="18"/>
                  </a:cubicBezTo>
                  <a:close/>
                  <a:moveTo>
                    <a:pt x="22" y="27"/>
                  </a:moveTo>
                  <a:cubicBezTo>
                    <a:pt x="22" y="27"/>
                    <a:pt x="23" y="27"/>
                    <a:pt x="22" y="26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0" y="22"/>
                    <a:pt x="20" y="22"/>
                  </a:cubicBezTo>
                  <a:cubicBezTo>
                    <a:pt x="19" y="21"/>
                    <a:pt x="20" y="23"/>
                    <a:pt x="21" y="24"/>
                  </a:cubicBezTo>
                  <a:cubicBezTo>
                    <a:pt x="21" y="26"/>
                    <a:pt x="20" y="24"/>
                    <a:pt x="21" y="26"/>
                  </a:cubicBezTo>
                  <a:cubicBezTo>
                    <a:pt x="21" y="26"/>
                    <a:pt x="22" y="26"/>
                    <a:pt x="22" y="2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99" name="Freeform 20273">
              <a:extLst>
                <a:ext uri="{FF2B5EF4-FFF2-40B4-BE49-F238E27FC236}">
                  <a16:creationId xmlns:a16="http://schemas.microsoft.com/office/drawing/2014/main" id="{9C074E73-68F8-C242-B916-BB2E6ED9E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8902" y="3811233"/>
              <a:ext cx="9112" cy="182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0" name="Freeform 20274">
              <a:extLst>
                <a:ext uri="{FF2B5EF4-FFF2-40B4-BE49-F238E27FC236}">
                  <a16:creationId xmlns:a16="http://schemas.microsoft.com/office/drawing/2014/main" id="{0F7900C5-C975-744C-9BB7-52203FD0E2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367" y="3700071"/>
              <a:ext cx="244190" cy="10387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2" y="10"/>
                </a:cxn>
                <a:cxn ang="0">
                  <a:pos x="0" y="9"/>
                </a:cxn>
                <a:cxn ang="0">
                  <a:pos x="3" y="7"/>
                </a:cxn>
                <a:cxn ang="0">
                  <a:pos x="11" y="2"/>
                </a:cxn>
                <a:cxn ang="0">
                  <a:pos x="16" y="1"/>
                </a:cxn>
                <a:cxn ang="0">
                  <a:pos x="20" y="1"/>
                </a:cxn>
                <a:cxn ang="0">
                  <a:pos x="23" y="2"/>
                </a:cxn>
                <a:cxn ang="0">
                  <a:pos x="28" y="4"/>
                </a:cxn>
                <a:cxn ang="0">
                  <a:pos x="33" y="7"/>
                </a:cxn>
                <a:cxn ang="0">
                  <a:pos x="38" y="9"/>
                </a:cxn>
                <a:cxn ang="0">
                  <a:pos x="39" y="10"/>
                </a:cxn>
                <a:cxn ang="0">
                  <a:pos x="41" y="12"/>
                </a:cxn>
                <a:cxn ang="0">
                  <a:pos x="43" y="13"/>
                </a:cxn>
                <a:cxn ang="0">
                  <a:pos x="46" y="14"/>
                </a:cxn>
                <a:cxn ang="0">
                  <a:pos x="49" y="15"/>
                </a:cxn>
                <a:cxn ang="0">
                  <a:pos x="50" y="17"/>
                </a:cxn>
                <a:cxn ang="0">
                  <a:pos x="54" y="19"/>
                </a:cxn>
                <a:cxn ang="0">
                  <a:pos x="56" y="21"/>
                </a:cxn>
                <a:cxn ang="0">
                  <a:pos x="52" y="22"/>
                </a:cxn>
                <a:cxn ang="0">
                  <a:pos x="42" y="22"/>
                </a:cxn>
                <a:cxn ang="0">
                  <a:pos x="40" y="20"/>
                </a:cxn>
                <a:cxn ang="0">
                  <a:pos x="37" y="17"/>
                </a:cxn>
                <a:cxn ang="0">
                  <a:pos x="33" y="13"/>
                </a:cxn>
                <a:cxn ang="0">
                  <a:pos x="28" y="11"/>
                </a:cxn>
                <a:cxn ang="0">
                  <a:pos x="21" y="8"/>
                </a:cxn>
                <a:cxn ang="0">
                  <a:pos x="15" y="7"/>
                </a:cxn>
                <a:cxn ang="0">
                  <a:pos x="17" y="5"/>
                </a:cxn>
                <a:cxn ang="0">
                  <a:pos x="10" y="6"/>
                </a:cxn>
                <a:cxn ang="0">
                  <a:pos x="5" y="9"/>
                </a:cxn>
                <a:cxn ang="0">
                  <a:pos x="10" y="9"/>
                </a:cxn>
                <a:cxn ang="0">
                  <a:pos x="12" y="12"/>
                </a:cxn>
                <a:cxn ang="0">
                  <a:pos x="10" y="9"/>
                </a:cxn>
                <a:cxn ang="0">
                  <a:pos x="34" y="5"/>
                </a:cxn>
                <a:cxn ang="0">
                  <a:pos x="33" y="6"/>
                </a:cxn>
                <a:cxn ang="0">
                  <a:pos x="34" y="5"/>
                </a:cxn>
                <a:cxn ang="0">
                  <a:pos x="36" y="7"/>
                </a:cxn>
                <a:cxn ang="0">
                  <a:pos x="35" y="6"/>
                </a:cxn>
                <a:cxn ang="0">
                  <a:pos x="36" y="7"/>
                </a:cxn>
              </a:cxnLst>
              <a:rect l="0" t="0" r="r" b="b"/>
              <a:pathLst>
                <a:path w="57" h="24">
                  <a:moveTo>
                    <a:pt x="5" y="9"/>
                  </a:moveTo>
                  <a:cubicBezTo>
                    <a:pt x="3" y="9"/>
                    <a:pt x="2" y="11"/>
                    <a:pt x="2" y="10"/>
                  </a:cubicBezTo>
                  <a:cubicBezTo>
                    <a:pt x="2" y="9"/>
                    <a:pt x="0" y="10"/>
                    <a:pt x="0" y="9"/>
                  </a:cubicBezTo>
                  <a:cubicBezTo>
                    <a:pt x="0" y="8"/>
                    <a:pt x="3" y="9"/>
                    <a:pt x="3" y="7"/>
                  </a:cubicBezTo>
                  <a:cubicBezTo>
                    <a:pt x="2" y="6"/>
                    <a:pt x="5" y="3"/>
                    <a:pt x="11" y="2"/>
                  </a:cubicBezTo>
                  <a:cubicBezTo>
                    <a:pt x="14" y="2"/>
                    <a:pt x="13" y="0"/>
                    <a:pt x="16" y="1"/>
                  </a:cubicBezTo>
                  <a:cubicBezTo>
                    <a:pt x="20" y="2"/>
                    <a:pt x="19" y="0"/>
                    <a:pt x="20" y="1"/>
                  </a:cubicBezTo>
                  <a:cubicBezTo>
                    <a:pt x="21" y="2"/>
                    <a:pt x="22" y="0"/>
                    <a:pt x="23" y="2"/>
                  </a:cubicBezTo>
                  <a:cubicBezTo>
                    <a:pt x="24" y="3"/>
                    <a:pt x="26" y="1"/>
                    <a:pt x="28" y="4"/>
                  </a:cubicBezTo>
                  <a:cubicBezTo>
                    <a:pt x="30" y="7"/>
                    <a:pt x="30" y="4"/>
                    <a:pt x="33" y="7"/>
                  </a:cubicBezTo>
                  <a:cubicBezTo>
                    <a:pt x="37" y="9"/>
                    <a:pt x="38" y="8"/>
                    <a:pt x="38" y="9"/>
                  </a:cubicBezTo>
                  <a:cubicBezTo>
                    <a:pt x="37" y="10"/>
                    <a:pt x="39" y="11"/>
                    <a:pt x="39" y="10"/>
                  </a:cubicBezTo>
                  <a:cubicBezTo>
                    <a:pt x="38" y="9"/>
                    <a:pt x="40" y="10"/>
                    <a:pt x="41" y="12"/>
                  </a:cubicBezTo>
                  <a:cubicBezTo>
                    <a:pt x="43" y="13"/>
                    <a:pt x="43" y="12"/>
                    <a:pt x="43" y="13"/>
                  </a:cubicBezTo>
                  <a:cubicBezTo>
                    <a:pt x="44" y="15"/>
                    <a:pt x="45" y="13"/>
                    <a:pt x="46" y="14"/>
                  </a:cubicBezTo>
                  <a:cubicBezTo>
                    <a:pt x="47" y="15"/>
                    <a:pt x="48" y="13"/>
                    <a:pt x="49" y="15"/>
                  </a:cubicBezTo>
                  <a:cubicBezTo>
                    <a:pt x="49" y="17"/>
                    <a:pt x="46" y="16"/>
                    <a:pt x="50" y="17"/>
                  </a:cubicBezTo>
                  <a:cubicBezTo>
                    <a:pt x="53" y="17"/>
                    <a:pt x="53" y="18"/>
                    <a:pt x="54" y="19"/>
                  </a:cubicBezTo>
                  <a:cubicBezTo>
                    <a:pt x="55" y="20"/>
                    <a:pt x="57" y="19"/>
                    <a:pt x="56" y="21"/>
                  </a:cubicBezTo>
                  <a:cubicBezTo>
                    <a:pt x="55" y="22"/>
                    <a:pt x="55" y="20"/>
                    <a:pt x="52" y="22"/>
                  </a:cubicBezTo>
                  <a:cubicBezTo>
                    <a:pt x="48" y="24"/>
                    <a:pt x="50" y="21"/>
                    <a:pt x="42" y="22"/>
                  </a:cubicBezTo>
                  <a:cubicBezTo>
                    <a:pt x="34" y="23"/>
                    <a:pt x="38" y="22"/>
                    <a:pt x="40" y="20"/>
                  </a:cubicBezTo>
                  <a:cubicBezTo>
                    <a:pt x="42" y="18"/>
                    <a:pt x="40" y="17"/>
                    <a:pt x="37" y="17"/>
                  </a:cubicBezTo>
                  <a:cubicBezTo>
                    <a:pt x="34" y="17"/>
                    <a:pt x="34" y="15"/>
                    <a:pt x="33" y="13"/>
                  </a:cubicBezTo>
                  <a:cubicBezTo>
                    <a:pt x="32" y="10"/>
                    <a:pt x="31" y="12"/>
                    <a:pt x="28" y="11"/>
                  </a:cubicBezTo>
                  <a:cubicBezTo>
                    <a:pt x="24" y="10"/>
                    <a:pt x="25" y="8"/>
                    <a:pt x="21" y="8"/>
                  </a:cubicBezTo>
                  <a:cubicBezTo>
                    <a:pt x="17" y="8"/>
                    <a:pt x="17" y="8"/>
                    <a:pt x="15" y="7"/>
                  </a:cubicBezTo>
                  <a:cubicBezTo>
                    <a:pt x="14" y="6"/>
                    <a:pt x="18" y="5"/>
                    <a:pt x="17" y="5"/>
                  </a:cubicBezTo>
                  <a:cubicBezTo>
                    <a:pt x="16" y="4"/>
                    <a:pt x="12" y="3"/>
                    <a:pt x="10" y="6"/>
                  </a:cubicBezTo>
                  <a:cubicBezTo>
                    <a:pt x="7" y="8"/>
                    <a:pt x="5" y="7"/>
                    <a:pt x="5" y="9"/>
                  </a:cubicBezTo>
                  <a:close/>
                  <a:moveTo>
                    <a:pt x="10" y="9"/>
                  </a:moveTo>
                  <a:cubicBezTo>
                    <a:pt x="9" y="9"/>
                    <a:pt x="9" y="13"/>
                    <a:pt x="12" y="12"/>
                  </a:cubicBezTo>
                  <a:cubicBezTo>
                    <a:pt x="13" y="12"/>
                    <a:pt x="12" y="9"/>
                    <a:pt x="10" y="9"/>
                  </a:cubicBezTo>
                  <a:close/>
                  <a:moveTo>
                    <a:pt x="34" y="5"/>
                  </a:moveTo>
                  <a:cubicBezTo>
                    <a:pt x="33" y="5"/>
                    <a:pt x="32" y="5"/>
                    <a:pt x="33" y="6"/>
                  </a:cubicBezTo>
                  <a:cubicBezTo>
                    <a:pt x="34" y="6"/>
                    <a:pt x="34" y="6"/>
                    <a:pt x="34" y="5"/>
                  </a:cubicBezTo>
                  <a:close/>
                  <a:moveTo>
                    <a:pt x="36" y="7"/>
                  </a:moveTo>
                  <a:cubicBezTo>
                    <a:pt x="37" y="7"/>
                    <a:pt x="35" y="6"/>
                    <a:pt x="35" y="6"/>
                  </a:cubicBezTo>
                  <a:cubicBezTo>
                    <a:pt x="34" y="7"/>
                    <a:pt x="35" y="7"/>
                    <a:pt x="36" y="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1" name="Freeform 20275">
              <a:extLst>
                <a:ext uri="{FF2B5EF4-FFF2-40B4-BE49-F238E27FC236}">
                  <a16:creationId xmlns:a16="http://schemas.microsoft.com/office/drawing/2014/main" id="{13BA86E5-D211-044F-B963-54F471DE0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3799" y="3794832"/>
              <a:ext cx="69248" cy="60136"/>
            </a:xfrm>
            <a:custGeom>
              <a:avLst/>
              <a:gdLst/>
              <a:ahLst/>
              <a:cxnLst>
                <a:cxn ang="0">
                  <a:pos x="15" y="12"/>
                </a:cxn>
                <a:cxn ang="0">
                  <a:pos x="8" y="12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10" y="9"/>
                </a:cxn>
                <a:cxn ang="0">
                  <a:pos x="11" y="7"/>
                </a:cxn>
                <a:cxn ang="0">
                  <a:pos x="9" y="3"/>
                </a:cxn>
                <a:cxn ang="0">
                  <a:pos x="6" y="1"/>
                </a:cxn>
                <a:cxn ang="0">
                  <a:pos x="11" y="1"/>
                </a:cxn>
                <a:cxn ang="0">
                  <a:pos x="15" y="1"/>
                </a:cxn>
                <a:cxn ang="0">
                  <a:pos x="14" y="8"/>
                </a:cxn>
                <a:cxn ang="0">
                  <a:pos x="15" y="12"/>
                </a:cxn>
                <a:cxn ang="0">
                  <a:pos x="9" y="8"/>
                </a:cxn>
                <a:cxn ang="0">
                  <a:pos x="6" y="7"/>
                </a:cxn>
                <a:cxn ang="0">
                  <a:pos x="9" y="8"/>
                </a:cxn>
              </a:cxnLst>
              <a:rect l="0" t="0" r="r" b="b"/>
              <a:pathLst>
                <a:path w="16" h="14">
                  <a:moveTo>
                    <a:pt x="15" y="12"/>
                  </a:moveTo>
                  <a:cubicBezTo>
                    <a:pt x="11" y="10"/>
                    <a:pt x="10" y="13"/>
                    <a:pt x="8" y="12"/>
                  </a:cubicBezTo>
                  <a:cubicBezTo>
                    <a:pt x="3" y="10"/>
                    <a:pt x="5" y="14"/>
                    <a:pt x="3" y="12"/>
                  </a:cubicBezTo>
                  <a:cubicBezTo>
                    <a:pt x="1" y="10"/>
                    <a:pt x="0" y="11"/>
                    <a:pt x="0" y="9"/>
                  </a:cubicBezTo>
                  <a:cubicBezTo>
                    <a:pt x="1" y="7"/>
                    <a:pt x="7" y="11"/>
                    <a:pt x="10" y="9"/>
                  </a:cubicBezTo>
                  <a:cubicBezTo>
                    <a:pt x="11" y="9"/>
                    <a:pt x="13" y="10"/>
                    <a:pt x="11" y="7"/>
                  </a:cubicBezTo>
                  <a:cubicBezTo>
                    <a:pt x="7" y="4"/>
                    <a:pt x="11" y="4"/>
                    <a:pt x="9" y="3"/>
                  </a:cubicBezTo>
                  <a:cubicBezTo>
                    <a:pt x="6" y="2"/>
                    <a:pt x="5" y="3"/>
                    <a:pt x="6" y="1"/>
                  </a:cubicBezTo>
                  <a:cubicBezTo>
                    <a:pt x="6" y="0"/>
                    <a:pt x="10" y="0"/>
                    <a:pt x="11" y="1"/>
                  </a:cubicBezTo>
                  <a:cubicBezTo>
                    <a:pt x="13" y="2"/>
                    <a:pt x="13" y="1"/>
                    <a:pt x="15" y="1"/>
                  </a:cubicBezTo>
                  <a:cubicBezTo>
                    <a:pt x="14" y="4"/>
                    <a:pt x="16" y="6"/>
                    <a:pt x="14" y="8"/>
                  </a:cubicBezTo>
                  <a:cubicBezTo>
                    <a:pt x="13" y="10"/>
                    <a:pt x="15" y="9"/>
                    <a:pt x="15" y="12"/>
                  </a:cubicBezTo>
                  <a:close/>
                  <a:moveTo>
                    <a:pt x="9" y="8"/>
                  </a:moveTo>
                  <a:cubicBezTo>
                    <a:pt x="9" y="7"/>
                    <a:pt x="6" y="6"/>
                    <a:pt x="6" y="7"/>
                  </a:cubicBezTo>
                  <a:cubicBezTo>
                    <a:pt x="6" y="7"/>
                    <a:pt x="9" y="8"/>
                    <a:pt x="9" y="8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2" name="Freeform 20276">
              <a:extLst>
                <a:ext uri="{FF2B5EF4-FFF2-40B4-BE49-F238E27FC236}">
                  <a16:creationId xmlns:a16="http://schemas.microsoft.com/office/drawing/2014/main" id="{B19F87B1-5555-DE45-93DF-20810C6C3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429" y="4002577"/>
              <a:ext cx="18223" cy="16401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1" y="1"/>
                    <a:pt x="0" y="0"/>
                    <a:pt x="1" y="1"/>
                  </a:cubicBezTo>
                  <a:cubicBezTo>
                    <a:pt x="2" y="1"/>
                    <a:pt x="1" y="2"/>
                    <a:pt x="2" y="2"/>
                  </a:cubicBezTo>
                  <a:cubicBezTo>
                    <a:pt x="3" y="2"/>
                    <a:pt x="4" y="4"/>
                    <a:pt x="2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3" name="Freeform 20277">
              <a:extLst>
                <a:ext uri="{FF2B5EF4-FFF2-40B4-BE49-F238E27FC236}">
                  <a16:creationId xmlns:a16="http://schemas.microsoft.com/office/drawing/2014/main" id="{D515FA59-98F2-4540-80E2-0ACBBCD87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651" y="4006223"/>
              <a:ext cx="7288" cy="12756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4" name="Freeform 20278">
              <a:extLst>
                <a:ext uri="{FF2B5EF4-FFF2-40B4-BE49-F238E27FC236}">
                  <a16:creationId xmlns:a16="http://schemas.microsoft.com/office/drawing/2014/main" id="{43DE3F15-49BC-B44E-AAA3-1477571D7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667" y="3997109"/>
              <a:ext cx="315262" cy="328017"/>
            </a:xfrm>
            <a:custGeom>
              <a:avLst/>
              <a:gdLst/>
              <a:ahLst/>
              <a:cxnLst>
                <a:cxn ang="0">
                  <a:pos x="58" y="54"/>
                </a:cxn>
                <a:cxn ang="0">
                  <a:pos x="47" y="55"/>
                </a:cxn>
                <a:cxn ang="0">
                  <a:pos x="51" y="67"/>
                </a:cxn>
                <a:cxn ang="0">
                  <a:pos x="41" y="75"/>
                </a:cxn>
                <a:cxn ang="0">
                  <a:pos x="32" y="64"/>
                </a:cxn>
                <a:cxn ang="0">
                  <a:pos x="32" y="59"/>
                </a:cxn>
                <a:cxn ang="0">
                  <a:pos x="32" y="41"/>
                </a:cxn>
                <a:cxn ang="0">
                  <a:pos x="17" y="36"/>
                </a:cxn>
                <a:cxn ang="0">
                  <a:pos x="6" y="33"/>
                </a:cxn>
                <a:cxn ang="0">
                  <a:pos x="2" y="22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15" y="9"/>
                </a:cxn>
                <a:cxn ang="0">
                  <a:pos x="20" y="4"/>
                </a:cxn>
                <a:cxn ang="0">
                  <a:pos x="39" y="14"/>
                </a:cxn>
                <a:cxn ang="0">
                  <a:pos x="51" y="12"/>
                </a:cxn>
                <a:cxn ang="0">
                  <a:pos x="57" y="13"/>
                </a:cxn>
                <a:cxn ang="0">
                  <a:pos x="64" y="19"/>
                </a:cxn>
                <a:cxn ang="0">
                  <a:pos x="64" y="26"/>
                </a:cxn>
                <a:cxn ang="0">
                  <a:pos x="67" y="32"/>
                </a:cxn>
                <a:cxn ang="0">
                  <a:pos x="67" y="37"/>
                </a:cxn>
                <a:cxn ang="0">
                  <a:pos x="67" y="47"/>
                </a:cxn>
                <a:cxn ang="0">
                  <a:pos x="51" y="11"/>
                </a:cxn>
                <a:cxn ang="0">
                  <a:pos x="48" y="10"/>
                </a:cxn>
                <a:cxn ang="0">
                  <a:pos x="66" y="22"/>
                </a:cxn>
                <a:cxn ang="0">
                  <a:pos x="66" y="22"/>
                </a:cxn>
                <a:cxn ang="0">
                  <a:pos x="66" y="23"/>
                </a:cxn>
                <a:cxn ang="0">
                  <a:pos x="65" y="25"/>
                </a:cxn>
                <a:cxn ang="0">
                  <a:pos x="65" y="25"/>
                </a:cxn>
                <a:cxn ang="0">
                  <a:pos x="65" y="26"/>
                </a:cxn>
                <a:cxn ang="0">
                  <a:pos x="65" y="26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</a:cxnLst>
              <a:rect l="0" t="0" r="r" b="b"/>
              <a:pathLst>
                <a:path w="73" h="76">
                  <a:moveTo>
                    <a:pt x="67" y="47"/>
                  </a:moveTo>
                  <a:cubicBezTo>
                    <a:pt x="68" y="51"/>
                    <a:pt x="61" y="54"/>
                    <a:pt x="58" y="54"/>
                  </a:cubicBezTo>
                  <a:cubicBezTo>
                    <a:pt x="55" y="53"/>
                    <a:pt x="59" y="59"/>
                    <a:pt x="54" y="56"/>
                  </a:cubicBezTo>
                  <a:cubicBezTo>
                    <a:pt x="50" y="54"/>
                    <a:pt x="45" y="52"/>
                    <a:pt x="47" y="55"/>
                  </a:cubicBezTo>
                  <a:cubicBezTo>
                    <a:pt x="49" y="58"/>
                    <a:pt x="49" y="65"/>
                    <a:pt x="51" y="64"/>
                  </a:cubicBezTo>
                  <a:cubicBezTo>
                    <a:pt x="53" y="63"/>
                    <a:pt x="54" y="65"/>
                    <a:pt x="51" y="67"/>
                  </a:cubicBezTo>
                  <a:cubicBezTo>
                    <a:pt x="48" y="68"/>
                    <a:pt x="51" y="71"/>
                    <a:pt x="47" y="71"/>
                  </a:cubicBezTo>
                  <a:cubicBezTo>
                    <a:pt x="43" y="72"/>
                    <a:pt x="44" y="76"/>
                    <a:pt x="41" y="75"/>
                  </a:cubicBezTo>
                  <a:cubicBezTo>
                    <a:pt x="39" y="74"/>
                    <a:pt x="37" y="76"/>
                    <a:pt x="35" y="72"/>
                  </a:cubicBezTo>
                  <a:cubicBezTo>
                    <a:pt x="33" y="66"/>
                    <a:pt x="34" y="65"/>
                    <a:pt x="32" y="64"/>
                  </a:cubicBezTo>
                  <a:cubicBezTo>
                    <a:pt x="31" y="63"/>
                    <a:pt x="31" y="62"/>
                    <a:pt x="30" y="62"/>
                  </a:cubicBezTo>
                  <a:cubicBezTo>
                    <a:pt x="29" y="63"/>
                    <a:pt x="29" y="62"/>
                    <a:pt x="32" y="59"/>
                  </a:cubicBezTo>
                  <a:cubicBezTo>
                    <a:pt x="33" y="58"/>
                    <a:pt x="31" y="57"/>
                    <a:pt x="30" y="53"/>
                  </a:cubicBezTo>
                  <a:cubicBezTo>
                    <a:pt x="28" y="47"/>
                    <a:pt x="33" y="41"/>
                    <a:pt x="32" y="41"/>
                  </a:cubicBezTo>
                  <a:cubicBezTo>
                    <a:pt x="27" y="40"/>
                    <a:pt x="27" y="42"/>
                    <a:pt x="22" y="41"/>
                  </a:cubicBezTo>
                  <a:cubicBezTo>
                    <a:pt x="20" y="41"/>
                    <a:pt x="19" y="35"/>
                    <a:pt x="17" y="36"/>
                  </a:cubicBezTo>
                  <a:cubicBezTo>
                    <a:pt x="16" y="37"/>
                    <a:pt x="15" y="35"/>
                    <a:pt x="10" y="36"/>
                  </a:cubicBezTo>
                  <a:cubicBezTo>
                    <a:pt x="6" y="36"/>
                    <a:pt x="9" y="34"/>
                    <a:pt x="6" y="33"/>
                  </a:cubicBezTo>
                  <a:cubicBezTo>
                    <a:pt x="4" y="33"/>
                    <a:pt x="8" y="28"/>
                    <a:pt x="6" y="27"/>
                  </a:cubicBezTo>
                  <a:cubicBezTo>
                    <a:pt x="3" y="25"/>
                    <a:pt x="5" y="21"/>
                    <a:pt x="2" y="22"/>
                  </a:cubicBezTo>
                  <a:cubicBezTo>
                    <a:pt x="0" y="22"/>
                    <a:pt x="1" y="22"/>
                    <a:pt x="2" y="20"/>
                  </a:cubicBezTo>
                  <a:cubicBezTo>
                    <a:pt x="4" y="19"/>
                    <a:pt x="3" y="11"/>
                    <a:pt x="6" y="10"/>
                  </a:cubicBezTo>
                  <a:cubicBezTo>
                    <a:pt x="9" y="8"/>
                    <a:pt x="5" y="6"/>
                    <a:pt x="12" y="5"/>
                  </a:cubicBezTo>
                  <a:cubicBezTo>
                    <a:pt x="10" y="6"/>
                    <a:pt x="7" y="7"/>
                    <a:pt x="9" y="9"/>
                  </a:cubicBezTo>
                  <a:cubicBezTo>
                    <a:pt x="9" y="9"/>
                    <a:pt x="10" y="10"/>
                    <a:pt x="10" y="11"/>
                  </a:cubicBezTo>
                  <a:cubicBezTo>
                    <a:pt x="10" y="14"/>
                    <a:pt x="11" y="10"/>
                    <a:pt x="15" y="9"/>
                  </a:cubicBezTo>
                  <a:cubicBezTo>
                    <a:pt x="20" y="8"/>
                    <a:pt x="18" y="7"/>
                    <a:pt x="17" y="6"/>
                  </a:cubicBezTo>
                  <a:cubicBezTo>
                    <a:pt x="17" y="4"/>
                    <a:pt x="19" y="0"/>
                    <a:pt x="20" y="4"/>
                  </a:cubicBezTo>
                  <a:cubicBezTo>
                    <a:pt x="22" y="9"/>
                    <a:pt x="27" y="6"/>
                    <a:pt x="27" y="12"/>
                  </a:cubicBezTo>
                  <a:cubicBezTo>
                    <a:pt x="27" y="17"/>
                    <a:pt x="37" y="10"/>
                    <a:pt x="39" y="14"/>
                  </a:cubicBezTo>
                  <a:cubicBezTo>
                    <a:pt x="42" y="17"/>
                    <a:pt x="45" y="16"/>
                    <a:pt x="47" y="15"/>
                  </a:cubicBezTo>
                  <a:cubicBezTo>
                    <a:pt x="49" y="14"/>
                    <a:pt x="46" y="12"/>
                    <a:pt x="51" y="12"/>
                  </a:cubicBezTo>
                  <a:cubicBezTo>
                    <a:pt x="56" y="12"/>
                    <a:pt x="54" y="11"/>
                    <a:pt x="58" y="12"/>
                  </a:cubicBezTo>
                  <a:cubicBezTo>
                    <a:pt x="62" y="12"/>
                    <a:pt x="61" y="13"/>
                    <a:pt x="57" y="13"/>
                  </a:cubicBezTo>
                  <a:cubicBezTo>
                    <a:pt x="53" y="14"/>
                    <a:pt x="59" y="16"/>
                    <a:pt x="60" y="17"/>
                  </a:cubicBezTo>
                  <a:cubicBezTo>
                    <a:pt x="61" y="19"/>
                    <a:pt x="63" y="17"/>
                    <a:pt x="64" y="19"/>
                  </a:cubicBezTo>
                  <a:cubicBezTo>
                    <a:pt x="65" y="21"/>
                    <a:pt x="68" y="20"/>
                    <a:pt x="66" y="22"/>
                  </a:cubicBezTo>
                  <a:cubicBezTo>
                    <a:pt x="64" y="23"/>
                    <a:pt x="65" y="24"/>
                    <a:pt x="64" y="26"/>
                  </a:cubicBezTo>
                  <a:cubicBezTo>
                    <a:pt x="62" y="28"/>
                    <a:pt x="68" y="24"/>
                    <a:pt x="71" y="26"/>
                  </a:cubicBezTo>
                  <a:cubicBezTo>
                    <a:pt x="73" y="29"/>
                    <a:pt x="68" y="30"/>
                    <a:pt x="67" y="32"/>
                  </a:cubicBezTo>
                  <a:cubicBezTo>
                    <a:pt x="66" y="33"/>
                    <a:pt x="68" y="33"/>
                    <a:pt x="69" y="35"/>
                  </a:cubicBezTo>
                  <a:cubicBezTo>
                    <a:pt x="69" y="36"/>
                    <a:pt x="69" y="36"/>
                    <a:pt x="67" y="37"/>
                  </a:cubicBezTo>
                  <a:cubicBezTo>
                    <a:pt x="64" y="38"/>
                    <a:pt x="64" y="37"/>
                    <a:pt x="65" y="40"/>
                  </a:cubicBezTo>
                  <a:cubicBezTo>
                    <a:pt x="66" y="43"/>
                    <a:pt x="60" y="41"/>
                    <a:pt x="67" y="47"/>
                  </a:cubicBezTo>
                  <a:close/>
                  <a:moveTo>
                    <a:pt x="49" y="11"/>
                  </a:moveTo>
                  <a:cubicBezTo>
                    <a:pt x="49" y="11"/>
                    <a:pt x="50" y="11"/>
                    <a:pt x="51" y="11"/>
                  </a:cubicBezTo>
                  <a:cubicBezTo>
                    <a:pt x="52" y="10"/>
                    <a:pt x="51" y="9"/>
                    <a:pt x="50" y="10"/>
                  </a:cubicBezTo>
                  <a:cubicBezTo>
                    <a:pt x="49" y="11"/>
                    <a:pt x="48" y="9"/>
                    <a:pt x="48" y="10"/>
                  </a:cubicBezTo>
                  <a:cubicBezTo>
                    <a:pt x="48" y="11"/>
                    <a:pt x="49" y="11"/>
                    <a:pt x="49" y="11"/>
                  </a:cubicBezTo>
                  <a:close/>
                  <a:moveTo>
                    <a:pt x="66" y="22"/>
                  </a:moveTo>
                  <a:cubicBezTo>
                    <a:pt x="66" y="22"/>
                    <a:pt x="66" y="22"/>
                    <a:pt x="66" y="22"/>
                  </a:cubicBezTo>
                  <a:cubicBezTo>
                    <a:pt x="66" y="23"/>
                    <a:pt x="66" y="23"/>
                    <a:pt x="66" y="22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3"/>
                    <a:pt x="66" y="23"/>
                  </a:cubicBezTo>
                  <a:cubicBezTo>
                    <a:pt x="65" y="23"/>
                    <a:pt x="65" y="23"/>
                    <a:pt x="65" y="24"/>
                  </a:cubicBezTo>
                  <a:close/>
                  <a:moveTo>
                    <a:pt x="65" y="25"/>
                  </a:moveTo>
                  <a:cubicBezTo>
                    <a:pt x="66" y="25"/>
                    <a:pt x="66" y="24"/>
                    <a:pt x="66" y="24"/>
                  </a:cubicBezTo>
                  <a:cubicBezTo>
                    <a:pt x="65" y="24"/>
                    <a:pt x="65" y="24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lose/>
                  <a:moveTo>
                    <a:pt x="65" y="26"/>
                  </a:moveTo>
                  <a:cubicBezTo>
                    <a:pt x="66" y="26"/>
                    <a:pt x="65" y="26"/>
                    <a:pt x="64" y="26"/>
                  </a:cubicBezTo>
                  <a:cubicBezTo>
                    <a:pt x="64" y="26"/>
                    <a:pt x="65" y="26"/>
                    <a:pt x="65" y="26"/>
                  </a:cubicBezTo>
                  <a:close/>
                  <a:moveTo>
                    <a:pt x="66" y="25"/>
                  </a:moveTo>
                  <a:cubicBezTo>
                    <a:pt x="66" y="25"/>
                    <a:pt x="66" y="26"/>
                    <a:pt x="66" y="26"/>
                  </a:cubicBezTo>
                  <a:cubicBezTo>
                    <a:pt x="66" y="25"/>
                    <a:pt x="67" y="25"/>
                    <a:pt x="66" y="25"/>
                  </a:cubicBezTo>
                  <a:close/>
                  <a:moveTo>
                    <a:pt x="66" y="23"/>
                  </a:moveTo>
                  <a:cubicBezTo>
                    <a:pt x="66" y="23"/>
                    <a:pt x="65" y="24"/>
                    <a:pt x="66" y="24"/>
                  </a:cubicBezTo>
                  <a:cubicBezTo>
                    <a:pt x="66" y="24"/>
                    <a:pt x="66" y="23"/>
                    <a:pt x="66" y="2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5" name="Freeform 20279">
              <a:extLst>
                <a:ext uri="{FF2B5EF4-FFF2-40B4-BE49-F238E27FC236}">
                  <a16:creationId xmlns:a16="http://schemas.microsoft.com/office/drawing/2014/main" id="{DE15BD19-2ACE-414D-BDBC-FE866A603F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4438" y="4028088"/>
              <a:ext cx="34625" cy="3826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8" y="1"/>
                </a:cxn>
                <a:cxn ang="0">
                  <a:pos x="6" y="2"/>
                </a:cxn>
                <a:cxn ang="0">
                  <a:pos x="6" y="5"/>
                </a:cxn>
                <a:cxn ang="0">
                  <a:pos x="3" y="5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6" y="5"/>
                </a:cxn>
              </a:cxnLst>
              <a:rect l="0" t="0" r="r" b="b"/>
              <a:pathLst>
                <a:path w="8" h="9">
                  <a:moveTo>
                    <a:pt x="6" y="2"/>
                  </a:moveTo>
                  <a:cubicBezTo>
                    <a:pt x="6" y="1"/>
                    <a:pt x="8" y="0"/>
                    <a:pt x="8" y="1"/>
                  </a:cubicBezTo>
                  <a:cubicBezTo>
                    <a:pt x="8" y="2"/>
                    <a:pt x="6" y="3"/>
                    <a:pt x="6" y="2"/>
                  </a:cubicBezTo>
                  <a:close/>
                  <a:moveTo>
                    <a:pt x="6" y="5"/>
                  </a:moveTo>
                  <a:cubicBezTo>
                    <a:pt x="7" y="4"/>
                    <a:pt x="6" y="4"/>
                    <a:pt x="3" y="5"/>
                  </a:cubicBezTo>
                  <a:cubicBezTo>
                    <a:pt x="1" y="5"/>
                    <a:pt x="3" y="5"/>
                    <a:pt x="3" y="7"/>
                  </a:cubicBezTo>
                  <a:cubicBezTo>
                    <a:pt x="3" y="8"/>
                    <a:pt x="3" y="8"/>
                    <a:pt x="1" y="9"/>
                  </a:cubicBezTo>
                  <a:cubicBezTo>
                    <a:pt x="0" y="9"/>
                    <a:pt x="1" y="9"/>
                    <a:pt x="4" y="9"/>
                  </a:cubicBezTo>
                  <a:cubicBezTo>
                    <a:pt x="7" y="9"/>
                    <a:pt x="5" y="6"/>
                    <a:pt x="6" y="5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6" name="Freeform 20280">
              <a:extLst>
                <a:ext uri="{FF2B5EF4-FFF2-40B4-BE49-F238E27FC236}">
                  <a16:creationId xmlns:a16="http://schemas.microsoft.com/office/drawing/2014/main" id="{19D27147-7CA1-A046-8306-19F9A238E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081" y="4006222"/>
              <a:ext cx="9112" cy="911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7" name="Freeform 20281">
              <a:extLst>
                <a:ext uri="{FF2B5EF4-FFF2-40B4-BE49-F238E27FC236}">
                  <a16:creationId xmlns:a16="http://schemas.microsoft.com/office/drawing/2014/main" id="{74EC6DEA-CB75-F247-ACCB-657201376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0840" y="3975241"/>
              <a:ext cx="5466" cy="911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2"/>
                    <a:pt x="0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8" name="Freeform 20282">
              <a:extLst>
                <a:ext uri="{FF2B5EF4-FFF2-40B4-BE49-F238E27FC236}">
                  <a16:creationId xmlns:a16="http://schemas.microsoft.com/office/drawing/2014/main" id="{F931EA28-8FA0-8E41-B1B7-0AF89B678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306" y="3955197"/>
              <a:ext cx="9112" cy="1275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1" y="2"/>
                  </a:cubicBezTo>
                  <a:cubicBezTo>
                    <a:pt x="1" y="3"/>
                    <a:pt x="1" y="3"/>
                    <a:pt x="0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09" name="Freeform 20283">
              <a:extLst>
                <a:ext uri="{FF2B5EF4-FFF2-40B4-BE49-F238E27FC236}">
                  <a16:creationId xmlns:a16="http://schemas.microsoft.com/office/drawing/2014/main" id="{3646EA50-1BE5-5A40-A253-B087CEBD0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195" y="3915107"/>
              <a:ext cx="3643" cy="12756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2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cubicBezTo>
                    <a:pt x="0" y="3"/>
                    <a:pt x="1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2"/>
                    <a:pt x="1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0" name="Freeform 20284">
              <a:extLst>
                <a:ext uri="{FF2B5EF4-FFF2-40B4-BE49-F238E27FC236}">
                  <a16:creationId xmlns:a16="http://schemas.microsoft.com/office/drawing/2014/main" id="{A889556F-FC0D-854A-BA29-96BDB7FE1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462" y="3975241"/>
              <a:ext cx="9112" cy="12756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2" y="2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1" name="Freeform 20285">
              <a:extLst>
                <a:ext uri="{FF2B5EF4-FFF2-40B4-BE49-F238E27FC236}">
                  <a16:creationId xmlns:a16="http://schemas.microsoft.com/office/drawing/2014/main" id="{43F0D826-3C08-4B43-BDAE-7C8232B38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6077" y="3842212"/>
              <a:ext cx="5466" cy="364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2" name="Freeform 20286">
              <a:extLst>
                <a:ext uri="{FF2B5EF4-FFF2-40B4-BE49-F238E27FC236}">
                  <a16:creationId xmlns:a16="http://schemas.microsoft.com/office/drawing/2014/main" id="{A1531E85-E489-594F-B433-047FB4062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658" y="3854968"/>
              <a:ext cx="7288" cy="364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0" y="1"/>
                    <a:pt x="0" y="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3" name="Freeform 20287">
              <a:extLst>
                <a:ext uri="{FF2B5EF4-FFF2-40B4-BE49-F238E27FC236}">
                  <a16:creationId xmlns:a16="http://schemas.microsoft.com/office/drawing/2014/main" id="{297FA6A8-964D-3B4D-BF3F-92B907FED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0840" y="3933329"/>
              <a:ext cx="14578" cy="16401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4"/>
                </a:cxn>
                <a:cxn ang="0">
                  <a:pos x="2" y="3"/>
                </a:cxn>
              </a:cxnLst>
              <a:rect l="0" t="0" r="r" b="b"/>
              <a:pathLst>
                <a:path w="3" h="4">
                  <a:moveTo>
                    <a:pt x="2" y="3"/>
                  </a:moveTo>
                  <a:cubicBezTo>
                    <a:pt x="0" y="3"/>
                    <a:pt x="1" y="2"/>
                    <a:pt x="1" y="1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3" y="2"/>
                    <a:pt x="3" y="4"/>
                    <a:pt x="3" y="4"/>
                  </a:cubicBezTo>
                  <a:cubicBezTo>
                    <a:pt x="2" y="4"/>
                    <a:pt x="3" y="3"/>
                    <a:pt x="2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4" name="Freeform 20288">
              <a:extLst>
                <a:ext uri="{FF2B5EF4-FFF2-40B4-BE49-F238E27FC236}">
                  <a16:creationId xmlns:a16="http://schemas.microsoft.com/office/drawing/2014/main" id="{CAEBF05C-88F8-CF42-BA0B-7455C557E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081" y="3889592"/>
              <a:ext cx="9112" cy="16401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2" h="4">
                  <a:moveTo>
                    <a:pt x="1" y="3"/>
                  </a:moveTo>
                  <a:cubicBezTo>
                    <a:pt x="1" y="4"/>
                    <a:pt x="0" y="3"/>
                    <a:pt x="0" y="1"/>
                  </a:cubicBezTo>
                  <a:cubicBezTo>
                    <a:pt x="1" y="0"/>
                    <a:pt x="2" y="2"/>
                    <a:pt x="1" y="2"/>
                  </a:cubicBezTo>
                  <a:cubicBezTo>
                    <a:pt x="1" y="3"/>
                    <a:pt x="2" y="3"/>
                    <a:pt x="1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5" name="Freeform 20289">
              <a:extLst>
                <a:ext uri="{FF2B5EF4-FFF2-40B4-BE49-F238E27FC236}">
                  <a16:creationId xmlns:a16="http://schemas.microsoft.com/office/drawing/2014/main" id="{788725F4-6BF3-2247-90B0-8AE8E9B3F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549" y="3889592"/>
              <a:ext cx="12756" cy="911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6" name="Freeform 20290">
              <a:extLst>
                <a:ext uri="{FF2B5EF4-FFF2-40B4-BE49-F238E27FC236}">
                  <a16:creationId xmlns:a16="http://schemas.microsoft.com/office/drawing/2014/main" id="{C021331F-6000-7349-BAFE-3E8626D2D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0840" y="3902348"/>
              <a:ext cx="5466" cy="364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7" name="Freeform 20291">
              <a:extLst>
                <a:ext uri="{FF2B5EF4-FFF2-40B4-BE49-F238E27FC236}">
                  <a16:creationId xmlns:a16="http://schemas.microsoft.com/office/drawing/2014/main" id="{C4C8CF89-CEDB-0946-8D43-FA4CBE27F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927" y="3845858"/>
              <a:ext cx="3643" cy="5466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8" name="Freeform 20292">
              <a:extLst>
                <a:ext uri="{FF2B5EF4-FFF2-40B4-BE49-F238E27FC236}">
                  <a16:creationId xmlns:a16="http://schemas.microsoft.com/office/drawing/2014/main" id="{00630001-C32C-0E44-B7BA-81B3AB1C7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927" y="3838568"/>
              <a:ext cx="3643" cy="728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1"/>
                    <a:pt x="0" y="2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19" name="Freeform 20293">
              <a:extLst>
                <a:ext uri="{FF2B5EF4-FFF2-40B4-BE49-F238E27FC236}">
                  <a16:creationId xmlns:a16="http://schemas.microsoft.com/office/drawing/2014/main" id="{A48708DD-2A0B-C346-B8F3-A4F88F86A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0795" y="3880480"/>
              <a:ext cx="3643" cy="54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0" name="Freeform 20294">
              <a:extLst>
                <a:ext uri="{FF2B5EF4-FFF2-40B4-BE49-F238E27FC236}">
                  <a16:creationId xmlns:a16="http://schemas.microsoft.com/office/drawing/2014/main" id="{587623A2-6FA8-114B-AD1E-6F471CD1B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1681" y="3867723"/>
              <a:ext cx="3643" cy="5466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0" y="1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1" name="Freeform 20295">
              <a:extLst>
                <a:ext uri="{FF2B5EF4-FFF2-40B4-BE49-F238E27FC236}">
                  <a16:creationId xmlns:a16="http://schemas.microsoft.com/office/drawing/2014/main" id="{F6ABD763-734B-F049-84B5-08E055C7D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037" y="3864080"/>
              <a:ext cx="3643" cy="9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2"/>
                    <a:pt x="0" y="1"/>
                    <a:pt x="0" y="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2" name="Freeform 20296">
              <a:extLst>
                <a:ext uri="{FF2B5EF4-FFF2-40B4-BE49-F238E27FC236}">
                  <a16:creationId xmlns:a16="http://schemas.microsoft.com/office/drawing/2014/main" id="{478ED486-BCFE-FE4A-8923-1A03115E2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081" y="3873192"/>
              <a:ext cx="5466" cy="364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3" name="Freeform 20297">
              <a:extLst>
                <a:ext uri="{FF2B5EF4-FFF2-40B4-BE49-F238E27FC236}">
                  <a16:creationId xmlns:a16="http://schemas.microsoft.com/office/drawing/2014/main" id="{39C4DF8E-9CCA-AA42-B828-2A34ECDDE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081" y="3854968"/>
              <a:ext cx="5466" cy="911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1"/>
                    <a:pt x="1" y="2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4" name="Freeform 20309">
              <a:extLst>
                <a:ext uri="{FF2B5EF4-FFF2-40B4-BE49-F238E27FC236}">
                  <a16:creationId xmlns:a16="http://schemas.microsoft.com/office/drawing/2014/main" id="{F426A72E-62F0-9443-A56B-0400D04329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0157" y="4195744"/>
              <a:ext cx="900226" cy="1087926"/>
            </a:xfrm>
            <a:custGeom>
              <a:avLst/>
              <a:gdLst/>
              <a:ahLst/>
              <a:cxnLst>
                <a:cxn ang="0">
                  <a:pos x="107" y="240"/>
                </a:cxn>
                <a:cxn ang="0">
                  <a:pos x="95" y="229"/>
                </a:cxn>
                <a:cxn ang="0">
                  <a:pos x="97" y="218"/>
                </a:cxn>
                <a:cxn ang="0">
                  <a:pos x="104" y="197"/>
                </a:cxn>
                <a:cxn ang="0">
                  <a:pos x="99" y="177"/>
                </a:cxn>
                <a:cxn ang="0">
                  <a:pos x="88" y="169"/>
                </a:cxn>
                <a:cxn ang="0">
                  <a:pos x="88" y="154"/>
                </a:cxn>
                <a:cxn ang="0">
                  <a:pos x="77" y="137"/>
                </a:cxn>
                <a:cxn ang="0">
                  <a:pos x="62" y="115"/>
                </a:cxn>
                <a:cxn ang="0">
                  <a:pos x="38" y="99"/>
                </a:cxn>
                <a:cxn ang="0">
                  <a:pos x="20" y="95"/>
                </a:cxn>
                <a:cxn ang="0">
                  <a:pos x="6" y="76"/>
                </a:cxn>
                <a:cxn ang="0">
                  <a:pos x="25" y="60"/>
                </a:cxn>
                <a:cxn ang="0">
                  <a:pos x="24" y="31"/>
                </a:cxn>
                <a:cxn ang="0">
                  <a:pos x="28" y="27"/>
                </a:cxn>
                <a:cxn ang="0">
                  <a:pos x="34" y="23"/>
                </a:cxn>
                <a:cxn ang="0">
                  <a:pos x="41" y="26"/>
                </a:cxn>
                <a:cxn ang="0">
                  <a:pos x="57" y="21"/>
                </a:cxn>
                <a:cxn ang="0">
                  <a:pos x="60" y="10"/>
                </a:cxn>
                <a:cxn ang="0">
                  <a:pos x="75" y="1"/>
                </a:cxn>
                <a:cxn ang="0">
                  <a:pos x="77" y="16"/>
                </a:cxn>
                <a:cxn ang="0">
                  <a:pos x="86" y="24"/>
                </a:cxn>
                <a:cxn ang="0">
                  <a:pos x="98" y="21"/>
                </a:cxn>
                <a:cxn ang="0">
                  <a:pos x="105" y="19"/>
                </a:cxn>
                <a:cxn ang="0">
                  <a:pos x="113" y="20"/>
                </a:cxn>
                <a:cxn ang="0">
                  <a:pos x="121" y="6"/>
                </a:cxn>
                <a:cxn ang="0">
                  <a:pos x="124" y="16"/>
                </a:cxn>
                <a:cxn ang="0">
                  <a:pos x="126" y="21"/>
                </a:cxn>
                <a:cxn ang="0">
                  <a:pos x="123" y="34"/>
                </a:cxn>
                <a:cxn ang="0">
                  <a:pos x="125" y="41"/>
                </a:cxn>
                <a:cxn ang="0">
                  <a:pos x="135" y="43"/>
                </a:cxn>
                <a:cxn ang="0">
                  <a:pos x="154" y="43"/>
                </a:cxn>
                <a:cxn ang="0">
                  <a:pos x="164" y="49"/>
                </a:cxn>
                <a:cxn ang="0">
                  <a:pos x="195" y="64"/>
                </a:cxn>
                <a:cxn ang="0">
                  <a:pos x="202" y="95"/>
                </a:cxn>
                <a:cxn ang="0">
                  <a:pos x="186" y="127"/>
                </a:cxn>
                <a:cxn ang="0">
                  <a:pos x="181" y="160"/>
                </a:cxn>
                <a:cxn ang="0">
                  <a:pos x="164" y="181"/>
                </a:cxn>
                <a:cxn ang="0">
                  <a:pos x="137" y="200"/>
                </a:cxn>
                <a:cxn ang="0">
                  <a:pos x="122" y="238"/>
                </a:cxn>
                <a:cxn ang="0">
                  <a:pos x="127" y="22"/>
                </a:cxn>
                <a:cxn ang="0">
                  <a:pos x="128" y="32"/>
                </a:cxn>
                <a:cxn ang="0">
                  <a:pos x="127" y="31"/>
                </a:cxn>
                <a:cxn ang="0">
                  <a:pos x="127" y="31"/>
                </a:cxn>
                <a:cxn ang="0">
                  <a:pos x="122" y="35"/>
                </a:cxn>
                <a:cxn ang="0">
                  <a:pos x="124" y="38"/>
                </a:cxn>
                <a:cxn ang="0">
                  <a:pos x="124" y="36"/>
                </a:cxn>
                <a:cxn ang="0">
                  <a:pos x="129" y="29"/>
                </a:cxn>
              </a:cxnLst>
              <a:rect l="0" t="0" r="r" b="b"/>
              <a:pathLst>
                <a:path w="209" h="252">
                  <a:moveTo>
                    <a:pt x="110" y="252"/>
                  </a:moveTo>
                  <a:cubicBezTo>
                    <a:pt x="109" y="247"/>
                    <a:pt x="114" y="248"/>
                    <a:pt x="111" y="244"/>
                  </a:cubicBezTo>
                  <a:cubicBezTo>
                    <a:pt x="109" y="241"/>
                    <a:pt x="110" y="241"/>
                    <a:pt x="107" y="240"/>
                  </a:cubicBezTo>
                  <a:cubicBezTo>
                    <a:pt x="105" y="238"/>
                    <a:pt x="106" y="238"/>
                    <a:pt x="103" y="236"/>
                  </a:cubicBezTo>
                  <a:cubicBezTo>
                    <a:pt x="100" y="235"/>
                    <a:pt x="101" y="232"/>
                    <a:pt x="99" y="234"/>
                  </a:cubicBezTo>
                  <a:cubicBezTo>
                    <a:pt x="96" y="235"/>
                    <a:pt x="98" y="232"/>
                    <a:pt x="95" y="229"/>
                  </a:cubicBezTo>
                  <a:cubicBezTo>
                    <a:pt x="91" y="226"/>
                    <a:pt x="91" y="231"/>
                    <a:pt x="89" y="228"/>
                  </a:cubicBezTo>
                  <a:cubicBezTo>
                    <a:pt x="90" y="227"/>
                    <a:pt x="90" y="226"/>
                    <a:pt x="92" y="225"/>
                  </a:cubicBezTo>
                  <a:cubicBezTo>
                    <a:pt x="93" y="225"/>
                    <a:pt x="93" y="223"/>
                    <a:pt x="97" y="218"/>
                  </a:cubicBezTo>
                  <a:cubicBezTo>
                    <a:pt x="100" y="213"/>
                    <a:pt x="104" y="211"/>
                    <a:pt x="107" y="209"/>
                  </a:cubicBezTo>
                  <a:cubicBezTo>
                    <a:pt x="110" y="207"/>
                    <a:pt x="110" y="203"/>
                    <a:pt x="109" y="199"/>
                  </a:cubicBezTo>
                  <a:cubicBezTo>
                    <a:pt x="107" y="194"/>
                    <a:pt x="106" y="198"/>
                    <a:pt x="104" y="197"/>
                  </a:cubicBezTo>
                  <a:cubicBezTo>
                    <a:pt x="106" y="196"/>
                    <a:pt x="107" y="188"/>
                    <a:pt x="105" y="186"/>
                  </a:cubicBezTo>
                  <a:cubicBezTo>
                    <a:pt x="104" y="185"/>
                    <a:pt x="103" y="187"/>
                    <a:pt x="101" y="187"/>
                  </a:cubicBezTo>
                  <a:cubicBezTo>
                    <a:pt x="99" y="187"/>
                    <a:pt x="101" y="185"/>
                    <a:pt x="99" y="177"/>
                  </a:cubicBezTo>
                  <a:cubicBezTo>
                    <a:pt x="98" y="175"/>
                    <a:pt x="95" y="174"/>
                    <a:pt x="94" y="175"/>
                  </a:cubicBezTo>
                  <a:cubicBezTo>
                    <a:pt x="94" y="176"/>
                    <a:pt x="87" y="175"/>
                    <a:pt x="87" y="174"/>
                  </a:cubicBezTo>
                  <a:cubicBezTo>
                    <a:pt x="88" y="172"/>
                    <a:pt x="87" y="172"/>
                    <a:pt x="88" y="169"/>
                  </a:cubicBezTo>
                  <a:cubicBezTo>
                    <a:pt x="89" y="167"/>
                    <a:pt x="86" y="164"/>
                    <a:pt x="86" y="162"/>
                  </a:cubicBezTo>
                  <a:cubicBezTo>
                    <a:pt x="88" y="161"/>
                    <a:pt x="88" y="161"/>
                    <a:pt x="87" y="159"/>
                  </a:cubicBezTo>
                  <a:cubicBezTo>
                    <a:pt x="87" y="158"/>
                    <a:pt x="89" y="156"/>
                    <a:pt x="88" y="154"/>
                  </a:cubicBezTo>
                  <a:cubicBezTo>
                    <a:pt x="88" y="153"/>
                    <a:pt x="92" y="146"/>
                    <a:pt x="87" y="144"/>
                  </a:cubicBezTo>
                  <a:cubicBezTo>
                    <a:pt x="84" y="143"/>
                    <a:pt x="84" y="140"/>
                    <a:pt x="85" y="138"/>
                  </a:cubicBezTo>
                  <a:cubicBezTo>
                    <a:pt x="86" y="136"/>
                    <a:pt x="80" y="137"/>
                    <a:pt x="77" y="137"/>
                  </a:cubicBezTo>
                  <a:cubicBezTo>
                    <a:pt x="74" y="136"/>
                    <a:pt x="76" y="123"/>
                    <a:pt x="73" y="120"/>
                  </a:cubicBezTo>
                  <a:cubicBezTo>
                    <a:pt x="70" y="117"/>
                    <a:pt x="69" y="121"/>
                    <a:pt x="66" y="118"/>
                  </a:cubicBezTo>
                  <a:cubicBezTo>
                    <a:pt x="64" y="116"/>
                    <a:pt x="65" y="118"/>
                    <a:pt x="62" y="115"/>
                  </a:cubicBezTo>
                  <a:cubicBezTo>
                    <a:pt x="58" y="112"/>
                    <a:pt x="56" y="114"/>
                    <a:pt x="52" y="110"/>
                  </a:cubicBezTo>
                  <a:cubicBezTo>
                    <a:pt x="48" y="106"/>
                    <a:pt x="48" y="102"/>
                    <a:pt x="49" y="97"/>
                  </a:cubicBezTo>
                  <a:cubicBezTo>
                    <a:pt x="51" y="93"/>
                    <a:pt x="43" y="95"/>
                    <a:pt x="38" y="99"/>
                  </a:cubicBezTo>
                  <a:cubicBezTo>
                    <a:pt x="32" y="104"/>
                    <a:pt x="33" y="105"/>
                    <a:pt x="27" y="103"/>
                  </a:cubicBezTo>
                  <a:cubicBezTo>
                    <a:pt x="24" y="102"/>
                    <a:pt x="24" y="104"/>
                    <a:pt x="22" y="103"/>
                  </a:cubicBezTo>
                  <a:cubicBezTo>
                    <a:pt x="20" y="103"/>
                    <a:pt x="22" y="92"/>
                    <a:pt x="20" y="95"/>
                  </a:cubicBezTo>
                  <a:cubicBezTo>
                    <a:pt x="19" y="97"/>
                    <a:pt x="12" y="100"/>
                    <a:pt x="13" y="95"/>
                  </a:cubicBezTo>
                  <a:cubicBezTo>
                    <a:pt x="13" y="91"/>
                    <a:pt x="7" y="95"/>
                    <a:pt x="8" y="92"/>
                  </a:cubicBezTo>
                  <a:cubicBezTo>
                    <a:pt x="9" y="89"/>
                    <a:pt x="0" y="81"/>
                    <a:pt x="6" y="76"/>
                  </a:cubicBezTo>
                  <a:cubicBezTo>
                    <a:pt x="10" y="74"/>
                    <a:pt x="8" y="69"/>
                    <a:pt x="11" y="65"/>
                  </a:cubicBezTo>
                  <a:cubicBezTo>
                    <a:pt x="15" y="62"/>
                    <a:pt x="16" y="63"/>
                    <a:pt x="20" y="60"/>
                  </a:cubicBezTo>
                  <a:cubicBezTo>
                    <a:pt x="24" y="58"/>
                    <a:pt x="22" y="62"/>
                    <a:pt x="25" y="60"/>
                  </a:cubicBezTo>
                  <a:cubicBezTo>
                    <a:pt x="25" y="59"/>
                    <a:pt x="26" y="49"/>
                    <a:pt x="27" y="45"/>
                  </a:cubicBezTo>
                  <a:cubicBezTo>
                    <a:pt x="28" y="40"/>
                    <a:pt x="26" y="40"/>
                    <a:pt x="27" y="38"/>
                  </a:cubicBezTo>
                  <a:cubicBezTo>
                    <a:pt x="27" y="36"/>
                    <a:pt x="25" y="39"/>
                    <a:pt x="24" y="31"/>
                  </a:cubicBezTo>
                  <a:cubicBezTo>
                    <a:pt x="24" y="29"/>
                    <a:pt x="26" y="30"/>
                    <a:pt x="27" y="29"/>
                  </a:cubicBezTo>
                  <a:cubicBezTo>
                    <a:pt x="27" y="29"/>
                    <a:pt x="28" y="30"/>
                    <a:pt x="29" y="30"/>
                  </a:cubicBezTo>
                  <a:cubicBezTo>
                    <a:pt x="29" y="31"/>
                    <a:pt x="29" y="27"/>
                    <a:pt x="28" y="27"/>
                  </a:cubicBezTo>
                  <a:cubicBezTo>
                    <a:pt x="26" y="27"/>
                    <a:pt x="25" y="27"/>
                    <a:pt x="25" y="27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2"/>
                    <a:pt x="33" y="20"/>
                    <a:pt x="35" y="22"/>
                  </a:cubicBezTo>
                  <a:cubicBezTo>
                    <a:pt x="36" y="24"/>
                    <a:pt x="37" y="20"/>
                    <a:pt x="38" y="20"/>
                  </a:cubicBezTo>
                  <a:cubicBezTo>
                    <a:pt x="41" y="24"/>
                    <a:pt x="38" y="27"/>
                    <a:pt x="41" y="26"/>
                  </a:cubicBezTo>
                  <a:cubicBezTo>
                    <a:pt x="43" y="30"/>
                    <a:pt x="45" y="28"/>
                    <a:pt x="47" y="29"/>
                  </a:cubicBezTo>
                  <a:cubicBezTo>
                    <a:pt x="50" y="30"/>
                    <a:pt x="49" y="26"/>
                    <a:pt x="53" y="25"/>
                  </a:cubicBezTo>
                  <a:cubicBezTo>
                    <a:pt x="57" y="25"/>
                    <a:pt x="54" y="22"/>
                    <a:pt x="57" y="21"/>
                  </a:cubicBezTo>
                  <a:cubicBezTo>
                    <a:pt x="60" y="19"/>
                    <a:pt x="59" y="17"/>
                    <a:pt x="57" y="18"/>
                  </a:cubicBezTo>
                  <a:cubicBezTo>
                    <a:pt x="55" y="19"/>
                    <a:pt x="55" y="12"/>
                    <a:pt x="53" y="9"/>
                  </a:cubicBezTo>
                  <a:cubicBezTo>
                    <a:pt x="51" y="6"/>
                    <a:pt x="56" y="8"/>
                    <a:pt x="60" y="10"/>
                  </a:cubicBezTo>
                  <a:cubicBezTo>
                    <a:pt x="65" y="13"/>
                    <a:pt x="61" y="7"/>
                    <a:pt x="64" y="8"/>
                  </a:cubicBezTo>
                  <a:cubicBezTo>
                    <a:pt x="67" y="8"/>
                    <a:pt x="74" y="5"/>
                    <a:pt x="73" y="1"/>
                  </a:cubicBezTo>
                  <a:cubicBezTo>
                    <a:pt x="73" y="1"/>
                    <a:pt x="74" y="1"/>
                    <a:pt x="75" y="1"/>
                  </a:cubicBezTo>
                  <a:cubicBezTo>
                    <a:pt x="76" y="0"/>
                    <a:pt x="77" y="2"/>
                    <a:pt x="76" y="4"/>
                  </a:cubicBezTo>
                  <a:cubicBezTo>
                    <a:pt x="75" y="7"/>
                    <a:pt x="80" y="6"/>
                    <a:pt x="78" y="10"/>
                  </a:cubicBezTo>
                  <a:cubicBezTo>
                    <a:pt x="78" y="12"/>
                    <a:pt x="78" y="12"/>
                    <a:pt x="77" y="16"/>
                  </a:cubicBezTo>
                  <a:cubicBezTo>
                    <a:pt x="76" y="20"/>
                    <a:pt x="78" y="18"/>
                    <a:pt x="78" y="21"/>
                  </a:cubicBezTo>
                  <a:cubicBezTo>
                    <a:pt x="78" y="24"/>
                    <a:pt x="82" y="27"/>
                    <a:pt x="83" y="26"/>
                  </a:cubicBezTo>
                  <a:cubicBezTo>
                    <a:pt x="85" y="25"/>
                    <a:pt x="84" y="24"/>
                    <a:pt x="86" y="24"/>
                  </a:cubicBezTo>
                  <a:cubicBezTo>
                    <a:pt x="88" y="25"/>
                    <a:pt x="89" y="22"/>
                    <a:pt x="91" y="21"/>
                  </a:cubicBezTo>
                  <a:cubicBezTo>
                    <a:pt x="93" y="21"/>
                    <a:pt x="92" y="22"/>
                    <a:pt x="95" y="22"/>
                  </a:cubicBezTo>
                  <a:cubicBezTo>
                    <a:pt x="96" y="21"/>
                    <a:pt x="99" y="24"/>
                    <a:pt x="98" y="21"/>
                  </a:cubicBezTo>
                  <a:cubicBezTo>
                    <a:pt x="97" y="19"/>
                    <a:pt x="97" y="18"/>
                    <a:pt x="99" y="19"/>
                  </a:cubicBezTo>
                  <a:cubicBezTo>
                    <a:pt x="100" y="20"/>
                    <a:pt x="103" y="16"/>
                    <a:pt x="103" y="18"/>
                  </a:cubicBezTo>
                  <a:cubicBezTo>
                    <a:pt x="103" y="19"/>
                    <a:pt x="104" y="18"/>
                    <a:pt x="105" y="19"/>
                  </a:cubicBezTo>
                  <a:cubicBezTo>
                    <a:pt x="106" y="21"/>
                    <a:pt x="107" y="21"/>
                    <a:pt x="108" y="20"/>
                  </a:cubicBezTo>
                  <a:cubicBezTo>
                    <a:pt x="109" y="18"/>
                    <a:pt x="109" y="21"/>
                    <a:pt x="111" y="19"/>
                  </a:cubicBezTo>
                  <a:cubicBezTo>
                    <a:pt x="112" y="18"/>
                    <a:pt x="111" y="20"/>
                    <a:pt x="113" y="20"/>
                  </a:cubicBezTo>
                  <a:cubicBezTo>
                    <a:pt x="115" y="20"/>
                    <a:pt x="116" y="15"/>
                    <a:pt x="117" y="13"/>
                  </a:cubicBezTo>
                  <a:cubicBezTo>
                    <a:pt x="119" y="10"/>
                    <a:pt x="119" y="10"/>
                    <a:pt x="120" y="9"/>
                  </a:cubicBezTo>
                  <a:cubicBezTo>
                    <a:pt x="121" y="7"/>
                    <a:pt x="120" y="7"/>
                    <a:pt x="121" y="6"/>
                  </a:cubicBezTo>
                  <a:cubicBezTo>
                    <a:pt x="121" y="6"/>
                    <a:pt x="122" y="8"/>
                    <a:pt x="122" y="9"/>
                  </a:cubicBezTo>
                  <a:cubicBezTo>
                    <a:pt x="123" y="10"/>
                    <a:pt x="123" y="9"/>
                    <a:pt x="123" y="10"/>
                  </a:cubicBezTo>
                  <a:cubicBezTo>
                    <a:pt x="123" y="12"/>
                    <a:pt x="123" y="15"/>
                    <a:pt x="124" y="16"/>
                  </a:cubicBezTo>
                  <a:cubicBezTo>
                    <a:pt x="124" y="16"/>
                    <a:pt x="124" y="17"/>
                    <a:pt x="124" y="18"/>
                  </a:cubicBezTo>
                  <a:cubicBezTo>
                    <a:pt x="124" y="19"/>
                    <a:pt x="125" y="19"/>
                    <a:pt x="125" y="20"/>
                  </a:cubicBezTo>
                  <a:cubicBezTo>
                    <a:pt x="125" y="21"/>
                    <a:pt x="125" y="20"/>
                    <a:pt x="126" y="21"/>
                  </a:cubicBezTo>
                  <a:cubicBezTo>
                    <a:pt x="126" y="22"/>
                    <a:pt x="126" y="23"/>
                    <a:pt x="127" y="23"/>
                  </a:cubicBezTo>
                  <a:cubicBezTo>
                    <a:pt x="129" y="22"/>
                    <a:pt x="130" y="27"/>
                    <a:pt x="129" y="28"/>
                  </a:cubicBezTo>
                  <a:cubicBezTo>
                    <a:pt x="126" y="28"/>
                    <a:pt x="126" y="33"/>
                    <a:pt x="123" y="34"/>
                  </a:cubicBezTo>
                  <a:cubicBezTo>
                    <a:pt x="120" y="35"/>
                    <a:pt x="122" y="36"/>
                    <a:pt x="121" y="38"/>
                  </a:cubicBezTo>
                  <a:cubicBezTo>
                    <a:pt x="119" y="40"/>
                    <a:pt x="124" y="36"/>
                    <a:pt x="123" y="40"/>
                  </a:cubicBezTo>
                  <a:cubicBezTo>
                    <a:pt x="121" y="43"/>
                    <a:pt x="124" y="38"/>
                    <a:pt x="125" y="41"/>
                  </a:cubicBezTo>
                  <a:cubicBezTo>
                    <a:pt x="125" y="44"/>
                    <a:pt x="123" y="34"/>
                    <a:pt x="128" y="35"/>
                  </a:cubicBezTo>
                  <a:cubicBezTo>
                    <a:pt x="133" y="36"/>
                    <a:pt x="131" y="34"/>
                    <a:pt x="135" y="35"/>
                  </a:cubicBezTo>
                  <a:cubicBezTo>
                    <a:pt x="140" y="37"/>
                    <a:pt x="134" y="40"/>
                    <a:pt x="135" y="43"/>
                  </a:cubicBezTo>
                  <a:cubicBezTo>
                    <a:pt x="136" y="45"/>
                    <a:pt x="137" y="38"/>
                    <a:pt x="142" y="38"/>
                  </a:cubicBezTo>
                  <a:cubicBezTo>
                    <a:pt x="146" y="38"/>
                    <a:pt x="146" y="40"/>
                    <a:pt x="148" y="40"/>
                  </a:cubicBezTo>
                  <a:cubicBezTo>
                    <a:pt x="150" y="40"/>
                    <a:pt x="150" y="42"/>
                    <a:pt x="154" y="43"/>
                  </a:cubicBezTo>
                  <a:cubicBezTo>
                    <a:pt x="158" y="44"/>
                    <a:pt x="156" y="45"/>
                    <a:pt x="158" y="47"/>
                  </a:cubicBezTo>
                  <a:cubicBezTo>
                    <a:pt x="159" y="48"/>
                    <a:pt x="156" y="52"/>
                    <a:pt x="157" y="53"/>
                  </a:cubicBezTo>
                  <a:cubicBezTo>
                    <a:pt x="158" y="54"/>
                    <a:pt x="161" y="48"/>
                    <a:pt x="164" y="49"/>
                  </a:cubicBezTo>
                  <a:cubicBezTo>
                    <a:pt x="167" y="50"/>
                    <a:pt x="171" y="52"/>
                    <a:pt x="177" y="51"/>
                  </a:cubicBezTo>
                  <a:cubicBezTo>
                    <a:pt x="182" y="50"/>
                    <a:pt x="184" y="53"/>
                    <a:pt x="188" y="56"/>
                  </a:cubicBezTo>
                  <a:cubicBezTo>
                    <a:pt x="192" y="60"/>
                    <a:pt x="189" y="60"/>
                    <a:pt x="195" y="64"/>
                  </a:cubicBezTo>
                  <a:cubicBezTo>
                    <a:pt x="201" y="68"/>
                    <a:pt x="201" y="64"/>
                    <a:pt x="204" y="67"/>
                  </a:cubicBezTo>
                  <a:cubicBezTo>
                    <a:pt x="207" y="69"/>
                    <a:pt x="207" y="73"/>
                    <a:pt x="208" y="79"/>
                  </a:cubicBezTo>
                  <a:cubicBezTo>
                    <a:pt x="209" y="85"/>
                    <a:pt x="207" y="88"/>
                    <a:pt x="202" y="95"/>
                  </a:cubicBezTo>
                  <a:cubicBezTo>
                    <a:pt x="198" y="103"/>
                    <a:pt x="197" y="100"/>
                    <a:pt x="194" y="108"/>
                  </a:cubicBezTo>
                  <a:cubicBezTo>
                    <a:pt x="191" y="115"/>
                    <a:pt x="190" y="118"/>
                    <a:pt x="188" y="114"/>
                  </a:cubicBezTo>
                  <a:cubicBezTo>
                    <a:pt x="186" y="110"/>
                    <a:pt x="186" y="123"/>
                    <a:pt x="186" y="127"/>
                  </a:cubicBezTo>
                  <a:cubicBezTo>
                    <a:pt x="185" y="131"/>
                    <a:pt x="188" y="132"/>
                    <a:pt x="186" y="137"/>
                  </a:cubicBezTo>
                  <a:cubicBezTo>
                    <a:pt x="184" y="142"/>
                    <a:pt x="186" y="147"/>
                    <a:pt x="184" y="149"/>
                  </a:cubicBezTo>
                  <a:cubicBezTo>
                    <a:pt x="181" y="150"/>
                    <a:pt x="184" y="154"/>
                    <a:pt x="181" y="160"/>
                  </a:cubicBezTo>
                  <a:cubicBezTo>
                    <a:pt x="178" y="166"/>
                    <a:pt x="174" y="168"/>
                    <a:pt x="176" y="172"/>
                  </a:cubicBezTo>
                  <a:cubicBezTo>
                    <a:pt x="177" y="175"/>
                    <a:pt x="170" y="177"/>
                    <a:pt x="171" y="179"/>
                  </a:cubicBezTo>
                  <a:cubicBezTo>
                    <a:pt x="172" y="181"/>
                    <a:pt x="168" y="180"/>
                    <a:pt x="164" y="181"/>
                  </a:cubicBezTo>
                  <a:cubicBezTo>
                    <a:pt x="159" y="182"/>
                    <a:pt x="162" y="180"/>
                    <a:pt x="158" y="181"/>
                  </a:cubicBezTo>
                  <a:cubicBezTo>
                    <a:pt x="155" y="182"/>
                    <a:pt x="156" y="185"/>
                    <a:pt x="146" y="189"/>
                  </a:cubicBezTo>
                  <a:cubicBezTo>
                    <a:pt x="143" y="190"/>
                    <a:pt x="137" y="195"/>
                    <a:pt x="137" y="200"/>
                  </a:cubicBezTo>
                  <a:cubicBezTo>
                    <a:pt x="136" y="206"/>
                    <a:pt x="138" y="211"/>
                    <a:pt x="136" y="216"/>
                  </a:cubicBezTo>
                  <a:cubicBezTo>
                    <a:pt x="133" y="220"/>
                    <a:pt x="133" y="217"/>
                    <a:pt x="130" y="224"/>
                  </a:cubicBezTo>
                  <a:cubicBezTo>
                    <a:pt x="127" y="230"/>
                    <a:pt x="126" y="235"/>
                    <a:pt x="122" y="238"/>
                  </a:cubicBezTo>
                  <a:cubicBezTo>
                    <a:pt x="117" y="242"/>
                    <a:pt x="117" y="242"/>
                    <a:pt x="115" y="247"/>
                  </a:cubicBezTo>
                  <a:cubicBezTo>
                    <a:pt x="115" y="250"/>
                    <a:pt x="112" y="249"/>
                    <a:pt x="110" y="252"/>
                  </a:cubicBezTo>
                  <a:close/>
                  <a:moveTo>
                    <a:pt x="127" y="22"/>
                  </a:moveTo>
                  <a:cubicBezTo>
                    <a:pt x="128" y="22"/>
                    <a:pt x="127" y="20"/>
                    <a:pt x="126" y="20"/>
                  </a:cubicBezTo>
                  <a:cubicBezTo>
                    <a:pt x="126" y="21"/>
                    <a:pt x="127" y="22"/>
                    <a:pt x="127" y="22"/>
                  </a:cubicBezTo>
                  <a:close/>
                  <a:moveTo>
                    <a:pt x="128" y="32"/>
                  </a:moveTo>
                  <a:cubicBezTo>
                    <a:pt x="128" y="31"/>
                    <a:pt x="129" y="29"/>
                    <a:pt x="128" y="30"/>
                  </a:cubicBezTo>
                  <a:cubicBezTo>
                    <a:pt x="126" y="31"/>
                    <a:pt x="127" y="32"/>
                    <a:pt x="128" y="32"/>
                  </a:cubicBezTo>
                  <a:close/>
                  <a:moveTo>
                    <a:pt x="127" y="31"/>
                  </a:moveTo>
                  <a:cubicBezTo>
                    <a:pt x="126" y="30"/>
                    <a:pt x="126" y="31"/>
                    <a:pt x="126" y="31"/>
                  </a:cubicBezTo>
                  <a:cubicBezTo>
                    <a:pt x="126" y="32"/>
                    <a:pt x="125" y="33"/>
                    <a:pt x="127" y="33"/>
                  </a:cubicBezTo>
                  <a:cubicBezTo>
                    <a:pt x="127" y="33"/>
                    <a:pt x="127" y="32"/>
                    <a:pt x="127" y="31"/>
                  </a:cubicBezTo>
                  <a:close/>
                  <a:moveTo>
                    <a:pt x="122" y="35"/>
                  </a:moveTo>
                  <a:cubicBezTo>
                    <a:pt x="122" y="35"/>
                    <a:pt x="121" y="37"/>
                    <a:pt x="122" y="37"/>
                  </a:cubicBezTo>
                  <a:cubicBezTo>
                    <a:pt x="122" y="37"/>
                    <a:pt x="123" y="35"/>
                    <a:pt x="122" y="35"/>
                  </a:cubicBezTo>
                  <a:close/>
                  <a:moveTo>
                    <a:pt x="124" y="38"/>
                  </a:moveTo>
                  <a:cubicBezTo>
                    <a:pt x="124" y="37"/>
                    <a:pt x="122" y="39"/>
                    <a:pt x="123" y="39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4" y="36"/>
                  </a:moveTo>
                  <a:cubicBezTo>
                    <a:pt x="123" y="36"/>
                    <a:pt x="122" y="37"/>
                    <a:pt x="123" y="37"/>
                  </a:cubicBezTo>
                  <a:cubicBezTo>
                    <a:pt x="123" y="37"/>
                    <a:pt x="124" y="36"/>
                    <a:pt x="124" y="36"/>
                  </a:cubicBezTo>
                  <a:close/>
                  <a:moveTo>
                    <a:pt x="129" y="29"/>
                  </a:moveTo>
                  <a:cubicBezTo>
                    <a:pt x="128" y="28"/>
                    <a:pt x="127" y="29"/>
                    <a:pt x="127" y="29"/>
                  </a:cubicBezTo>
                  <a:cubicBezTo>
                    <a:pt x="127" y="30"/>
                    <a:pt x="129" y="29"/>
                    <a:pt x="129" y="29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125" name="Freeform 20310">
              <a:extLst>
                <a:ext uri="{FF2B5EF4-FFF2-40B4-BE49-F238E27FC236}">
                  <a16:creationId xmlns:a16="http://schemas.microsoft.com/office/drawing/2014/main" id="{B3CAE593-7B62-F54E-9A8E-325C737D0B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0634" y="4079115"/>
              <a:ext cx="138496" cy="69248"/>
            </a:xfrm>
            <a:custGeom>
              <a:avLst/>
              <a:gdLst/>
              <a:ahLst/>
              <a:cxnLst>
                <a:cxn ang="0">
                  <a:pos x="31" y="11"/>
                </a:cxn>
                <a:cxn ang="0">
                  <a:pos x="30" y="13"/>
                </a:cxn>
                <a:cxn ang="0">
                  <a:pos x="28" y="12"/>
                </a:cxn>
                <a:cxn ang="0">
                  <a:pos x="27" y="15"/>
                </a:cxn>
                <a:cxn ang="0">
                  <a:pos x="25" y="11"/>
                </a:cxn>
                <a:cxn ang="0">
                  <a:pos x="26" y="8"/>
                </a:cxn>
                <a:cxn ang="0">
                  <a:pos x="25" y="8"/>
                </a:cxn>
                <a:cxn ang="0">
                  <a:pos x="24" y="7"/>
                </a:cxn>
                <a:cxn ang="0">
                  <a:pos x="20" y="4"/>
                </a:cxn>
                <a:cxn ang="0">
                  <a:pos x="18" y="5"/>
                </a:cxn>
                <a:cxn ang="0">
                  <a:pos x="18" y="6"/>
                </a:cxn>
                <a:cxn ang="0">
                  <a:pos x="14" y="9"/>
                </a:cxn>
                <a:cxn ang="0">
                  <a:pos x="14" y="10"/>
                </a:cxn>
                <a:cxn ang="0">
                  <a:pos x="16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5"/>
                </a:cxn>
                <a:cxn ang="0">
                  <a:pos x="11" y="12"/>
                </a:cxn>
                <a:cxn ang="0">
                  <a:pos x="10" y="12"/>
                </a:cxn>
                <a:cxn ang="0">
                  <a:pos x="9" y="12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1" y="7"/>
                </a:cxn>
                <a:cxn ang="0">
                  <a:pos x="2" y="5"/>
                </a:cxn>
                <a:cxn ang="0">
                  <a:pos x="1" y="4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4" y="2"/>
                </a:cxn>
                <a:cxn ang="0">
                  <a:pos x="5" y="3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30" y="6"/>
                </a:cxn>
                <a:cxn ang="0">
                  <a:pos x="31" y="11"/>
                </a:cxn>
                <a:cxn ang="0">
                  <a:pos x="8" y="14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8" y="14"/>
                </a:cxn>
                <a:cxn ang="0">
                  <a:pos x="23" y="7"/>
                </a:cxn>
                <a:cxn ang="0">
                  <a:pos x="22" y="9"/>
                </a:cxn>
                <a:cxn ang="0">
                  <a:pos x="23" y="7"/>
                </a:cxn>
              </a:cxnLst>
              <a:rect l="0" t="0" r="r" b="b"/>
              <a:pathLst>
                <a:path w="32" h="16">
                  <a:moveTo>
                    <a:pt x="31" y="11"/>
                  </a:moveTo>
                  <a:cubicBezTo>
                    <a:pt x="30" y="11"/>
                    <a:pt x="31" y="12"/>
                    <a:pt x="30" y="13"/>
                  </a:cubicBezTo>
                  <a:cubicBezTo>
                    <a:pt x="29" y="14"/>
                    <a:pt x="28" y="12"/>
                    <a:pt x="28" y="12"/>
                  </a:cubicBezTo>
                  <a:cubicBezTo>
                    <a:pt x="27" y="14"/>
                    <a:pt x="28" y="13"/>
                    <a:pt x="27" y="15"/>
                  </a:cubicBezTo>
                  <a:cubicBezTo>
                    <a:pt x="26" y="14"/>
                    <a:pt x="26" y="12"/>
                    <a:pt x="25" y="11"/>
                  </a:cubicBezTo>
                  <a:cubicBezTo>
                    <a:pt x="24" y="10"/>
                    <a:pt x="26" y="7"/>
                    <a:pt x="26" y="8"/>
                  </a:cubicBezTo>
                  <a:cubicBezTo>
                    <a:pt x="25" y="8"/>
                    <a:pt x="25" y="7"/>
                    <a:pt x="25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4" y="6"/>
                    <a:pt x="22" y="4"/>
                    <a:pt x="20" y="4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7" y="5"/>
                    <a:pt x="18" y="6"/>
                    <a:pt x="18" y="6"/>
                  </a:cubicBezTo>
                  <a:cubicBezTo>
                    <a:pt x="17" y="7"/>
                    <a:pt x="17" y="8"/>
                    <a:pt x="14" y="9"/>
                  </a:cubicBezTo>
                  <a:cubicBezTo>
                    <a:pt x="13" y="9"/>
                    <a:pt x="14" y="10"/>
                    <a:pt x="14" y="10"/>
                  </a:cubicBezTo>
                  <a:cubicBezTo>
                    <a:pt x="15" y="10"/>
                    <a:pt x="14" y="10"/>
                    <a:pt x="16" y="12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4" y="14"/>
                    <a:pt x="15" y="15"/>
                    <a:pt x="14" y="15"/>
                  </a:cubicBezTo>
                  <a:cubicBezTo>
                    <a:pt x="13" y="15"/>
                    <a:pt x="11" y="16"/>
                    <a:pt x="12" y="15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0" y="11"/>
                    <a:pt x="10" y="12"/>
                  </a:cubicBezTo>
                  <a:cubicBezTo>
                    <a:pt x="10" y="13"/>
                    <a:pt x="10" y="13"/>
                    <a:pt x="9" y="12"/>
                  </a:cubicBezTo>
                  <a:cubicBezTo>
                    <a:pt x="8" y="12"/>
                    <a:pt x="8" y="11"/>
                    <a:pt x="8" y="11"/>
                  </a:cubicBezTo>
                  <a:cubicBezTo>
                    <a:pt x="7" y="10"/>
                    <a:pt x="8" y="9"/>
                    <a:pt x="7" y="10"/>
                  </a:cubicBezTo>
                  <a:cubicBezTo>
                    <a:pt x="7" y="10"/>
                    <a:pt x="5" y="9"/>
                    <a:pt x="2" y="9"/>
                  </a:cubicBezTo>
                  <a:cubicBezTo>
                    <a:pt x="2" y="8"/>
                    <a:pt x="1" y="9"/>
                    <a:pt x="1" y="10"/>
                  </a:cubicBezTo>
                  <a:cubicBezTo>
                    <a:pt x="0" y="8"/>
                    <a:pt x="1" y="8"/>
                    <a:pt x="1" y="7"/>
                  </a:cubicBezTo>
                  <a:cubicBezTo>
                    <a:pt x="2" y="6"/>
                    <a:pt x="1" y="6"/>
                    <a:pt x="2" y="5"/>
                  </a:cubicBezTo>
                  <a:cubicBezTo>
                    <a:pt x="3" y="4"/>
                    <a:pt x="1" y="4"/>
                    <a:pt x="1" y="4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3"/>
                    <a:pt x="5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6" y="5"/>
                    <a:pt x="6" y="4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4"/>
                    <a:pt x="7" y="3"/>
                    <a:pt x="8" y="4"/>
                  </a:cubicBezTo>
                  <a:cubicBezTo>
                    <a:pt x="8" y="5"/>
                    <a:pt x="9" y="6"/>
                    <a:pt x="10" y="6"/>
                  </a:cubicBezTo>
                  <a:cubicBezTo>
                    <a:pt x="15" y="4"/>
                    <a:pt x="10" y="5"/>
                    <a:pt x="16" y="2"/>
                  </a:cubicBezTo>
                  <a:cubicBezTo>
                    <a:pt x="19" y="1"/>
                    <a:pt x="17" y="0"/>
                    <a:pt x="20" y="0"/>
                  </a:cubicBezTo>
                  <a:cubicBezTo>
                    <a:pt x="23" y="1"/>
                    <a:pt x="20" y="2"/>
                    <a:pt x="23" y="1"/>
                  </a:cubicBezTo>
                  <a:cubicBezTo>
                    <a:pt x="26" y="1"/>
                    <a:pt x="28" y="4"/>
                    <a:pt x="30" y="6"/>
                  </a:cubicBezTo>
                  <a:cubicBezTo>
                    <a:pt x="29" y="8"/>
                    <a:pt x="32" y="11"/>
                    <a:pt x="31" y="11"/>
                  </a:cubicBezTo>
                  <a:close/>
                  <a:moveTo>
                    <a:pt x="8" y="14"/>
                  </a:moveTo>
                  <a:cubicBezTo>
                    <a:pt x="8" y="13"/>
                    <a:pt x="8" y="12"/>
                    <a:pt x="7" y="13"/>
                  </a:cubicBezTo>
                  <a:cubicBezTo>
                    <a:pt x="7" y="13"/>
                    <a:pt x="7" y="14"/>
                    <a:pt x="8" y="14"/>
                  </a:cubicBezTo>
                  <a:cubicBezTo>
                    <a:pt x="9" y="15"/>
                    <a:pt x="9" y="14"/>
                    <a:pt x="8" y="14"/>
                  </a:cubicBezTo>
                  <a:close/>
                  <a:moveTo>
                    <a:pt x="23" y="7"/>
                  </a:moveTo>
                  <a:cubicBezTo>
                    <a:pt x="22" y="7"/>
                    <a:pt x="22" y="8"/>
                    <a:pt x="22" y="9"/>
                  </a:cubicBezTo>
                  <a:cubicBezTo>
                    <a:pt x="23" y="9"/>
                    <a:pt x="23" y="8"/>
                    <a:pt x="23" y="7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sp>
        <p:nvSpPr>
          <p:cNvPr id="127" name="Freeform 20127">
            <a:extLst>
              <a:ext uri="{FF2B5EF4-FFF2-40B4-BE49-F238E27FC236}">
                <a16:creationId xmlns:a16="http://schemas.microsoft.com/office/drawing/2014/main" id="{BFF25D6C-2999-564E-A3AC-E56D30603F12}"/>
              </a:ext>
            </a:extLst>
          </p:cNvPr>
          <p:cNvSpPr>
            <a:spLocks/>
          </p:cNvSpPr>
          <p:nvPr/>
        </p:nvSpPr>
        <p:spPr bwMode="auto">
          <a:xfrm>
            <a:off x="3344998" y="3091303"/>
            <a:ext cx="61617" cy="8570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5" y="0"/>
              </a:cxn>
              <a:cxn ang="0">
                <a:pos x="9" y="3"/>
              </a:cxn>
              <a:cxn ang="0">
                <a:pos x="13" y="6"/>
              </a:cxn>
              <a:cxn ang="0">
                <a:pos x="15" y="9"/>
              </a:cxn>
              <a:cxn ang="0">
                <a:pos x="15" y="11"/>
              </a:cxn>
              <a:cxn ang="0">
                <a:pos x="12" y="15"/>
              </a:cxn>
              <a:cxn ang="0">
                <a:pos x="8" y="22"/>
              </a:cxn>
              <a:cxn ang="0">
                <a:pos x="6" y="21"/>
              </a:cxn>
              <a:cxn ang="0">
                <a:pos x="3" y="22"/>
              </a:cxn>
              <a:cxn ang="0">
                <a:pos x="0" y="21"/>
              </a:cxn>
              <a:cxn ang="0">
                <a:pos x="2" y="15"/>
              </a:cxn>
              <a:cxn ang="0">
                <a:pos x="2" y="12"/>
              </a:cxn>
              <a:cxn ang="0">
                <a:pos x="0" y="7"/>
              </a:cxn>
              <a:cxn ang="0">
                <a:pos x="3" y="0"/>
              </a:cxn>
            </a:cxnLst>
            <a:rect l="0" t="0" r="r" b="b"/>
            <a:pathLst>
              <a:path w="15" h="23">
                <a:moveTo>
                  <a:pt x="3" y="0"/>
                </a:moveTo>
                <a:cubicBezTo>
                  <a:pt x="4" y="0"/>
                  <a:pt x="4" y="0"/>
                  <a:pt x="5" y="0"/>
                </a:cubicBezTo>
                <a:cubicBezTo>
                  <a:pt x="7" y="1"/>
                  <a:pt x="8" y="1"/>
                  <a:pt x="9" y="3"/>
                </a:cubicBezTo>
                <a:cubicBezTo>
                  <a:pt x="10" y="5"/>
                  <a:pt x="12" y="5"/>
                  <a:pt x="13" y="6"/>
                </a:cubicBezTo>
                <a:cubicBezTo>
                  <a:pt x="14" y="9"/>
                  <a:pt x="14" y="4"/>
                  <a:pt x="15" y="9"/>
                </a:cubicBezTo>
                <a:cubicBezTo>
                  <a:pt x="15" y="9"/>
                  <a:pt x="14" y="10"/>
                  <a:pt x="15" y="11"/>
                </a:cubicBezTo>
                <a:cubicBezTo>
                  <a:pt x="14" y="12"/>
                  <a:pt x="14" y="12"/>
                  <a:pt x="12" y="15"/>
                </a:cubicBezTo>
                <a:cubicBezTo>
                  <a:pt x="11" y="17"/>
                  <a:pt x="10" y="22"/>
                  <a:pt x="8" y="22"/>
                </a:cubicBezTo>
                <a:cubicBezTo>
                  <a:pt x="6" y="22"/>
                  <a:pt x="7" y="20"/>
                  <a:pt x="6" y="21"/>
                </a:cubicBezTo>
                <a:cubicBezTo>
                  <a:pt x="4" y="23"/>
                  <a:pt x="4" y="20"/>
                  <a:pt x="3" y="22"/>
                </a:cubicBezTo>
                <a:cubicBezTo>
                  <a:pt x="2" y="23"/>
                  <a:pt x="1" y="23"/>
                  <a:pt x="0" y="21"/>
                </a:cubicBezTo>
                <a:cubicBezTo>
                  <a:pt x="3" y="19"/>
                  <a:pt x="1" y="16"/>
                  <a:pt x="2" y="15"/>
                </a:cubicBezTo>
                <a:cubicBezTo>
                  <a:pt x="3" y="14"/>
                  <a:pt x="3" y="13"/>
                  <a:pt x="2" y="12"/>
                </a:cubicBezTo>
                <a:cubicBezTo>
                  <a:pt x="1" y="11"/>
                  <a:pt x="1" y="10"/>
                  <a:pt x="0" y="7"/>
                </a:cubicBezTo>
                <a:cubicBezTo>
                  <a:pt x="0" y="3"/>
                  <a:pt x="1" y="5"/>
                  <a:pt x="3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GB" sz="675" dirty="0">
              <a:latin typeface="Calibri" panose="020F0502020204030204" pitchFamily="34" charset="0"/>
            </a:endParaRPr>
          </a:p>
        </p:txBody>
      </p:sp>
      <p:sp>
        <p:nvSpPr>
          <p:cNvPr id="128" name="Freeform 20220">
            <a:extLst>
              <a:ext uri="{FF2B5EF4-FFF2-40B4-BE49-F238E27FC236}">
                <a16:creationId xmlns:a16="http://schemas.microsoft.com/office/drawing/2014/main" id="{61157082-8FD5-6740-92C9-EE2A0F5FAD3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192254" y="2039731"/>
            <a:ext cx="597075" cy="546509"/>
          </a:xfrm>
          <a:custGeom>
            <a:avLst/>
            <a:gdLst/>
            <a:ahLst/>
            <a:cxnLst>
              <a:cxn ang="0">
                <a:pos x="63" y="43"/>
              </a:cxn>
              <a:cxn ang="0">
                <a:pos x="62" y="50"/>
              </a:cxn>
              <a:cxn ang="0">
                <a:pos x="65" y="55"/>
              </a:cxn>
              <a:cxn ang="0">
                <a:pos x="56" y="59"/>
              </a:cxn>
              <a:cxn ang="0">
                <a:pos x="51" y="57"/>
              </a:cxn>
              <a:cxn ang="0">
                <a:pos x="45" y="57"/>
              </a:cxn>
              <a:cxn ang="0">
                <a:pos x="42" y="64"/>
              </a:cxn>
              <a:cxn ang="0">
                <a:pos x="35" y="64"/>
              </a:cxn>
              <a:cxn ang="0">
                <a:pos x="29" y="62"/>
              </a:cxn>
              <a:cxn ang="0">
                <a:pos x="23" y="61"/>
              </a:cxn>
              <a:cxn ang="0">
                <a:pos x="17" y="57"/>
              </a:cxn>
              <a:cxn ang="0">
                <a:pos x="20" y="48"/>
              </a:cxn>
              <a:cxn ang="0">
                <a:pos x="20" y="45"/>
              </a:cxn>
              <a:cxn ang="0">
                <a:pos x="23" y="44"/>
              </a:cxn>
              <a:cxn ang="0">
                <a:pos x="20" y="39"/>
              </a:cxn>
              <a:cxn ang="0">
                <a:pos x="18" y="35"/>
              </a:cxn>
              <a:cxn ang="0">
                <a:pos x="15" y="30"/>
              </a:cxn>
              <a:cxn ang="0">
                <a:pos x="13" y="27"/>
              </a:cxn>
              <a:cxn ang="0">
                <a:pos x="11" y="26"/>
              </a:cxn>
              <a:cxn ang="0">
                <a:pos x="4" y="24"/>
              </a:cxn>
              <a:cxn ang="0">
                <a:pos x="4" y="22"/>
              </a:cxn>
              <a:cxn ang="0">
                <a:pos x="3" y="20"/>
              </a:cxn>
              <a:cxn ang="0">
                <a:pos x="4" y="18"/>
              </a:cxn>
              <a:cxn ang="0">
                <a:pos x="8" y="17"/>
              </a:cxn>
              <a:cxn ang="0">
                <a:pos x="12" y="19"/>
              </a:cxn>
              <a:cxn ang="0">
                <a:pos x="15" y="18"/>
              </a:cxn>
              <a:cxn ang="0">
                <a:pos x="18" y="19"/>
              </a:cxn>
              <a:cxn ang="0">
                <a:pos x="17" y="13"/>
              </a:cxn>
              <a:cxn ang="0">
                <a:pos x="19" y="10"/>
              </a:cxn>
              <a:cxn ang="0">
                <a:pos x="26" y="13"/>
              </a:cxn>
              <a:cxn ang="0">
                <a:pos x="29" y="9"/>
              </a:cxn>
              <a:cxn ang="0">
                <a:pos x="34" y="6"/>
              </a:cxn>
              <a:cxn ang="0">
                <a:pos x="34" y="2"/>
              </a:cxn>
              <a:cxn ang="0">
                <a:pos x="43" y="3"/>
              </a:cxn>
              <a:cxn ang="0">
                <a:pos x="48" y="7"/>
              </a:cxn>
              <a:cxn ang="0">
                <a:pos x="53" y="10"/>
              </a:cxn>
              <a:cxn ang="0">
                <a:pos x="59" y="12"/>
              </a:cxn>
              <a:cxn ang="0">
                <a:pos x="64" y="15"/>
              </a:cxn>
              <a:cxn ang="0">
                <a:pos x="65" y="26"/>
              </a:cxn>
              <a:cxn ang="0">
                <a:pos x="62" y="29"/>
              </a:cxn>
              <a:cxn ang="0">
                <a:pos x="59" y="33"/>
              </a:cxn>
              <a:cxn ang="0">
                <a:pos x="58" y="37"/>
              </a:cxn>
              <a:cxn ang="0">
                <a:pos x="61" y="37"/>
              </a:cxn>
              <a:cxn ang="0">
                <a:pos x="75" y="60"/>
              </a:cxn>
              <a:cxn ang="0">
                <a:pos x="72" y="63"/>
              </a:cxn>
              <a:cxn ang="0">
                <a:pos x="71" y="69"/>
              </a:cxn>
              <a:cxn ang="0">
                <a:pos x="72" y="71"/>
              </a:cxn>
              <a:cxn ang="0">
                <a:pos x="74" y="71"/>
              </a:cxn>
              <a:cxn ang="0">
                <a:pos x="76" y="65"/>
              </a:cxn>
              <a:cxn ang="0">
                <a:pos x="75" y="60"/>
              </a:cxn>
            </a:cxnLst>
            <a:rect l="0" t="0" r="r" b="b"/>
            <a:pathLst>
              <a:path w="76" h="72">
                <a:moveTo>
                  <a:pt x="62" y="39"/>
                </a:moveTo>
                <a:cubicBezTo>
                  <a:pt x="61" y="41"/>
                  <a:pt x="64" y="42"/>
                  <a:pt x="63" y="43"/>
                </a:cubicBezTo>
                <a:cubicBezTo>
                  <a:pt x="62" y="45"/>
                  <a:pt x="59" y="44"/>
                  <a:pt x="62" y="46"/>
                </a:cubicBezTo>
                <a:cubicBezTo>
                  <a:pt x="65" y="48"/>
                  <a:pt x="61" y="48"/>
                  <a:pt x="62" y="50"/>
                </a:cubicBezTo>
                <a:cubicBezTo>
                  <a:pt x="63" y="53"/>
                  <a:pt x="66" y="51"/>
                  <a:pt x="66" y="51"/>
                </a:cubicBezTo>
                <a:cubicBezTo>
                  <a:pt x="67" y="52"/>
                  <a:pt x="65" y="54"/>
                  <a:pt x="65" y="55"/>
                </a:cubicBezTo>
                <a:cubicBezTo>
                  <a:pt x="64" y="55"/>
                  <a:pt x="61" y="57"/>
                  <a:pt x="61" y="57"/>
                </a:cubicBezTo>
                <a:cubicBezTo>
                  <a:pt x="61" y="59"/>
                  <a:pt x="57" y="60"/>
                  <a:pt x="56" y="59"/>
                </a:cubicBezTo>
                <a:cubicBezTo>
                  <a:pt x="55" y="58"/>
                  <a:pt x="55" y="60"/>
                  <a:pt x="54" y="58"/>
                </a:cubicBezTo>
                <a:cubicBezTo>
                  <a:pt x="53" y="57"/>
                  <a:pt x="53" y="57"/>
                  <a:pt x="51" y="57"/>
                </a:cubicBezTo>
                <a:cubicBezTo>
                  <a:pt x="49" y="58"/>
                  <a:pt x="51" y="57"/>
                  <a:pt x="49" y="57"/>
                </a:cubicBezTo>
                <a:cubicBezTo>
                  <a:pt x="47" y="57"/>
                  <a:pt x="49" y="54"/>
                  <a:pt x="45" y="57"/>
                </a:cubicBezTo>
                <a:cubicBezTo>
                  <a:pt x="44" y="58"/>
                  <a:pt x="42" y="58"/>
                  <a:pt x="42" y="60"/>
                </a:cubicBezTo>
                <a:cubicBezTo>
                  <a:pt x="43" y="62"/>
                  <a:pt x="42" y="61"/>
                  <a:pt x="42" y="64"/>
                </a:cubicBezTo>
                <a:cubicBezTo>
                  <a:pt x="40" y="64"/>
                  <a:pt x="41" y="65"/>
                  <a:pt x="39" y="64"/>
                </a:cubicBezTo>
                <a:cubicBezTo>
                  <a:pt x="38" y="64"/>
                  <a:pt x="38" y="65"/>
                  <a:pt x="35" y="64"/>
                </a:cubicBezTo>
                <a:cubicBezTo>
                  <a:pt x="35" y="63"/>
                  <a:pt x="35" y="62"/>
                  <a:pt x="34" y="63"/>
                </a:cubicBezTo>
                <a:cubicBezTo>
                  <a:pt x="28" y="59"/>
                  <a:pt x="31" y="62"/>
                  <a:pt x="29" y="62"/>
                </a:cubicBezTo>
                <a:cubicBezTo>
                  <a:pt x="27" y="61"/>
                  <a:pt x="27" y="63"/>
                  <a:pt x="26" y="62"/>
                </a:cubicBezTo>
                <a:cubicBezTo>
                  <a:pt x="25" y="61"/>
                  <a:pt x="23" y="62"/>
                  <a:pt x="23" y="61"/>
                </a:cubicBezTo>
                <a:cubicBezTo>
                  <a:pt x="22" y="59"/>
                  <a:pt x="19" y="60"/>
                  <a:pt x="19" y="59"/>
                </a:cubicBezTo>
                <a:cubicBezTo>
                  <a:pt x="19" y="57"/>
                  <a:pt x="18" y="58"/>
                  <a:pt x="17" y="57"/>
                </a:cubicBezTo>
                <a:cubicBezTo>
                  <a:pt x="18" y="57"/>
                  <a:pt x="19" y="56"/>
                  <a:pt x="19" y="52"/>
                </a:cubicBezTo>
                <a:cubicBezTo>
                  <a:pt x="20" y="48"/>
                  <a:pt x="20" y="48"/>
                  <a:pt x="20" y="48"/>
                </a:cubicBezTo>
                <a:cubicBezTo>
                  <a:pt x="21" y="48"/>
                  <a:pt x="20" y="47"/>
                  <a:pt x="20" y="47"/>
                </a:cubicBezTo>
                <a:cubicBezTo>
                  <a:pt x="19" y="48"/>
                  <a:pt x="19" y="47"/>
                  <a:pt x="20" y="45"/>
                </a:cubicBezTo>
                <a:cubicBezTo>
                  <a:pt x="20" y="43"/>
                  <a:pt x="21" y="42"/>
                  <a:pt x="21" y="42"/>
                </a:cubicBezTo>
                <a:cubicBezTo>
                  <a:pt x="22" y="42"/>
                  <a:pt x="23" y="46"/>
                  <a:pt x="23" y="44"/>
                </a:cubicBezTo>
                <a:cubicBezTo>
                  <a:pt x="22" y="43"/>
                  <a:pt x="23" y="42"/>
                  <a:pt x="20" y="41"/>
                </a:cubicBezTo>
                <a:cubicBezTo>
                  <a:pt x="18" y="39"/>
                  <a:pt x="20" y="40"/>
                  <a:pt x="20" y="39"/>
                </a:cubicBezTo>
                <a:cubicBezTo>
                  <a:pt x="21" y="37"/>
                  <a:pt x="19" y="37"/>
                  <a:pt x="20" y="36"/>
                </a:cubicBezTo>
                <a:cubicBezTo>
                  <a:pt x="20" y="35"/>
                  <a:pt x="20" y="36"/>
                  <a:pt x="18" y="35"/>
                </a:cubicBezTo>
                <a:cubicBezTo>
                  <a:pt x="16" y="34"/>
                  <a:pt x="14" y="32"/>
                  <a:pt x="15" y="31"/>
                </a:cubicBezTo>
                <a:cubicBezTo>
                  <a:pt x="16" y="31"/>
                  <a:pt x="16" y="30"/>
                  <a:pt x="15" y="30"/>
                </a:cubicBezTo>
                <a:cubicBezTo>
                  <a:pt x="14" y="30"/>
                  <a:pt x="16" y="28"/>
                  <a:pt x="14" y="29"/>
                </a:cubicBezTo>
                <a:cubicBezTo>
                  <a:pt x="12" y="29"/>
                  <a:pt x="13" y="28"/>
                  <a:pt x="13" y="27"/>
                </a:cubicBezTo>
                <a:cubicBezTo>
                  <a:pt x="14" y="27"/>
                  <a:pt x="13" y="27"/>
                  <a:pt x="12" y="27"/>
                </a:cubicBezTo>
                <a:cubicBezTo>
                  <a:pt x="10" y="27"/>
                  <a:pt x="12" y="26"/>
                  <a:pt x="11" y="26"/>
                </a:cubicBezTo>
                <a:cubicBezTo>
                  <a:pt x="9" y="26"/>
                  <a:pt x="9" y="25"/>
                  <a:pt x="8" y="25"/>
                </a:cubicBezTo>
                <a:cubicBezTo>
                  <a:pt x="6" y="24"/>
                  <a:pt x="5" y="24"/>
                  <a:pt x="4" y="24"/>
                </a:cubicBezTo>
                <a:cubicBezTo>
                  <a:pt x="3" y="25"/>
                  <a:pt x="4" y="24"/>
                  <a:pt x="2" y="23"/>
                </a:cubicBezTo>
                <a:cubicBezTo>
                  <a:pt x="0" y="22"/>
                  <a:pt x="4" y="22"/>
                  <a:pt x="4" y="22"/>
                </a:cubicBezTo>
                <a:cubicBezTo>
                  <a:pt x="3" y="21"/>
                  <a:pt x="2" y="22"/>
                  <a:pt x="2" y="21"/>
                </a:cubicBezTo>
                <a:cubicBezTo>
                  <a:pt x="2" y="21"/>
                  <a:pt x="4" y="21"/>
                  <a:pt x="3" y="20"/>
                </a:cubicBezTo>
                <a:cubicBezTo>
                  <a:pt x="2" y="20"/>
                  <a:pt x="1" y="21"/>
                  <a:pt x="1" y="20"/>
                </a:cubicBezTo>
                <a:cubicBezTo>
                  <a:pt x="1" y="19"/>
                  <a:pt x="2" y="18"/>
                  <a:pt x="4" y="18"/>
                </a:cubicBezTo>
                <a:cubicBezTo>
                  <a:pt x="6" y="18"/>
                  <a:pt x="4" y="17"/>
                  <a:pt x="6" y="18"/>
                </a:cubicBezTo>
                <a:cubicBezTo>
                  <a:pt x="7" y="18"/>
                  <a:pt x="8" y="18"/>
                  <a:pt x="8" y="17"/>
                </a:cubicBezTo>
                <a:cubicBezTo>
                  <a:pt x="7" y="16"/>
                  <a:pt x="8" y="17"/>
                  <a:pt x="9" y="16"/>
                </a:cubicBezTo>
                <a:cubicBezTo>
                  <a:pt x="10" y="16"/>
                  <a:pt x="11" y="18"/>
                  <a:pt x="12" y="19"/>
                </a:cubicBezTo>
                <a:cubicBezTo>
                  <a:pt x="12" y="20"/>
                  <a:pt x="13" y="18"/>
                  <a:pt x="14" y="18"/>
                </a:cubicBezTo>
                <a:cubicBezTo>
                  <a:pt x="15" y="17"/>
                  <a:pt x="14" y="19"/>
                  <a:pt x="15" y="18"/>
                </a:cubicBezTo>
                <a:cubicBezTo>
                  <a:pt x="16" y="18"/>
                  <a:pt x="15" y="18"/>
                  <a:pt x="16" y="18"/>
                </a:cubicBezTo>
                <a:cubicBezTo>
                  <a:pt x="17" y="18"/>
                  <a:pt x="16" y="19"/>
                  <a:pt x="18" y="19"/>
                </a:cubicBezTo>
                <a:cubicBezTo>
                  <a:pt x="19" y="18"/>
                  <a:pt x="18" y="18"/>
                  <a:pt x="18" y="16"/>
                </a:cubicBezTo>
                <a:cubicBezTo>
                  <a:pt x="18" y="15"/>
                  <a:pt x="18" y="13"/>
                  <a:pt x="17" y="13"/>
                </a:cubicBezTo>
                <a:cubicBezTo>
                  <a:pt x="16" y="12"/>
                  <a:pt x="17" y="12"/>
                  <a:pt x="16" y="11"/>
                </a:cubicBezTo>
                <a:cubicBezTo>
                  <a:pt x="16" y="9"/>
                  <a:pt x="17" y="11"/>
                  <a:pt x="19" y="10"/>
                </a:cubicBezTo>
                <a:cubicBezTo>
                  <a:pt x="20" y="10"/>
                  <a:pt x="19" y="13"/>
                  <a:pt x="20" y="13"/>
                </a:cubicBezTo>
                <a:cubicBezTo>
                  <a:pt x="23" y="12"/>
                  <a:pt x="25" y="14"/>
                  <a:pt x="26" y="13"/>
                </a:cubicBezTo>
                <a:cubicBezTo>
                  <a:pt x="27" y="12"/>
                  <a:pt x="28" y="12"/>
                  <a:pt x="27" y="12"/>
                </a:cubicBezTo>
                <a:cubicBezTo>
                  <a:pt x="27" y="12"/>
                  <a:pt x="25" y="11"/>
                  <a:pt x="29" y="9"/>
                </a:cubicBezTo>
                <a:cubicBezTo>
                  <a:pt x="33" y="8"/>
                  <a:pt x="33" y="8"/>
                  <a:pt x="34" y="7"/>
                </a:cubicBezTo>
                <a:cubicBezTo>
                  <a:pt x="34" y="6"/>
                  <a:pt x="35" y="7"/>
                  <a:pt x="34" y="6"/>
                </a:cubicBezTo>
                <a:cubicBezTo>
                  <a:pt x="34" y="5"/>
                  <a:pt x="35" y="5"/>
                  <a:pt x="34" y="5"/>
                </a:cubicBezTo>
                <a:cubicBezTo>
                  <a:pt x="34" y="4"/>
                  <a:pt x="34" y="4"/>
                  <a:pt x="34" y="2"/>
                </a:cubicBezTo>
                <a:cubicBezTo>
                  <a:pt x="34" y="1"/>
                  <a:pt x="35" y="0"/>
                  <a:pt x="39" y="0"/>
                </a:cubicBezTo>
                <a:cubicBezTo>
                  <a:pt x="41" y="4"/>
                  <a:pt x="42" y="1"/>
                  <a:pt x="43" y="3"/>
                </a:cubicBezTo>
                <a:cubicBezTo>
                  <a:pt x="44" y="5"/>
                  <a:pt x="44" y="3"/>
                  <a:pt x="45" y="5"/>
                </a:cubicBezTo>
                <a:cubicBezTo>
                  <a:pt x="46" y="6"/>
                  <a:pt x="48" y="5"/>
                  <a:pt x="48" y="7"/>
                </a:cubicBezTo>
                <a:cubicBezTo>
                  <a:pt x="49" y="10"/>
                  <a:pt x="50" y="6"/>
                  <a:pt x="51" y="7"/>
                </a:cubicBezTo>
                <a:cubicBezTo>
                  <a:pt x="52" y="7"/>
                  <a:pt x="50" y="9"/>
                  <a:pt x="53" y="10"/>
                </a:cubicBezTo>
                <a:cubicBezTo>
                  <a:pt x="54" y="10"/>
                  <a:pt x="54" y="12"/>
                  <a:pt x="56" y="12"/>
                </a:cubicBezTo>
                <a:cubicBezTo>
                  <a:pt x="58" y="12"/>
                  <a:pt x="58" y="12"/>
                  <a:pt x="59" y="12"/>
                </a:cubicBezTo>
                <a:cubicBezTo>
                  <a:pt x="61" y="12"/>
                  <a:pt x="60" y="14"/>
                  <a:pt x="62" y="14"/>
                </a:cubicBezTo>
                <a:cubicBezTo>
                  <a:pt x="63" y="14"/>
                  <a:pt x="62" y="15"/>
                  <a:pt x="64" y="15"/>
                </a:cubicBezTo>
                <a:cubicBezTo>
                  <a:pt x="66" y="14"/>
                  <a:pt x="67" y="15"/>
                  <a:pt x="68" y="16"/>
                </a:cubicBezTo>
                <a:cubicBezTo>
                  <a:pt x="70" y="16"/>
                  <a:pt x="65" y="18"/>
                  <a:pt x="65" y="26"/>
                </a:cubicBezTo>
                <a:cubicBezTo>
                  <a:pt x="64" y="28"/>
                  <a:pt x="63" y="26"/>
                  <a:pt x="63" y="27"/>
                </a:cubicBezTo>
                <a:cubicBezTo>
                  <a:pt x="62" y="28"/>
                  <a:pt x="63" y="28"/>
                  <a:pt x="62" y="29"/>
                </a:cubicBezTo>
                <a:cubicBezTo>
                  <a:pt x="61" y="29"/>
                  <a:pt x="62" y="30"/>
                  <a:pt x="60" y="31"/>
                </a:cubicBezTo>
                <a:cubicBezTo>
                  <a:pt x="59" y="31"/>
                  <a:pt x="61" y="32"/>
                  <a:pt x="59" y="33"/>
                </a:cubicBezTo>
                <a:cubicBezTo>
                  <a:pt x="57" y="34"/>
                  <a:pt x="59" y="35"/>
                  <a:pt x="58" y="36"/>
                </a:cubicBezTo>
                <a:cubicBezTo>
                  <a:pt x="56" y="37"/>
                  <a:pt x="57" y="37"/>
                  <a:pt x="58" y="37"/>
                </a:cubicBezTo>
                <a:cubicBezTo>
                  <a:pt x="60" y="36"/>
                  <a:pt x="58" y="35"/>
                  <a:pt x="60" y="35"/>
                </a:cubicBezTo>
                <a:cubicBezTo>
                  <a:pt x="62" y="34"/>
                  <a:pt x="61" y="36"/>
                  <a:pt x="61" y="37"/>
                </a:cubicBezTo>
                <a:cubicBezTo>
                  <a:pt x="61" y="37"/>
                  <a:pt x="62" y="37"/>
                  <a:pt x="62" y="39"/>
                </a:cubicBezTo>
                <a:close/>
                <a:moveTo>
                  <a:pt x="75" y="60"/>
                </a:moveTo>
                <a:cubicBezTo>
                  <a:pt x="74" y="60"/>
                  <a:pt x="75" y="63"/>
                  <a:pt x="74" y="62"/>
                </a:cubicBezTo>
                <a:cubicBezTo>
                  <a:pt x="73" y="62"/>
                  <a:pt x="72" y="63"/>
                  <a:pt x="72" y="63"/>
                </a:cubicBezTo>
                <a:cubicBezTo>
                  <a:pt x="71" y="63"/>
                  <a:pt x="71" y="68"/>
                  <a:pt x="71" y="68"/>
                </a:cubicBezTo>
                <a:cubicBezTo>
                  <a:pt x="72" y="68"/>
                  <a:pt x="72" y="68"/>
                  <a:pt x="71" y="69"/>
                </a:cubicBezTo>
                <a:cubicBezTo>
                  <a:pt x="71" y="69"/>
                  <a:pt x="71" y="69"/>
                  <a:pt x="72" y="69"/>
                </a:cubicBezTo>
                <a:cubicBezTo>
                  <a:pt x="73" y="70"/>
                  <a:pt x="71" y="70"/>
                  <a:pt x="72" y="71"/>
                </a:cubicBezTo>
                <a:cubicBezTo>
                  <a:pt x="74" y="72"/>
                  <a:pt x="73" y="72"/>
                  <a:pt x="74" y="72"/>
                </a:cubicBezTo>
                <a:cubicBezTo>
                  <a:pt x="75" y="72"/>
                  <a:pt x="74" y="71"/>
                  <a:pt x="74" y="71"/>
                </a:cubicBezTo>
                <a:cubicBezTo>
                  <a:pt x="75" y="70"/>
                  <a:pt x="75" y="69"/>
                  <a:pt x="75" y="68"/>
                </a:cubicBezTo>
                <a:cubicBezTo>
                  <a:pt x="75" y="67"/>
                  <a:pt x="76" y="67"/>
                  <a:pt x="76" y="65"/>
                </a:cubicBezTo>
                <a:cubicBezTo>
                  <a:pt x="76" y="62"/>
                  <a:pt x="75" y="63"/>
                  <a:pt x="75" y="62"/>
                </a:cubicBezTo>
                <a:cubicBezTo>
                  <a:pt x="76" y="61"/>
                  <a:pt x="76" y="60"/>
                  <a:pt x="75" y="60"/>
                </a:cubicBezTo>
                <a:close/>
              </a:path>
            </a:pathLst>
          </a:custGeom>
          <a:solidFill>
            <a:schemeClr val="tx2"/>
          </a:solidFill>
          <a:ln w="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GB" sz="675" dirty="0">
              <a:latin typeface="Calibri" panose="020F0502020204030204" pitchFamily="34" charset="0"/>
            </a:endParaRP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7C3C4F9-9D44-4B41-98E2-1BB465E864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05314" y="1934431"/>
            <a:ext cx="473659" cy="540077"/>
            <a:chOff x="4388423" y="2569697"/>
            <a:chExt cx="270970" cy="320580"/>
          </a:xfrm>
          <a:solidFill>
            <a:schemeClr val="tx2"/>
          </a:solidFill>
        </p:grpSpPr>
        <p:sp>
          <p:nvSpPr>
            <p:cNvPr id="263" name="Freeform 20222">
              <a:extLst>
                <a:ext uri="{FF2B5EF4-FFF2-40B4-BE49-F238E27FC236}">
                  <a16:creationId xmlns:a16="http://schemas.microsoft.com/office/drawing/2014/main" id="{56272890-F4FE-5348-9268-FB690B119B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426" y="2817765"/>
              <a:ext cx="112586" cy="72512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20" y="6"/>
                </a:cxn>
                <a:cxn ang="0">
                  <a:pos x="23" y="8"/>
                </a:cxn>
                <a:cxn ang="0">
                  <a:pos x="25" y="7"/>
                </a:cxn>
                <a:cxn ang="0">
                  <a:pos x="25" y="10"/>
                </a:cxn>
                <a:cxn ang="0">
                  <a:pos x="23" y="10"/>
                </a:cxn>
                <a:cxn ang="0">
                  <a:pos x="23" y="12"/>
                </a:cxn>
                <a:cxn ang="0">
                  <a:pos x="21" y="12"/>
                </a:cxn>
                <a:cxn ang="0">
                  <a:pos x="19" y="10"/>
                </a:cxn>
                <a:cxn ang="0">
                  <a:pos x="18" y="13"/>
                </a:cxn>
                <a:cxn ang="0">
                  <a:pos x="17" y="15"/>
                </a:cxn>
                <a:cxn ang="0">
                  <a:pos x="15" y="13"/>
                </a:cxn>
                <a:cxn ang="0">
                  <a:pos x="14" y="11"/>
                </a:cxn>
                <a:cxn ang="0">
                  <a:pos x="13" y="12"/>
                </a:cxn>
                <a:cxn ang="0">
                  <a:pos x="12" y="14"/>
                </a:cxn>
                <a:cxn ang="0">
                  <a:pos x="9" y="15"/>
                </a:cxn>
                <a:cxn ang="0">
                  <a:pos x="6" y="15"/>
                </a:cxn>
                <a:cxn ang="0">
                  <a:pos x="5" y="13"/>
                </a:cxn>
                <a:cxn ang="0">
                  <a:pos x="4" y="11"/>
                </a:cxn>
                <a:cxn ang="0">
                  <a:pos x="2" y="13"/>
                </a:cxn>
                <a:cxn ang="0">
                  <a:pos x="2" y="12"/>
                </a:cxn>
                <a:cxn ang="0">
                  <a:pos x="3" y="9"/>
                </a:cxn>
                <a:cxn ang="0">
                  <a:pos x="4" y="7"/>
                </a:cxn>
                <a:cxn ang="0">
                  <a:pos x="6" y="5"/>
                </a:cxn>
                <a:cxn ang="0">
                  <a:pos x="7" y="3"/>
                </a:cxn>
                <a:cxn ang="0">
                  <a:pos x="9" y="2"/>
                </a:cxn>
                <a:cxn ang="0">
                  <a:pos x="13" y="2"/>
                </a:cxn>
                <a:cxn ang="0">
                  <a:pos x="15" y="1"/>
                </a:cxn>
                <a:cxn ang="0">
                  <a:pos x="17" y="2"/>
                </a:cxn>
                <a:cxn ang="0">
                  <a:pos x="20" y="3"/>
                </a:cxn>
              </a:cxnLst>
              <a:rect l="0" t="0" r="r" b="b"/>
              <a:pathLst>
                <a:path w="25" h="16">
                  <a:moveTo>
                    <a:pt x="20" y="3"/>
                  </a:moveTo>
                  <a:cubicBezTo>
                    <a:pt x="21" y="4"/>
                    <a:pt x="18" y="7"/>
                    <a:pt x="20" y="6"/>
                  </a:cubicBezTo>
                  <a:cubicBezTo>
                    <a:pt x="23" y="6"/>
                    <a:pt x="21" y="8"/>
                    <a:pt x="23" y="8"/>
                  </a:cubicBezTo>
                  <a:cubicBezTo>
                    <a:pt x="24" y="8"/>
                    <a:pt x="24" y="5"/>
                    <a:pt x="25" y="7"/>
                  </a:cubicBezTo>
                  <a:cubicBezTo>
                    <a:pt x="24" y="9"/>
                    <a:pt x="25" y="10"/>
                    <a:pt x="25" y="10"/>
                  </a:cubicBezTo>
                  <a:cubicBezTo>
                    <a:pt x="24" y="11"/>
                    <a:pt x="23" y="9"/>
                    <a:pt x="23" y="10"/>
                  </a:cubicBezTo>
                  <a:cubicBezTo>
                    <a:pt x="22" y="10"/>
                    <a:pt x="24" y="12"/>
                    <a:pt x="23" y="12"/>
                  </a:cubicBezTo>
                  <a:cubicBezTo>
                    <a:pt x="22" y="13"/>
                    <a:pt x="22" y="11"/>
                    <a:pt x="21" y="12"/>
                  </a:cubicBezTo>
                  <a:cubicBezTo>
                    <a:pt x="20" y="12"/>
                    <a:pt x="20" y="10"/>
                    <a:pt x="19" y="10"/>
                  </a:cubicBezTo>
                  <a:cubicBezTo>
                    <a:pt x="18" y="10"/>
                    <a:pt x="19" y="12"/>
                    <a:pt x="18" y="13"/>
                  </a:cubicBezTo>
                  <a:cubicBezTo>
                    <a:pt x="16" y="14"/>
                    <a:pt x="18" y="15"/>
                    <a:pt x="17" y="15"/>
                  </a:cubicBezTo>
                  <a:cubicBezTo>
                    <a:pt x="16" y="16"/>
                    <a:pt x="16" y="14"/>
                    <a:pt x="15" y="13"/>
                  </a:cubicBezTo>
                  <a:cubicBezTo>
                    <a:pt x="14" y="12"/>
                    <a:pt x="14" y="11"/>
                    <a:pt x="14" y="11"/>
                  </a:cubicBezTo>
                  <a:cubicBezTo>
                    <a:pt x="14" y="10"/>
                    <a:pt x="13" y="11"/>
                    <a:pt x="13" y="12"/>
                  </a:cubicBezTo>
                  <a:cubicBezTo>
                    <a:pt x="12" y="12"/>
                    <a:pt x="14" y="12"/>
                    <a:pt x="12" y="14"/>
                  </a:cubicBezTo>
                  <a:cubicBezTo>
                    <a:pt x="10" y="15"/>
                    <a:pt x="10" y="14"/>
                    <a:pt x="9" y="15"/>
                  </a:cubicBezTo>
                  <a:cubicBezTo>
                    <a:pt x="7" y="15"/>
                    <a:pt x="7" y="15"/>
                    <a:pt x="6" y="15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5" y="12"/>
                    <a:pt x="6" y="10"/>
                    <a:pt x="4" y="11"/>
                  </a:cubicBezTo>
                  <a:cubicBezTo>
                    <a:pt x="2" y="11"/>
                    <a:pt x="4" y="12"/>
                    <a:pt x="2" y="13"/>
                  </a:cubicBezTo>
                  <a:cubicBezTo>
                    <a:pt x="1" y="13"/>
                    <a:pt x="0" y="13"/>
                    <a:pt x="2" y="12"/>
                  </a:cubicBezTo>
                  <a:cubicBezTo>
                    <a:pt x="3" y="11"/>
                    <a:pt x="1" y="10"/>
                    <a:pt x="3" y="9"/>
                  </a:cubicBezTo>
                  <a:cubicBezTo>
                    <a:pt x="5" y="8"/>
                    <a:pt x="3" y="7"/>
                    <a:pt x="4" y="7"/>
                  </a:cubicBezTo>
                  <a:cubicBezTo>
                    <a:pt x="6" y="6"/>
                    <a:pt x="5" y="5"/>
                    <a:pt x="6" y="5"/>
                  </a:cubicBezTo>
                  <a:cubicBezTo>
                    <a:pt x="7" y="4"/>
                    <a:pt x="6" y="4"/>
                    <a:pt x="7" y="3"/>
                  </a:cubicBezTo>
                  <a:cubicBezTo>
                    <a:pt x="7" y="2"/>
                    <a:pt x="8" y="4"/>
                    <a:pt x="9" y="2"/>
                  </a:cubicBezTo>
                  <a:cubicBezTo>
                    <a:pt x="11" y="3"/>
                    <a:pt x="11" y="2"/>
                    <a:pt x="13" y="2"/>
                  </a:cubicBezTo>
                  <a:cubicBezTo>
                    <a:pt x="15" y="2"/>
                    <a:pt x="13" y="1"/>
                    <a:pt x="15" y="1"/>
                  </a:cubicBezTo>
                  <a:cubicBezTo>
                    <a:pt x="16" y="0"/>
                    <a:pt x="16" y="2"/>
                    <a:pt x="17" y="2"/>
                  </a:cubicBezTo>
                  <a:cubicBezTo>
                    <a:pt x="18" y="1"/>
                    <a:pt x="19" y="2"/>
                    <a:pt x="20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64" name="Freeform 20223">
              <a:extLst>
                <a:ext uri="{FF2B5EF4-FFF2-40B4-BE49-F238E27FC236}">
                  <a16:creationId xmlns:a16="http://schemas.microsoft.com/office/drawing/2014/main" id="{40DD5B31-8ED2-264B-9FAA-E83EC44378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0479" y="2771968"/>
              <a:ext cx="188914" cy="99227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9" y="13"/>
                </a:cxn>
                <a:cxn ang="0">
                  <a:pos x="13" y="12"/>
                </a:cxn>
                <a:cxn ang="0">
                  <a:pos x="16" y="11"/>
                </a:cxn>
                <a:cxn ang="0">
                  <a:pos x="18" y="12"/>
                </a:cxn>
                <a:cxn ang="0">
                  <a:pos x="20" y="13"/>
                </a:cxn>
                <a:cxn ang="0">
                  <a:pos x="20" y="10"/>
                </a:cxn>
                <a:cxn ang="0">
                  <a:pos x="19" y="7"/>
                </a:cxn>
                <a:cxn ang="0">
                  <a:pos x="22" y="6"/>
                </a:cxn>
                <a:cxn ang="0">
                  <a:pos x="24" y="3"/>
                </a:cxn>
                <a:cxn ang="0">
                  <a:pos x="26" y="5"/>
                </a:cxn>
                <a:cxn ang="0">
                  <a:pos x="30" y="2"/>
                </a:cxn>
                <a:cxn ang="0">
                  <a:pos x="32" y="2"/>
                </a:cxn>
                <a:cxn ang="0">
                  <a:pos x="37" y="3"/>
                </a:cxn>
                <a:cxn ang="0">
                  <a:pos x="41" y="4"/>
                </a:cxn>
                <a:cxn ang="0">
                  <a:pos x="41" y="9"/>
                </a:cxn>
                <a:cxn ang="0">
                  <a:pos x="41" y="11"/>
                </a:cxn>
                <a:cxn ang="0">
                  <a:pos x="38" y="11"/>
                </a:cxn>
                <a:cxn ang="0">
                  <a:pos x="39" y="13"/>
                </a:cxn>
                <a:cxn ang="0">
                  <a:pos x="38" y="14"/>
                </a:cxn>
                <a:cxn ang="0">
                  <a:pos x="38" y="16"/>
                </a:cxn>
                <a:cxn ang="0">
                  <a:pos x="36" y="17"/>
                </a:cxn>
                <a:cxn ang="0">
                  <a:pos x="36" y="18"/>
                </a:cxn>
                <a:cxn ang="0">
                  <a:pos x="34" y="19"/>
                </a:cxn>
                <a:cxn ang="0">
                  <a:pos x="32" y="19"/>
                </a:cxn>
                <a:cxn ang="0">
                  <a:pos x="29" y="21"/>
                </a:cxn>
                <a:cxn ang="0">
                  <a:pos x="27" y="21"/>
                </a:cxn>
                <a:cxn ang="0">
                  <a:pos x="23" y="20"/>
                </a:cxn>
                <a:cxn ang="0">
                  <a:pos x="16" y="18"/>
                </a:cxn>
                <a:cxn ang="0">
                  <a:pos x="15" y="17"/>
                </a:cxn>
                <a:cxn ang="0">
                  <a:pos x="14" y="16"/>
                </a:cxn>
                <a:cxn ang="0">
                  <a:pos x="11" y="17"/>
                </a:cxn>
                <a:cxn ang="0">
                  <a:pos x="9" y="18"/>
                </a:cxn>
                <a:cxn ang="0">
                  <a:pos x="7" y="17"/>
                </a:cxn>
                <a:cxn ang="0">
                  <a:pos x="5" y="18"/>
                </a:cxn>
                <a:cxn ang="0">
                  <a:pos x="2" y="16"/>
                </a:cxn>
                <a:cxn ang="0">
                  <a:pos x="2" y="13"/>
                </a:cxn>
              </a:cxnLst>
              <a:rect l="0" t="0" r="r" b="b"/>
              <a:pathLst>
                <a:path w="42" h="22">
                  <a:moveTo>
                    <a:pt x="2" y="13"/>
                  </a:moveTo>
                  <a:cubicBezTo>
                    <a:pt x="4" y="11"/>
                    <a:pt x="5" y="14"/>
                    <a:pt x="6" y="14"/>
                  </a:cubicBezTo>
                  <a:cubicBezTo>
                    <a:pt x="7" y="14"/>
                    <a:pt x="6" y="12"/>
                    <a:pt x="7" y="12"/>
                  </a:cubicBezTo>
                  <a:cubicBezTo>
                    <a:pt x="8" y="13"/>
                    <a:pt x="9" y="12"/>
                    <a:pt x="9" y="13"/>
                  </a:cubicBezTo>
                  <a:cubicBezTo>
                    <a:pt x="10" y="14"/>
                    <a:pt x="11" y="13"/>
                    <a:pt x="13" y="12"/>
                  </a:cubicBezTo>
                  <a:cubicBezTo>
                    <a:pt x="14" y="11"/>
                    <a:pt x="15" y="13"/>
                    <a:pt x="16" y="11"/>
                  </a:cubicBezTo>
                  <a:cubicBezTo>
                    <a:pt x="16" y="10"/>
                    <a:pt x="17" y="12"/>
                    <a:pt x="18" y="12"/>
                  </a:cubicBezTo>
                  <a:cubicBezTo>
                    <a:pt x="19" y="11"/>
                    <a:pt x="19" y="14"/>
                    <a:pt x="20" y="13"/>
                  </a:cubicBezTo>
                  <a:cubicBezTo>
                    <a:pt x="21" y="12"/>
                    <a:pt x="18" y="11"/>
                    <a:pt x="20" y="10"/>
                  </a:cubicBezTo>
                  <a:cubicBezTo>
                    <a:pt x="21" y="10"/>
                    <a:pt x="18" y="9"/>
                    <a:pt x="19" y="7"/>
                  </a:cubicBezTo>
                  <a:cubicBezTo>
                    <a:pt x="21" y="6"/>
                    <a:pt x="22" y="7"/>
                    <a:pt x="22" y="6"/>
                  </a:cubicBezTo>
                  <a:cubicBezTo>
                    <a:pt x="22" y="4"/>
                    <a:pt x="24" y="6"/>
                    <a:pt x="24" y="3"/>
                  </a:cubicBezTo>
                  <a:cubicBezTo>
                    <a:pt x="26" y="4"/>
                    <a:pt x="24" y="5"/>
                    <a:pt x="26" y="5"/>
                  </a:cubicBezTo>
                  <a:cubicBezTo>
                    <a:pt x="28" y="4"/>
                    <a:pt x="30" y="4"/>
                    <a:pt x="30" y="2"/>
                  </a:cubicBezTo>
                  <a:cubicBezTo>
                    <a:pt x="30" y="0"/>
                    <a:pt x="31" y="2"/>
                    <a:pt x="32" y="2"/>
                  </a:cubicBezTo>
                  <a:cubicBezTo>
                    <a:pt x="33" y="2"/>
                    <a:pt x="36" y="4"/>
                    <a:pt x="37" y="3"/>
                  </a:cubicBezTo>
                  <a:cubicBezTo>
                    <a:pt x="39" y="2"/>
                    <a:pt x="40" y="4"/>
                    <a:pt x="41" y="4"/>
                  </a:cubicBezTo>
                  <a:cubicBezTo>
                    <a:pt x="40" y="6"/>
                    <a:pt x="39" y="6"/>
                    <a:pt x="41" y="9"/>
                  </a:cubicBezTo>
                  <a:cubicBezTo>
                    <a:pt x="41" y="10"/>
                    <a:pt x="42" y="11"/>
                    <a:pt x="41" y="11"/>
                  </a:cubicBezTo>
                  <a:cubicBezTo>
                    <a:pt x="40" y="11"/>
                    <a:pt x="38" y="11"/>
                    <a:pt x="38" y="11"/>
                  </a:cubicBezTo>
                  <a:cubicBezTo>
                    <a:pt x="38" y="12"/>
                    <a:pt x="39" y="12"/>
                    <a:pt x="39" y="13"/>
                  </a:cubicBezTo>
                  <a:cubicBezTo>
                    <a:pt x="39" y="14"/>
                    <a:pt x="38" y="13"/>
                    <a:pt x="38" y="14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6" y="17"/>
                  </a:cubicBezTo>
                  <a:cubicBezTo>
                    <a:pt x="36" y="18"/>
                    <a:pt x="35" y="17"/>
                    <a:pt x="36" y="18"/>
                  </a:cubicBezTo>
                  <a:cubicBezTo>
                    <a:pt x="36" y="19"/>
                    <a:pt x="36" y="19"/>
                    <a:pt x="34" y="19"/>
                  </a:cubicBezTo>
                  <a:cubicBezTo>
                    <a:pt x="33" y="19"/>
                    <a:pt x="34" y="20"/>
                    <a:pt x="32" y="19"/>
                  </a:cubicBezTo>
                  <a:cubicBezTo>
                    <a:pt x="30" y="19"/>
                    <a:pt x="30" y="19"/>
                    <a:pt x="29" y="21"/>
                  </a:cubicBezTo>
                  <a:cubicBezTo>
                    <a:pt x="27" y="22"/>
                    <a:pt x="28" y="20"/>
                    <a:pt x="27" y="21"/>
                  </a:cubicBezTo>
                  <a:cubicBezTo>
                    <a:pt x="25" y="21"/>
                    <a:pt x="26" y="20"/>
                    <a:pt x="23" y="20"/>
                  </a:cubicBezTo>
                  <a:cubicBezTo>
                    <a:pt x="18" y="20"/>
                    <a:pt x="16" y="19"/>
                    <a:pt x="16" y="18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5" y="16"/>
                    <a:pt x="17" y="16"/>
                    <a:pt x="14" y="16"/>
                  </a:cubicBezTo>
                  <a:cubicBezTo>
                    <a:pt x="12" y="17"/>
                    <a:pt x="12" y="16"/>
                    <a:pt x="11" y="17"/>
                  </a:cubicBezTo>
                  <a:cubicBezTo>
                    <a:pt x="10" y="17"/>
                    <a:pt x="10" y="18"/>
                    <a:pt x="9" y="18"/>
                  </a:cubicBezTo>
                  <a:cubicBezTo>
                    <a:pt x="8" y="19"/>
                    <a:pt x="8" y="17"/>
                    <a:pt x="7" y="17"/>
                  </a:cubicBezTo>
                  <a:cubicBezTo>
                    <a:pt x="6" y="15"/>
                    <a:pt x="6" y="18"/>
                    <a:pt x="5" y="18"/>
                  </a:cubicBezTo>
                  <a:cubicBezTo>
                    <a:pt x="3" y="18"/>
                    <a:pt x="5" y="16"/>
                    <a:pt x="2" y="16"/>
                  </a:cubicBezTo>
                  <a:cubicBezTo>
                    <a:pt x="0" y="17"/>
                    <a:pt x="3" y="14"/>
                    <a:pt x="2" y="1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65" name="Freeform 20234">
              <a:extLst>
                <a:ext uri="{FF2B5EF4-FFF2-40B4-BE49-F238E27FC236}">
                  <a16:creationId xmlns:a16="http://schemas.microsoft.com/office/drawing/2014/main" id="{857C9D0B-BDCA-204F-81F8-E7FD7A9695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388423" y="2569697"/>
              <a:ext cx="221354" cy="265244"/>
            </a:xfrm>
            <a:custGeom>
              <a:avLst/>
              <a:gdLst/>
              <a:ahLst/>
              <a:cxnLst>
                <a:cxn ang="0">
                  <a:pos x="37" y="52"/>
                </a:cxn>
                <a:cxn ang="0">
                  <a:pos x="38" y="58"/>
                </a:cxn>
                <a:cxn ang="0">
                  <a:pos x="34" y="56"/>
                </a:cxn>
                <a:cxn ang="0">
                  <a:pos x="27" y="58"/>
                </a:cxn>
                <a:cxn ang="0">
                  <a:pos x="24" y="59"/>
                </a:cxn>
                <a:cxn ang="0">
                  <a:pos x="17" y="57"/>
                </a:cxn>
                <a:cxn ang="0">
                  <a:pos x="13" y="57"/>
                </a:cxn>
                <a:cxn ang="0">
                  <a:pos x="12" y="47"/>
                </a:cxn>
                <a:cxn ang="0">
                  <a:pos x="6" y="45"/>
                </a:cxn>
                <a:cxn ang="0">
                  <a:pos x="4" y="40"/>
                </a:cxn>
                <a:cxn ang="0">
                  <a:pos x="3" y="35"/>
                </a:cxn>
                <a:cxn ang="0">
                  <a:pos x="1" y="31"/>
                </a:cxn>
                <a:cxn ang="0">
                  <a:pos x="2" y="27"/>
                </a:cxn>
                <a:cxn ang="0">
                  <a:pos x="5" y="23"/>
                </a:cxn>
                <a:cxn ang="0">
                  <a:pos x="5" y="19"/>
                </a:cxn>
                <a:cxn ang="0">
                  <a:pos x="8" y="14"/>
                </a:cxn>
                <a:cxn ang="0">
                  <a:pos x="10" y="10"/>
                </a:cxn>
                <a:cxn ang="0">
                  <a:pos x="14" y="11"/>
                </a:cxn>
                <a:cxn ang="0">
                  <a:pos x="15" y="9"/>
                </a:cxn>
                <a:cxn ang="0">
                  <a:pos x="17" y="8"/>
                </a:cxn>
                <a:cxn ang="0">
                  <a:pos x="16" y="6"/>
                </a:cxn>
                <a:cxn ang="0">
                  <a:pos x="17" y="3"/>
                </a:cxn>
                <a:cxn ang="0">
                  <a:pos x="17" y="1"/>
                </a:cxn>
                <a:cxn ang="0">
                  <a:pos x="21" y="1"/>
                </a:cxn>
                <a:cxn ang="0">
                  <a:pos x="22" y="4"/>
                </a:cxn>
                <a:cxn ang="0">
                  <a:pos x="27" y="5"/>
                </a:cxn>
                <a:cxn ang="0">
                  <a:pos x="26" y="8"/>
                </a:cxn>
                <a:cxn ang="0">
                  <a:pos x="32" y="6"/>
                </a:cxn>
                <a:cxn ang="0">
                  <a:pos x="37" y="4"/>
                </a:cxn>
                <a:cxn ang="0">
                  <a:pos x="42" y="7"/>
                </a:cxn>
                <a:cxn ang="0">
                  <a:pos x="44" y="10"/>
                </a:cxn>
                <a:cxn ang="0">
                  <a:pos x="45" y="18"/>
                </a:cxn>
                <a:cxn ang="0">
                  <a:pos x="46" y="26"/>
                </a:cxn>
                <a:cxn ang="0">
                  <a:pos x="45" y="31"/>
                </a:cxn>
                <a:cxn ang="0">
                  <a:pos x="36" y="36"/>
                </a:cxn>
                <a:cxn ang="0">
                  <a:pos x="37" y="43"/>
                </a:cxn>
                <a:cxn ang="0">
                  <a:pos x="40" y="51"/>
                </a:cxn>
                <a:cxn ang="0">
                  <a:pos x="42" y="7"/>
                </a:cxn>
                <a:cxn ang="0">
                  <a:pos x="42" y="9"/>
                </a:cxn>
                <a:cxn ang="0">
                  <a:pos x="44" y="8"/>
                </a:cxn>
                <a:cxn ang="0">
                  <a:pos x="28" y="4"/>
                </a:cxn>
                <a:cxn ang="0">
                  <a:pos x="40" y="6"/>
                </a:cxn>
                <a:cxn ang="0">
                  <a:pos x="41" y="5"/>
                </a:cxn>
                <a:cxn ang="0">
                  <a:pos x="39" y="2"/>
                </a:cxn>
                <a:cxn ang="0">
                  <a:pos x="39" y="3"/>
                </a:cxn>
                <a:cxn ang="0">
                  <a:pos x="39" y="6"/>
                </a:cxn>
              </a:cxnLst>
              <a:rect l="0" t="0" r="r" b="b"/>
              <a:pathLst>
                <a:path w="49" h="59">
                  <a:moveTo>
                    <a:pt x="40" y="51"/>
                  </a:moveTo>
                  <a:cubicBezTo>
                    <a:pt x="40" y="52"/>
                    <a:pt x="39" y="51"/>
                    <a:pt x="37" y="52"/>
                  </a:cubicBezTo>
                  <a:cubicBezTo>
                    <a:pt x="36" y="54"/>
                    <a:pt x="39" y="55"/>
                    <a:pt x="38" y="55"/>
                  </a:cubicBezTo>
                  <a:cubicBezTo>
                    <a:pt x="36" y="56"/>
                    <a:pt x="39" y="57"/>
                    <a:pt x="38" y="58"/>
                  </a:cubicBezTo>
                  <a:cubicBezTo>
                    <a:pt x="37" y="59"/>
                    <a:pt x="37" y="56"/>
                    <a:pt x="36" y="57"/>
                  </a:cubicBezTo>
                  <a:cubicBezTo>
                    <a:pt x="35" y="57"/>
                    <a:pt x="34" y="55"/>
                    <a:pt x="34" y="56"/>
                  </a:cubicBezTo>
                  <a:cubicBezTo>
                    <a:pt x="33" y="58"/>
                    <a:pt x="32" y="56"/>
                    <a:pt x="31" y="57"/>
                  </a:cubicBezTo>
                  <a:cubicBezTo>
                    <a:pt x="29" y="58"/>
                    <a:pt x="28" y="59"/>
                    <a:pt x="27" y="58"/>
                  </a:cubicBezTo>
                  <a:cubicBezTo>
                    <a:pt x="27" y="57"/>
                    <a:pt x="26" y="58"/>
                    <a:pt x="25" y="57"/>
                  </a:cubicBezTo>
                  <a:cubicBezTo>
                    <a:pt x="24" y="57"/>
                    <a:pt x="25" y="59"/>
                    <a:pt x="24" y="59"/>
                  </a:cubicBezTo>
                  <a:cubicBezTo>
                    <a:pt x="23" y="59"/>
                    <a:pt x="22" y="56"/>
                    <a:pt x="20" y="58"/>
                  </a:cubicBezTo>
                  <a:cubicBezTo>
                    <a:pt x="19" y="57"/>
                    <a:pt x="18" y="56"/>
                    <a:pt x="17" y="57"/>
                  </a:cubicBezTo>
                  <a:cubicBezTo>
                    <a:pt x="16" y="57"/>
                    <a:pt x="16" y="55"/>
                    <a:pt x="15" y="56"/>
                  </a:cubicBezTo>
                  <a:cubicBezTo>
                    <a:pt x="13" y="56"/>
                    <a:pt x="15" y="57"/>
                    <a:pt x="13" y="57"/>
                  </a:cubicBezTo>
                  <a:cubicBezTo>
                    <a:pt x="11" y="57"/>
                    <a:pt x="11" y="58"/>
                    <a:pt x="9" y="57"/>
                  </a:cubicBezTo>
                  <a:cubicBezTo>
                    <a:pt x="9" y="49"/>
                    <a:pt x="14" y="47"/>
                    <a:pt x="12" y="47"/>
                  </a:cubicBezTo>
                  <a:cubicBezTo>
                    <a:pt x="11" y="46"/>
                    <a:pt x="10" y="45"/>
                    <a:pt x="8" y="46"/>
                  </a:cubicBezTo>
                  <a:cubicBezTo>
                    <a:pt x="6" y="46"/>
                    <a:pt x="7" y="45"/>
                    <a:pt x="6" y="45"/>
                  </a:cubicBezTo>
                  <a:cubicBezTo>
                    <a:pt x="4" y="45"/>
                    <a:pt x="5" y="43"/>
                    <a:pt x="3" y="43"/>
                  </a:cubicBezTo>
                  <a:cubicBezTo>
                    <a:pt x="3" y="41"/>
                    <a:pt x="5" y="41"/>
                    <a:pt x="4" y="40"/>
                  </a:cubicBezTo>
                  <a:cubicBezTo>
                    <a:pt x="4" y="40"/>
                    <a:pt x="2" y="40"/>
                    <a:pt x="2" y="37"/>
                  </a:cubicBezTo>
                  <a:cubicBezTo>
                    <a:pt x="5" y="35"/>
                    <a:pt x="2" y="36"/>
                    <a:pt x="3" y="35"/>
                  </a:cubicBezTo>
                  <a:cubicBezTo>
                    <a:pt x="3" y="34"/>
                    <a:pt x="2" y="34"/>
                    <a:pt x="1" y="33"/>
                  </a:cubicBezTo>
                  <a:cubicBezTo>
                    <a:pt x="1" y="33"/>
                    <a:pt x="3" y="32"/>
                    <a:pt x="1" y="31"/>
                  </a:cubicBezTo>
                  <a:cubicBezTo>
                    <a:pt x="0" y="31"/>
                    <a:pt x="2" y="31"/>
                    <a:pt x="2" y="30"/>
                  </a:cubicBezTo>
                  <a:cubicBezTo>
                    <a:pt x="2" y="29"/>
                    <a:pt x="3" y="29"/>
                    <a:pt x="2" y="27"/>
                  </a:cubicBezTo>
                  <a:cubicBezTo>
                    <a:pt x="1" y="25"/>
                    <a:pt x="1" y="24"/>
                    <a:pt x="3" y="25"/>
                  </a:cubicBezTo>
                  <a:cubicBezTo>
                    <a:pt x="4" y="25"/>
                    <a:pt x="6" y="24"/>
                    <a:pt x="5" y="23"/>
                  </a:cubicBezTo>
                  <a:cubicBezTo>
                    <a:pt x="4" y="23"/>
                    <a:pt x="7" y="22"/>
                    <a:pt x="7" y="21"/>
                  </a:cubicBezTo>
                  <a:cubicBezTo>
                    <a:pt x="7" y="19"/>
                    <a:pt x="5" y="21"/>
                    <a:pt x="5" y="19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7" y="19"/>
                    <a:pt x="7" y="18"/>
                    <a:pt x="8" y="14"/>
                  </a:cubicBezTo>
                  <a:cubicBezTo>
                    <a:pt x="8" y="13"/>
                    <a:pt x="6" y="14"/>
                    <a:pt x="7" y="12"/>
                  </a:cubicBezTo>
                  <a:cubicBezTo>
                    <a:pt x="7" y="10"/>
                    <a:pt x="8" y="10"/>
                    <a:pt x="10" y="10"/>
                  </a:cubicBezTo>
                  <a:cubicBezTo>
                    <a:pt x="14" y="10"/>
                    <a:pt x="11" y="11"/>
                    <a:pt x="13" y="12"/>
                  </a:cubicBezTo>
                  <a:cubicBezTo>
                    <a:pt x="14" y="13"/>
                    <a:pt x="12" y="11"/>
                    <a:pt x="14" y="11"/>
                  </a:cubicBezTo>
                  <a:cubicBezTo>
                    <a:pt x="15" y="11"/>
                    <a:pt x="14" y="13"/>
                    <a:pt x="15" y="13"/>
                  </a:cubicBezTo>
                  <a:cubicBezTo>
                    <a:pt x="16" y="12"/>
                    <a:pt x="14" y="8"/>
                    <a:pt x="15" y="9"/>
                  </a:cubicBezTo>
                  <a:cubicBezTo>
                    <a:pt x="17" y="9"/>
                    <a:pt x="18" y="9"/>
                    <a:pt x="19" y="10"/>
                  </a:cubicBezTo>
                  <a:cubicBezTo>
                    <a:pt x="20" y="11"/>
                    <a:pt x="19" y="9"/>
                    <a:pt x="17" y="8"/>
                  </a:cubicBezTo>
                  <a:cubicBezTo>
                    <a:pt x="16" y="8"/>
                    <a:pt x="16" y="8"/>
                    <a:pt x="17" y="7"/>
                  </a:cubicBezTo>
                  <a:cubicBezTo>
                    <a:pt x="18" y="7"/>
                    <a:pt x="15" y="7"/>
                    <a:pt x="16" y="6"/>
                  </a:cubicBezTo>
                  <a:cubicBezTo>
                    <a:pt x="17" y="5"/>
                    <a:pt x="15" y="6"/>
                    <a:pt x="15" y="5"/>
                  </a:cubicBezTo>
                  <a:cubicBezTo>
                    <a:pt x="15" y="4"/>
                    <a:pt x="18" y="5"/>
                    <a:pt x="17" y="3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6" y="1"/>
                    <a:pt x="16" y="0"/>
                    <a:pt x="17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2"/>
                    <a:pt x="20" y="1"/>
                    <a:pt x="21" y="1"/>
                  </a:cubicBezTo>
                  <a:cubicBezTo>
                    <a:pt x="22" y="2"/>
                    <a:pt x="22" y="1"/>
                    <a:pt x="22" y="2"/>
                  </a:cubicBezTo>
                  <a:cubicBezTo>
                    <a:pt x="23" y="4"/>
                    <a:pt x="21" y="4"/>
                    <a:pt x="22" y="4"/>
                  </a:cubicBezTo>
                  <a:cubicBezTo>
                    <a:pt x="23" y="4"/>
                    <a:pt x="23" y="5"/>
                    <a:pt x="24" y="4"/>
                  </a:cubicBezTo>
                  <a:cubicBezTo>
                    <a:pt x="25" y="4"/>
                    <a:pt x="24" y="6"/>
                    <a:pt x="27" y="5"/>
                  </a:cubicBezTo>
                  <a:cubicBezTo>
                    <a:pt x="29" y="4"/>
                    <a:pt x="28" y="5"/>
                    <a:pt x="28" y="6"/>
                  </a:cubicBezTo>
                  <a:cubicBezTo>
                    <a:pt x="29" y="7"/>
                    <a:pt x="26" y="7"/>
                    <a:pt x="26" y="8"/>
                  </a:cubicBezTo>
                  <a:cubicBezTo>
                    <a:pt x="27" y="9"/>
                    <a:pt x="28" y="7"/>
                    <a:pt x="29" y="8"/>
                  </a:cubicBezTo>
                  <a:cubicBezTo>
                    <a:pt x="31" y="9"/>
                    <a:pt x="29" y="6"/>
                    <a:pt x="32" y="6"/>
                  </a:cubicBezTo>
                  <a:cubicBezTo>
                    <a:pt x="34" y="6"/>
                    <a:pt x="35" y="4"/>
                    <a:pt x="35" y="4"/>
                  </a:cubicBezTo>
                  <a:cubicBezTo>
                    <a:pt x="36" y="3"/>
                    <a:pt x="36" y="5"/>
                    <a:pt x="37" y="4"/>
                  </a:cubicBezTo>
                  <a:cubicBezTo>
                    <a:pt x="38" y="4"/>
                    <a:pt x="37" y="5"/>
                    <a:pt x="39" y="6"/>
                  </a:cubicBezTo>
                  <a:cubicBezTo>
                    <a:pt x="40" y="8"/>
                    <a:pt x="42" y="6"/>
                    <a:pt x="42" y="7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9"/>
                    <a:pt x="42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6" y="15"/>
                    <a:pt x="42" y="16"/>
                    <a:pt x="45" y="18"/>
                  </a:cubicBezTo>
                  <a:cubicBezTo>
                    <a:pt x="48" y="20"/>
                    <a:pt x="45" y="20"/>
                    <a:pt x="46" y="21"/>
                  </a:cubicBezTo>
                  <a:cubicBezTo>
                    <a:pt x="48" y="24"/>
                    <a:pt x="46" y="24"/>
                    <a:pt x="46" y="26"/>
                  </a:cubicBezTo>
                  <a:cubicBezTo>
                    <a:pt x="47" y="29"/>
                    <a:pt x="49" y="26"/>
                    <a:pt x="48" y="32"/>
                  </a:cubicBezTo>
                  <a:cubicBezTo>
                    <a:pt x="46" y="33"/>
                    <a:pt x="45" y="31"/>
                    <a:pt x="45" y="31"/>
                  </a:cubicBezTo>
                  <a:cubicBezTo>
                    <a:pt x="44" y="31"/>
                    <a:pt x="46" y="32"/>
                    <a:pt x="43" y="33"/>
                  </a:cubicBezTo>
                  <a:cubicBezTo>
                    <a:pt x="40" y="33"/>
                    <a:pt x="39" y="35"/>
                    <a:pt x="36" y="36"/>
                  </a:cubicBezTo>
                  <a:cubicBezTo>
                    <a:pt x="34" y="37"/>
                    <a:pt x="33" y="37"/>
                    <a:pt x="34" y="39"/>
                  </a:cubicBezTo>
                  <a:cubicBezTo>
                    <a:pt x="36" y="41"/>
                    <a:pt x="33" y="42"/>
                    <a:pt x="37" y="43"/>
                  </a:cubicBezTo>
                  <a:cubicBezTo>
                    <a:pt x="39" y="44"/>
                    <a:pt x="39" y="46"/>
                    <a:pt x="42" y="48"/>
                  </a:cubicBezTo>
                  <a:cubicBezTo>
                    <a:pt x="42" y="51"/>
                    <a:pt x="40" y="49"/>
                    <a:pt x="40" y="51"/>
                  </a:cubicBezTo>
                  <a:close/>
                  <a:moveTo>
                    <a:pt x="44" y="8"/>
                  </a:moveTo>
                  <a:cubicBezTo>
                    <a:pt x="43" y="8"/>
                    <a:pt x="43" y="7"/>
                    <a:pt x="42" y="7"/>
                  </a:cubicBezTo>
                  <a:cubicBezTo>
                    <a:pt x="42" y="6"/>
                    <a:pt x="42" y="8"/>
                    <a:pt x="43" y="8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3" y="9"/>
                    <a:pt x="44" y="9"/>
                    <a:pt x="44" y="9"/>
                  </a:cubicBezTo>
                  <a:lnTo>
                    <a:pt x="44" y="8"/>
                  </a:lnTo>
                  <a:close/>
                  <a:moveTo>
                    <a:pt x="29" y="4"/>
                  </a:moveTo>
                  <a:cubicBezTo>
                    <a:pt x="29" y="4"/>
                    <a:pt x="28" y="3"/>
                    <a:pt x="28" y="4"/>
                  </a:cubicBezTo>
                  <a:cubicBezTo>
                    <a:pt x="27" y="4"/>
                    <a:pt x="29" y="5"/>
                    <a:pt x="29" y="4"/>
                  </a:cubicBezTo>
                  <a:close/>
                  <a:moveTo>
                    <a:pt x="40" y="6"/>
                  </a:moveTo>
                  <a:cubicBezTo>
                    <a:pt x="40" y="5"/>
                    <a:pt x="40" y="4"/>
                    <a:pt x="41" y="5"/>
                  </a:cubicBezTo>
                  <a:cubicBezTo>
                    <a:pt x="42" y="6"/>
                    <a:pt x="42" y="5"/>
                    <a:pt x="41" y="5"/>
                  </a:cubicBezTo>
                  <a:cubicBezTo>
                    <a:pt x="40" y="4"/>
                    <a:pt x="42" y="3"/>
                    <a:pt x="41" y="3"/>
                  </a:cubicBezTo>
                  <a:cubicBezTo>
                    <a:pt x="40" y="3"/>
                    <a:pt x="40" y="2"/>
                    <a:pt x="39" y="2"/>
                  </a:cubicBezTo>
                  <a:cubicBezTo>
                    <a:pt x="38" y="3"/>
                    <a:pt x="40" y="3"/>
                    <a:pt x="40" y="4"/>
                  </a:cubicBezTo>
                  <a:cubicBezTo>
                    <a:pt x="40" y="4"/>
                    <a:pt x="39" y="3"/>
                    <a:pt x="39" y="3"/>
                  </a:cubicBezTo>
                  <a:cubicBezTo>
                    <a:pt x="38" y="3"/>
                    <a:pt x="39" y="4"/>
                    <a:pt x="39" y="5"/>
                  </a:cubicBezTo>
                  <a:cubicBezTo>
                    <a:pt x="38" y="5"/>
                    <a:pt x="39" y="5"/>
                    <a:pt x="39" y="6"/>
                  </a:cubicBezTo>
                  <a:cubicBezTo>
                    <a:pt x="40" y="6"/>
                    <a:pt x="40" y="6"/>
                    <a:pt x="40" y="6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A43DC8F2-F283-6A44-B10B-6FC4AE4FF85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95622" y="1769986"/>
            <a:ext cx="520352" cy="662242"/>
            <a:chOff x="4001055" y="2352157"/>
            <a:chExt cx="297682" cy="393094"/>
          </a:xfrm>
          <a:solidFill>
            <a:schemeClr val="tx2"/>
          </a:solidFill>
        </p:grpSpPr>
        <p:sp>
          <p:nvSpPr>
            <p:cNvPr id="261" name="Freeform 20113">
              <a:extLst>
                <a:ext uri="{FF2B5EF4-FFF2-40B4-BE49-F238E27FC236}">
                  <a16:creationId xmlns:a16="http://schemas.microsoft.com/office/drawing/2014/main" id="{559C2375-6A87-1B42-94D5-1D16D85FC4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01055" y="2550614"/>
              <a:ext cx="112586" cy="148842"/>
            </a:xfrm>
            <a:custGeom>
              <a:avLst/>
              <a:gdLst/>
              <a:ahLst/>
              <a:cxnLst>
                <a:cxn ang="0">
                  <a:pos x="19" y="3"/>
                </a:cxn>
                <a:cxn ang="0">
                  <a:pos x="19" y="1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0" y="7"/>
                </a:cxn>
                <a:cxn ang="0">
                  <a:pos x="13" y="8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3" y="10"/>
                </a:cxn>
                <a:cxn ang="0">
                  <a:pos x="4" y="11"/>
                </a:cxn>
                <a:cxn ang="0">
                  <a:pos x="6" y="13"/>
                </a:cxn>
                <a:cxn ang="0">
                  <a:pos x="4" y="15"/>
                </a:cxn>
                <a:cxn ang="0">
                  <a:pos x="7" y="18"/>
                </a:cxn>
                <a:cxn ang="0">
                  <a:pos x="8" y="19"/>
                </a:cxn>
                <a:cxn ang="0">
                  <a:pos x="5" y="22"/>
                </a:cxn>
                <a:cxn ang="0">
                  <a:pos x="9" y="22"/>
                </a:cxn>
                <a:cxn ang="0">
                  <a:pos x="8" y="23"/>
                </a:cxn>
                <a:cxn ang="0">
                  <a:pos x="5" y="25"/>
                </a:cxn>
                <a:cxn ang="0">
                  <a:pos x="2" y="26"/>
                </a:cxn>
                <a:cxn ang="0">
                  <a:pos x="3" y="28"/>
                </a:cxn>
                <a:cxn ang="0">
                  <a:pos x="4" y="30"/>
                </a:cxn>
                <a:cxn ang="0">
                  <a:pos x="5" y="31"/>
                </a:cxn>
                <a:cxn ang="0">
                  <a:pos x="12" y="30"/>
                </a:cxn>
                <a:cxn ang="0">
                  <a:pos x="13" y="29"/>
                </a:cxn>
                <a:cxn ang="0">
                  <a:pos x="19" y="26"/>
                </a:cxn>
                <a:cxn ang="0">
                  <a:pos x="22" y="26"/>
                </a:cxn>
                <a:cxn ang="0">
                  <a:pos x="24" y="23"/>
                </a:cxn>
                <a:cxn ang="0">
                  <a:pos x="24" y="15"/>
                </a:cxn>
                <a:cxn ang="0">
                  <a:pos x="23" y="12"/>
                </a:cxn>
                <a:cxn ang="0">
                  <a:pos x="23" y="11"/>
                </a:cxn>
                <a:cxn ang="0">
                  <a:pos x="21" y="11"/>
                </a:cxn>
                <a:cxn ang="0">
                  <a:pos x="20" y="9"/>
                </a:cxn>
                <a:cxn ang="0">
                  <a:pos x="19" y="10"/>
                </a:cxn>
                <a:cxn ang="0">
                  <a:pos x="15" y="8"/>
                </a:cxn>
                <a:cxn ang="0">
                  <a:pos x="16" y="6"/>
                </a:cxn>
                <a:cxn ang="0">
                  <a:pos x="19" y="3"/>
                </a:cxn>
              </a:cxnLst>
              <a:rect l="0" t="0" r="r" b="b"/>
              <a:pathLst>
                <a:path w="25" h="33">
                  <a:moveTo>
                    <a:pt x="19" y="3"/>
                  </a:moveTo>
                  <a:cubicBezTo>
                    <a:pt x="19" y="2"/>
                    <a:pt x="21" y="2"/>
                    <a:pt x="19" y="1"/>
                  </a:cubicBezTo>
                  <a:cubicBezTo>
                    <a:pt x="17" y="0"/>
                    <a:pt x="18" y="2"/>
                    <a:pt x="16" y="2"/>
                  </a:cubicBezTo>
                  <a:cubicBezTo>
                    <a:pt x="15" y="2"/>
                    <a:pt x="12" y="3"/>
                    <a:pt x="12" y="4"/>
                  </a:cubicBezTo>
                  <a:cubicBezTo>
                    <a:pt x="13" y="6"/>
                    <a:pt x="10" y="6"/>
                    <a:pt x="10" y="7"/>
                  </a:cubicBezTo>
                  <a:cubicBezTo>
                    <a:pt x="11" y="7"/>
                    <a:pt x="15" y="6"/>
                    <a:pt x="13" y="8"/>
                  </a:cubicBezTo>
                  <a:cubicBezTo>
                    <a:pt x="11" y="9"/>
                    <a:pt x="12" y="10"/>
                    <a:pt x="10" y="10"/>
                  </a:cubicBezTo>
                  <a:cubicBezTo>
                    <a:pt x="9" y="9"/>
                    <a:pt x="9" y="10"/>
                    <a:pt x="8" y="10"/>
                  </a:cubicBezTo>
                  <a:cubicBezTo>
                    <a:pt x="6" y="9"/>
                    <a:pt x="4" y="9"/>
                    <a:pt x="3" y="10"/>
                  </a:cubicBezTo>
                  <a:cubicBezTo>
                    <a:pt x="3" y="11"/>
                    <a:pt x="5" y="10"/>
                    <a:pt x="4" y="11"/>
                  </a:cubicBezTo>
                  <a:cubicBezTo>
                    <a:pt x="2" y="13"/>
                    <a:pt x="8" y="12"/>
                    <a:pt x="6" y="13"/>
                  </a:cubicBezTo>
                  <a:cubicBezTo>
                    <a:pt x="4" y="14"/>
                    <a:pt x="5" y="14"/>
                    <a:pt x="4" y="15"/>
                  </a:cubicBezTo>
                  <a:cubicBezTo>
                    <a:pt x="2" y="16"/>
                    <a:pt x="6" y="18"/>
                    <a:pt x="7" y="18"/>
                  </a:cubicBezTo>
                  <a:cubicBezTo>
                    <a:pt x="8" y="17"/>
                    <a:pt x="11" y="18"/>
                    <a:pt x="8" y="19"/>
                  </a:cubicBezTo>
                  <a:cubicBezTo>
                    <a:pt x="5" y="19"/>
                    <a:pt x="8" y="20"/>
                    <a:pt x="5" y="22"/>
                  </a:cubicBezTo>
                  <a:cubicBezTo>
                    <a:pt x="2" y="24"/>
                    <a:pt x="8" y="22"/>
                    <a:pt x="9" y="22"/>
                  </a:cubicBezTo>
                  <a:cubicBezTo>
                    <a:pt x="10" y="22"/>
                    <a:pt x="11" y="23"/>
                    <a:pt x="8" y="23"/>
                  </a:cubicBezTo>
                  <a:cubicBezTo>
                    <a:pt x="5" y="23"/>
                    <a:pt x="4" y="24"/>
                    <a:pt x="5" y="25"/>
                  </a:cubicBezTo>
                  <a:cubicBezTo>
                    <a:pt x="6" y="26"/>
                    <a:pt x="4" y="24"/>
                    <a:pt x="2" y="26"/>
                  </a:cubicBezTo>
                  <a:cubicBezTo>
                    <a:pt x="0" y="28"/>
                    <a:pt x="5" y="25"/>
                    <a:pt x="3" y="28"/>
                  </a:cubicBezTo>
                  <a:cubicBezTo>
                    <a:pt x="0" y="30"/>
                    <a:pt x="5" y="28"/>
                    <a:pt x="4" y="30"/>
                  </a:cubicBezTo>
                  <a:cubicBezTo>
                    <a:pt x="2" y="32"/>
                    <a:pt x="8" y="28"/>
                    <a:pt x="5" y="31"/>
                  </a:cubicBezTo>
                  <a:cubicBezTo>
                    <a:pt x="3" y="33"/>
                    <a:pt x="12" y="31"/>
                    <a:pt x="12" y="30"/>
                  </a:cubicBezTo>
                  <a:cubicBezTo>
                    <a:pt x="13" y="29"/>
                    <a:pt x="13" y="27"/>
                    <a:pt x="13" y="29"/>
                  </a:cubicBezTo>
                  <a:cubicBezTo>
                    <a:pt x="14" y="30"/>
                    <a:pt x="16" y="27"/>
                    <a:pt x="19" y="26"/>
                  </a:cubicBezTo>
                  <a:cubicBezTo>
                    <a:pt x="21" y="26"/>
                    <a:pt x="20" y="26"/>
                    <a:pt x="22" y="26"/>
                  </a:cubicBezTo>
                  <a:cubicBezTo>
                    <a:pt x="24" y="26"/>
                    <a:pt x="22" y="26"/>
                    <a:pt x="24" y="23"/>
                  </a:cubicBezTo>
                  <a:cubicBezTo>
                    <a:pt x="25" y="20"/>
                    <a:pt x="25" y="17"/>
                    <a:pt x="24" y="15"/>
                  </a:cubicBezTo>
                  <a:cubicBezTo>
                    <a:pt x="23" y="13"/>
                    <a:pt x="23" y="12"/>
                    <a:pt x="23" y="12"/>
                  </a:cubicBezTo>
                  <a:cubicBezTo>
                    <a:pt x="24" y="12"/>
                    <a:pt x="24" y="11"/>
                    <a:pt x="23" y="11"/>
                  </a:cubicBezTo>
                  <a:cubicBezTo>
                    <a:pt x="22" y="11"/>
                    <a:pt x="22" y="12"/>
                    <a:pt x="21" y="11"/>
                  </a:cubicBezTo>
                  <a:cubicBezTo>
                    <a:pt x="21" y="10"/>
                    <a:pt x="21" y="11"/>
                    <a:pt x="20" y="9"/>
                  </a:cubicBezTo>
                  <a:cubicBezTo>
                    <a:pt x="20" y="8"/>
                    <a:pt x="19" y="9"/>
                    <a:pt x="19" y="10"/>
                  </a:cubicBezTo>
                  <a:cubicBezTo>
                    <a:pt x="19" y="12"/>
                    <a:pt x="12" y="9"/>
                    <a:pt x="15" y="8"/>
                  </a:cubicBezTo>
                  <a:cubicBezTo>
                    <a:pt x="17" y="7"/>
                    <a:pt x="14" y="6"/>
                    <a:pt x="16" y="6"/>
                  </a:cubicBezTo>
                  <a:cubicBezTo>
                    <a:pt x="18" y="6"/>
                    <a:pt x="17" y="4"/>
                    <a:pt x="19" y="3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62" name="Freeform 20247">
              <a:extLst>
                <a:ext uri="{FF2B5EF4-FFF2-40B4-BE49-F238E27FC236}">
                  <a16:creationId xmlns:a16="http://schemas.microsoft.com/office/drawing/2014/main" id="{CBF7C1B5-6860-664C-B4F6-45062D0508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54485" y="2352157"/>
              <a:ext cx="244252" cy="393094"/>
            </a:xfrm>
            <a:custGeom>
              <a:avLst/>
              <a:gdLst/>
              <a:ahLst/>
              <a:cxnLst>
                <a:cxn ang="0">
                  <a:pos x="21" y="50"/>
                </a:cxn>
                <a:cxn ang="0">
                  <a:pos x="19" y="43"/>
                </a:cxn>
                <a:cxn ang="0">
                  <a:pos x="16" y="40"/>
                </a:cxn>
                <a:cxn ang="0">
                  <a:pos x="15" y="41"/>
                </a:cxn>
                <a:cxn ang="0">
                  <a:pos x="15" y="35"/>
                </a:cxn>
                <a:cxn ang="0">
                  <a:pos x="13" y="33"/>
                </a:cxn>
                <a:cxn ang="0">
                  <a:pos x="14" y="28"/>
                </a:cxn>
                <a:cxn ang="0">
                  <a:pos x="16" y="22"/>
                </a:cxn>
                <a:cxn ang="0">
                  <a:pos x="21" y="19"/>
                </a:cxn>
                <a:cxn ang="0">
                  <a:pos x="23" y="25"/>
                </a:cxn>
                <a:cxn ang="0">
                  <a:pos x="34" y="27"/>
                </a:cxn>
                <a:cxn ang="0">
                  <a:pos x="30" y="38"/>
                </a:cxn>
                <a:cxn ang="0">
                  <a:pos x="35" y="43"/>
                </a:cxn>
                <a:cxn ang="0">
                  <a:pos x="44" y="57"/>
                </a:cxn>
                <a:cxn ang="0">
                  <a:pos x="45" y="65"/>
                </a:cxn>
                <a:cxn ang="0">
                  <a:pos x="49" y="73"/>
                </a:cxn>
                <a:cxn ang="0">
                  <a:pos x="52" y="76"/>
                </a:cxn>
                <a:cxn ang="0">
                  <a:pos x="39" y="81"/>
                </a:cxn>
                <a:cxn ang="0">
                  <a:pos x="30" y="82"/>
                </a:cxn>
                <a:cxn ang="0">
                  <a:pos x="18" y="86"/>
                </a:cxn>
                <a:cxn ang="0">
                  <a:pos x="19" y="82"/>
                </a:cxn>
                <a:cxn ang="0">
                  <a:pos x="28" y="78"/>
                </a:cxn>
                <a:cxn ang="0">
                  <a:pos x="25" y="76"/>
                </a:cxn>
                <a:cxn ang="0">
                  <a:pos x="17" y="72"/>
                </a:cxn>
                <a:cxn ang="0">
                  <a:pos x="20" y="65"/>
                </a:cxn>
                <a:cxn ang="0">
                  <a:pos x="26" y="61"/>
                </a:cxn>
                <a:cxn ang="0">
                  <a:pos x="29" y="58"/>
                </a:cxn>
                <a:cxn ang="0">
                  <a:pos x="26" y="50"/>
                </a:cxn>
                <a:cxn ang="0">
                  <a:pos x="15" y="53"/>
                </a:cxn>
                <a:cxn ang="0">
                  <a:pos x="15" y="50"/>
                </a:cxn>
                <a:cxn ang="0">
                  <a:pos x="9" y="46"/>
                </a:cxn>
                <a:cxn ang="0">
                  <a:pos x="7" y="54"/>
                </a:cxn>
                <a:cxn ang="0">
                  <a:pos x="14" y="54"/>
                </a:cxn>
                <a:cxn ang="0">
                  <a:pos x="22" y="62"/>
                </a:cxn>
                <a:cxn ang="0">
                  <a:pos x="17" y="44"/>
                </a:cxn>
                <a:cxn ang="0">
                  <a:pos x="38" y="82"/>
                </a:cxn>
                <a:cxn ang="0">
                  <a:pos x="8" y="24"/>
                </a:cxn>
                <a:cxn ang="0">
                  <a:pos x="10" y="24"/>
                </a:cxn>
                <a:cxn ang="0">
                  <a:pos x="11" y="21"/>
                </a:cxn>
                <a:cxn ang="0">
                  <a:pos x="7" y="27"/>
                </a:cxn>
                <a:cxn ang="0">
                  <a:pos x="6" y="31"/>
                </a:cxn>
                <a:cxn ang="0">
                  <a:pos x="10" y="29"/>
                </a:cxn>
                <a:cxn ang="0">
                  <a:pos x="14" y="30"/>
                </a:cxn>
                <a:cxn ang="0">
                  <a:pos x="10" y="27"/>
                </a:cxn>
                <a:cxn ang="0">
                  <a:pos x="12" y="37"/>
                </a:cxn>
                <a:cxn ang="0">
                  <a:pos x="11" y="35"/>
                </a:cxn>
                <a:cxn ang="0">
                  <a:pos x="11" y="43"/>
                </a:cxn>
                <a:cxn ang="0">
                  <a:pos x="10" y="42"/>
                </a:cxn>
                <a:cxn ang="0">
                  <a:pos x="14" y="39"/>
                </a:cxn>
                <a:cxn ang="0">
                  <a:pos x="29" y="16"/>
                </a:cxn>
                <a:cxn ang="0">
                  <a:pos x="28" y="14"/>
                </a:cxn>
                <a:cxn ang="0">
                  <a:pos x="29" y="17"/>
                </a:cxn>
                <a:cxn ang="0">
                  <a:pos x="30" y="13"/>
                </a:cxn>
                <a:cxn ang="0">
                  <a:pos x="31" y="14"/>
                </a:cxn>
                <a:cxn ang="0">
                  <a:pos x="38" y="7"/>
                </a:cxn>
                <a:cxn ang="0">
                  <a:pos x="38" y="3"/>
                </a:cxn>
                <a:cxn ang="0">
                  <a:pos x="35" y="5"/>
                </a:cxn>
                <a:cxn ang="0">
                  <a:pos x="38" y="7"/>
                </a:cxn>
                <a:cxn ang="0">
                  <a:pos x="38" y="2"/>
                </a:cxn>
                <a:cxn ang="0">
                  <a:pos x="40" y="0"/>
                </a:cxn>
              </a:cxnLst>
              <a:rect l="0" t="0" r="r" b="b"/>
              <a:pathLst>
                <a:path w="54" h="87">
                  <a:moveTo>
                    <a:pt x="26" y="48"/>
                  </a:moveTo>
                  <a:cubicBezTo>
                    <a:pt x="25" y="50"/>
                    <a:pt x="25" y="48"/>
                    <a:pt x="24" y="49"/>
                  </a:cubicBezTo>
                  <a:cubicBezTo>
                    <a:pt x="23" y="51"/>
                    <a:pt x="21" y="48"/>
                    <a:pt x="21" y="49"/>
                  </a:cubicBezTo>
                  <a:cubicBezTo>
                    <a:pt x="22" y="50"/>
                    <a:pt x="21" y="51"/>
                    <a:pt x="21" y="50"/>
                  </a:cubicBezTo>
                  <a:cubicBezTo>
                    <a:pt x="20" y="49"/>
                    <a:pt x="18" y="48"/>
                    <a:pt x="18" y="50"/>
                  </a:cubicBezTo>
                  <a:cubicBezTo>
                    <a:pt x="19" y="52"/>
                    <a:pt x="17" y="49"/>
                    <a:pt x="17" y="48"/>
                  </a:cubicBezTo>
                  <a:cubicBezTo>
                    <a:pt x="18" y="47"/>
                    <a:pt x="18" y="49"/>
                    <a:pt x="18" y="47"/>
                  </a:cubicBezTo>
                  <a:cubicBezTo>
                    <a:pt x="18" y="45"/>
                    <a:pt x="21" y="45"/>
                    <a:pt x="19" y="43"/>
                  </a:cubicBezTo>
                  <a:cubicBezTo>
                    <a:pt x="18" y="41"/>
                    <a:pt x="19" y="41"/>
                    <a:pt x="20" y="40"/>
                  </a:cubicBezTo>
                  <a:cubicBezTo>
                    <a:pt x="18" y="38"/>
                    <a:pt x="19" y="41"/>
                    <a:pt x="18" y="41"/>
                  </a:cubicBezTo>
                  <a:cubicBezTo>
                    <a:pt x="17" y="40"/>
                    <a:pt x="18" y="41"/>
                    <a:pt x="17" y="41"/>
                  </a:cubicBezTo>
                  <a:cubicBezTo>
                    <a:pt x="16" y="40"/>
                    <a:pt x="17" y="39"/>
                    <a:pt x="16" y="40"/>
                  </a:cubicBezTo>
                  <a:cubicBezTo>
                    <a:pt x="15" y="40"/>
                    <a:pt x="17" y="41"/>
                    <a:pt x="16" y="42"/>
                  </a:cubicBezTo>
                  <a:cubicBezTo>
                    <a:pt x="15" y="43"/>
                    <a:pt x="15" y="46"/>
                    <a:pt x="14" y="46"/>
                  </a:cubicBezTo>
                  <a:cubicBezTo>
                    <a:pt x="13" y="45"/>
                    <a:pt x="16" y="41"/>
                    <a:pt x="15" y="42"/>
                  </a:cubicBezTo>
                  <a:cubicBezTo>
                    <a:pt x="15" y="42"/>
                    <a:pt x="15" y="42"/>
                    <a:pt x="15" y="41"/>
                  </a:cubicBezTo>
                  <a:cubicBezTo>
                    <a:pt x="15" y="40"/>
                    <a:pt x="14" y="40"/>
                    <a:pt x="15" y="39"/>
                  </a:cubicBezTo>
                  <a:cubicBezTo>
                    <a:pt x="15" y="38"/>
                    <a:pt x="14" y="38"/>
                    <a:pt x="15" y="37"/>
                  </a:cubicBezTo>
                  <a:cubicBezTo>
                    <a:pt x="16" y="37"/>
                    <a:pt x="15" y="36"/>
                    <a:pt x="16" y="35"/>
                  </a:cubicBezTo>
                  <a:cubicBezTo>
                    <a:pt x="17" y="34"/>
                    <a:pt x="17" y="34"/>
                    <a:pt x="15" y="35"/>
                  </a:cubicBezTo>
                  <a:cubicBezTo>
                    <a:pt x="14" y="36"/>
                    <a:pt x="15" y="35"/>
                    <a:pt x="14" y="35"/>
                  </a:cubicBezTo>
                  <a:cubicBezTo>
                    <a:pt x="13" y="35"/>
                    <a:pt x="12" y="35"/>
                    <a:pt x="13" y="35"/>
                  </a:cubicBezTo>
                  <a:cubicBezTo>
                    <a:pt x="14" y="34"/>
                    <a:pt x="15" y="34"/>
                    <a:pt x="13" y="34"/>
                  </a:cubicBezTo>
                  <a:cubicBezTo>
                    <a:pt x="11" y="34"/>
                    <a:pt x="12" y="33"/>
                    <a:pt x="13" y="33"/>
                  </a:cubicBezTo>
                  <a:cubicBezTo>
                    <a:pt x="13" y="34"/>
                    <a:pt x="14" y="33"/>
                    <a:pt x="14" y="33"/>
                  </a:cubicBezTo>
                  <a:cubicBezTo>
                    <a:pt x="12" y="32"/>
                    <a:pt x="15" y="32"/>
                    <a:pt x="14" y="31"/>
                  </a:cubicBezTo>
                  <a:cubicBezTo>
                    <a:pt x="14" y="31"/>
                    <a:pt x="14" y="31"/>
                    <a:pt x="15" y="30"/>
                  </a:cubicBezTo>
                  <a:cubicBezTo>
                    <a:pt x="15" y="29"/>
                    <a:pt x="14" y="30"/>
                    <a:pt x="14" y="28"/>
                  </a:cubicBezTo>
                  <a:cubicBezTo>
                    <a:pt x="13" y="26"/>
                    <a:pt x="15" y="27"/>
                    <a:pt x="14" y="25"/>
                  </a:cubicBezTo>
                  <a:cubicBezTo>
                    <a:pt x="13" y="24"/>
                    <a:pt x="15" y="24"/>
                    <a:pt x="16" y="25"/>
                  </a:cubicBezTo>
                  <a:cubicBezTo>
                    <a:pt x="16" y="25"/>
                    <a:pt x="16" y="24"/>
                    <a:pt x="16" y="23"/>
                  </a:cubicBezTo>
                  <a:cubicBezTo>
                    <a:pt x="15" y="22"/>
                    <a:pt x="18" y="23"/>
                    <a:pt x="16" y="22"/>
                  </a:cubicBezTo>
                  <a:cubicBezTo>
                    <a:pt x="15" y="20"/>
                    <a:pt x="19" y="23"/>
                    <a:pt x="17" y="21"/>
                  </a:cubicBezTo>
                  <a:cubicBezTo>
                    <a:pt x="16" y="20"/>
                    <a:pt x="18" y="21"/>
                    <a:pt x="18" y="19"/>
                  </a:cubicBezTo>
                  <a:cubicBezTo>
                    <a:pt x="17" y="18"/>
                    <a:pt x="18" y="18"/>
                    <a:pt x="19" y="19"/>
                  </a:cubicBezTo>
                  <a:cubicBezTo>
                    <a:pt x="20" y="19"/>
                    <a:pt x="20" y="18"/>
                    <a:pt x="21" y="19"/>
                  </a:cubicBezTo>
                  <a:cubicBezTo>
                    <a:pt x="22" y="19"/>
                    <a:pt x="24" y="18"/>
                    <a:pt x="26" y="18"/>
                  </a:cubicBezTo>
                  <a:cubicBezTo>
                    <a:pt x="27" y="19"/>
                    <a:pt x="25" y="18"/>
                    <a:pt x="27" y="18"/>
                  </a:cubicBezTo>
                  <a:cubicBezTo>
                    <a:pt x="29" y="18"/>
                    <a:pt x="28" y="19"/>
                    <a:pt x="28" y="19"/>
                  </a:cubicBezTo>
                  <a:cubicBezTo>
                    <a:pt x="29" y="20"/>
                    <a:pt x="24" y="24"/>
                    <a:pt x="23" y="25"/>
                  </a:cubicBezTo>
                  <a:cubicBezTo>
                    <a:pt x="22" y="25"/>
                    <a:pt x="25" y="24"/>
                    <a:pt x="24" y="25"/>
                  </a:cubicBezTo>
                  <a:cubicBezTo>
                    <a:pt x="23" y="26"/>
                    <a:pt x="22" y="27"/>
                    <a:pt x="23" y="27"/>
                  </a:cubicBezTo>
                  <a:cubicBezTo>
                    <a:pt x="25" y="27"/>
                    <a:pt x="25" y="25"/>
                    <a:pt x="28" y="26"/>
                  </a:cubicBezTo>
                  <a:cubicBezTo>
                    <a:pt x="32" y="26"/>
                    <a:pt x="34" y="25"/>
                    <a:pt x="34" y="27"/>
                  </a:cubicBezTo>
                  <a:cubicBezTo>
                    <a:pt x="35" y="28"/>
                    <a:pt x="34" y="28"/>
                    <a:pt x="33" y="32"/>
                  </a:cubicBezTo>
                  <a:cubicBezTo>
                    <a:pt x="31" y="36"/>
                    <a:pt x="30" y="36"/>
                    <a:pt x="29" y="36"/>
                  </a:cubicBezTo>
                  <a:cubicBezTo>
                    <a:pt x="28" y="36"/>
                    <a:pt x="30" y="36"/>
                    <a:pt x="29" y="37"/>
                  </a:cubicBezTo>
                  <a:cubicBezTo>
                    <a:pt x="29" y="37"/>
                    <a:pt x="32" y="37"/>
                    <a:pt x="30" y="38"/>
                  </a:cubicBezTo>
                  <a:cubicBezTo>
                    <a:pt x="29" y="39"/>
                    <a:pt x="29" y="38"/>
                    <a:pt x="28" y="39"/>
                  </a:cubicBezTo>
                  <a:cubicBezTo>
                    <a:pt x="28" y="40"/>
                    <a:pt x="25" y="40"/>
                    <a:pt x="27" y="40"/>
                  </a:cubicBezTo>
                  <a:cubicBezTo>
                    <a:pt x="30" y="41"/>
                    <a:pt x="28" y="38"/>
                    <a:pt x="31" y="40"/>
                  </a:cubicBezTo>
                  <a:cubicBezTo>
                    <a:pt x="34" y="41"/>
                    <a:pt x="33" y="42"/>
                    <a:pt x="35" y="43"/>
                  </a:cubicBezTo>
                  <a:cubicBezTo>
                    <a:pt x="36" y="44"/>
                    <a:pt x="35" y="45"/>
                    <a:pt x="37" y="48"/>
                  </a:cubicBezTo>
                  <a:cubicBezTo>
                    <a:pt x="38" y="52"/>
                    <a:pt x="38" y="51"/>
                    <a:pt x="40" y="51"/>
                  </a:cubicBezTo>
                  <a:cubicBezTo>
                    <a:pt x="42" y="52"/>
                    <a:pt x="41" y="54"/>
                    <a:pt x="43" y="54"/>
                  </a:cubicBezTo>
                  <a:cubicBezTo>
                    <a:pt x="44" y="55"/>
                    <a:pt x="42" y="55"/>
                    <a:pt x="44" y="57"/>
                  </a:cubicBezTo>
                  <a:cubicBezTo>
                    <a:pt x="46" y="59"/>
                    <a:pt x="45" y="59"/>
                    <a:pt x="43" y="58"/>
                  </a:cubicBezTo>
                  <a:cubicBezTo>
                    <a:pt x="42" y="57"/>
                    <a:pt x="42" y="58"/>
                    <a:pt x="44" y="59"/>
                  </a:cubicBezTo>
                  <a:cubicBezTo>
                    <a:pt x="45" y="60"/>
                    <a:pt x="47" y="63"/>
                    <a:pt x="46" y="63"/>
                  </a:cubicBezTo>
                  <a:cubicBezTo>
                    <a:pt x="45" y="64"/>
                    <a:pt x="44" y="65"/>
                    <a:pt x="45" y="65"/>
                  </a:cubicBezTo>
                  <a:cubicBezTo>
                    <a:pt x="46" y="65"/>
                    <a:pt x="46" y="66"/>
                    <a:pt x="47" y="64"/>
                  </a:cubicBezTo>
                  <a:cubicBezTo>
                    <a:pt x="47" y="63"/>
                    <a:pt x="53" y="64"/>
                    <a:pt x="53" y="67"/>
                  </a:cubicBezTo>
                  <a:cubicBezTo>
                    <a:pt x="54" y="72"/>
                    <a:pt x="50" y="72"/>
                    <a:pt x="51" y="73"/>
                  </a:cubicBezTo>
                  <a:cubicBezTo>
                    <a:pt x="52" y="73"/>
                    <a:pt x="50" y="72"/>
                    <a:pt x="49" y="73"/>
                  </a:cubicBezTo>
                  <a:cubicBezTo>
                    <a:pt x="48" y="74"/>
                    <a:pt x="50" y="73"/>
                    <a:pt x="49" y="75"/>
                  </a:cubicBezTo>
                  <a:cubicBezTo>
                    <a:pt x="49" y="75"/>
                    <a:pt x="46" y="75"/>
                    <a:pt x="47" y="75"/>
                  </a:cubicBezTo>
                  <a:cubicBezTo>
                    <a:pt x="48" y="76"/>
                    <a:pt x="47" y="76"/>
                    <a:pt x="48" y="76"/>
                  </a:cubicBezTo>
                  <a:cubicBezTo>
                    <a:pt x="49" y="77"/>
                    <a:pt x="52" y="75"/>
                    <a:pt x="52" y="76"/>
                  </a:cubicBezTo>
                  <a:cubicBezTo>
                    <a:pt x="51" y="77"/>
                    <a:pt x="52" y="78"/>
                    <a:pt x="50" y="79"/>
                  </a:cubicBezTo>
                  <a:cubicBezTo>
                    <a:pt x="48" y="79"/>
                    <a:pt x="50" y="80"/>
                    <a:pt x="48" y="80"/>
                  </a:cubicBezTo>
                  <a:cubicBezTo>
                    <a:pt x="47" y="80"/>
                    <a:pt x="46" y="82"/>
                    <a:pt x="44" y="81"/>
                  </a:cubicBezTo>
                  <a:cubicBezTo>
                    <a:pt x="42" y="80"/>
                    <a:pt x="40" y="82"/>
                    <a:pt x="39" y="81"/>
                  </a:cubicBezTo>
                  <a:cubicBezTo>
                    <a:pt x="39" y="80"/>
                    <a:pt x="39" y="81"/>
                    <a:pt x="38" y="81"/>
                  </a:cubicBezTo>
                  <a:cubicBezTo>
                    <a:pt x="36" y="80"/>
                    <a:pt x="38" y="81"/>
                    <a:pt x="35" y="81"/>
                  </a:cubicBezTo>
                  <a:cubicBezTo>
                    <a:pt x="33" y="82"/>
                    <a:pt x="35" y="83"/>
                    <a:pt x="33" y="82"/>
                  </a:cubicBezTo>
                  <a:cubicBezTo>
                    <a:pt x="31" y="82"/>
                    <a:pt x="32" y="84"/>
                    <a:pt x="30" y="82"/>
                  </a:cubicBezTo>
                  <a:cubicBezTo>
                    <a:pt x="29" y="80"/>
                    <a:pt x="27" y="83"/>
                    <a:pt x="26" y="82"/>
                  </a:cubicBezTo>
                  <a:cubicBezTo>
                    <a:pt x="26" y="82"/>
                    <a:pt x="26" y="86"/>
                    <a:pt x="24" y="85"/>
                  </a:cubicBezTo>
                  <a:cubicBezTo>
                    <a:pt x="23" y="84"/>
                    <a:pt x="23" y="84"/>
                    <a:pt x="21" y="84"/>
                  </a:cubicBezTo>
                  <a:cubicBezTo>
                    <a:pt x="19" y="84"/>
                    <a:pt x="19" y="85"/>
                    <a:pt x="18" y="86"/>
                  </a:cubicBezTo>
                  <a:cubicBezTo>
                    <a:pt x="17" y="86"/>
                    <a:pt x="18" y="87"/>
                    <a:pt x="17" y="87"/>
                  </a:cubicBezTo>
                  <a:cubicBezTo>
                    <a:pt x="16" y="87"/>
                    <a:pt x="16" y="86"/>
                    <a:pt x="15" y="86"/>
                  </a:cubicBezTo>
                  <a:cubicBezTo>
                    <a:pt x="14" y="87"/>
                    <a:pt x="14" y="85"/>
                    <a:pt x="16" y="85"/>
                  </a:cubicBezTo>
                  <a:cubicBezTo>
                    <a:pt x="17" y="85"/>
                    <a:pt x="17" y="83"/>
                    <a:pt x="19" y="82"/>
                  </a:cubicBezTo>
                  <a:cubicBezTo>
                    <a:pt x="20" y="82"/>
                    <a:pt x="19" y="82"/>
                    <a:pt x="20" y="81"/>
                  </a:cubicBezTo>
                  <a:cubicBezTo>
                    <a:pt x="21" y="80"/>
                    <a:pt x="19" y="79"/>
                    <a:pt x="21" y="79"/>
                  </a:cubicBezTo>
                  <a:cubicBezTo>
                    <a:pt x="23" y="79"/>
                    <a:pt x="21" y="77"/>
                    <a:pt x="23" y="77"/>
                  </a:cubicBezTo>
                  <a:cubicBezTo>
                    <a:pt x="26" y="77"/>
                    <a:pt x="25" y="78"/>
                    <a:pt x="28" y="78"/>
                  </a:cubicBezTo>
                  <a:cubicBezTo>
                    <a:pt x="30" y="77"/>
                    <a:pt x="27" y="77"/>
                    <a:pt x="31" y="75"/>
                  </a:cubicBezTo>
                  <a:cubicBezTo>
                    <a:pt x="31" y="74"/>
                    <a:pt x="31" y="74"/>
                    <a:pt x="32" y="73"/>
                  </a:cubicBezTo>
                  <a:cubicBezTo>
                    <a:pt x="30" y="74"/>
                    <a:pt x="30" y="75"/>
                    <a:pt x="29" y="75"/>
                  </a:cubicBezTo>
                  <a:cubicBezTo>
                    <a:pt x="28" y="75"/>
                    <a:pt x="27" y="78"/>
                    <a:pt x="25" y="76"/>
                  </a:cubicBezTo>
                  <a:cubicBezTo>
                    <a:pt x="23" y="74"/>
                    <a:pt x="21" y="76"/>
                    <a:pt x="22" y="75"/>
                  </a:cubicBezTo>
                  <a:cubicBezTo>
                    <a:pt x="22" y="74"/>
                    <a:pt x="21" y="73"/>
                    <a:pt x="19" y="74"/>
                  </a:cubicBezTo>
                  <a:cubicBezTo>
                    <a:pt x="18" y="75"/>
                    <a:pt x="17" y="74"/>
                    <a:pt x="17" y="73"/>
                  </a:cubicBezTo>
                  <a:cubicBezTo>
                    <a:pt x="18" y="72"/>
                    <a:pt x="16" y="73"/>
                    <a:pt x="17" y="72"/>
                  </a:cubicBezTo>
                  <a:cubicBezTo>
                    <a:pt x="18" y="70"/>
                    <a:pt x="18" y="72"/>
                    <a:pt x="21" y="70"/>
                  </a:cubicBezTo>
                  <a:cubicBezTo>
                    <a:pt x="24" y="68"/>
                    <a:pt x="22" y="67"/>
                    <a:pt x="23" y="66"/>
                  </a:cubicBezTo>
                  <a:cubicBezTo>
                    <a:pt x="24" y="65"/>
                    <a:pt x="22" y="66"/>
                    <a:pt x="23" y="65"/>
                  </a:cubicBezTo>
                  <a:cubicBezTo>
                    <a:pt x="23" y="63"/>
                    <a:pt x="21" y="66"/>
                    <a:pt x="20" y="65"/>
                  </a:cubicBezTo>
                  <a:cubicBezTo>
                    <a:pt x="20" y="65"/>
                    <a:pt x="19" y="66"/>
                    <a:pt x="20" y="65"/>
                  </a:cubicBezTo>
                  <a:cubicBezTo>
                    <a:pt x="20" y="64"/>
                    <a:pt x="21" y="64"/>
                    <a:pt x="22" y="62"/>
                  </a:cubicBezTo>
                  <a:cubicBezTo>
                    <a:pt x="23" y="61"/>
                    <a:pt x="23" y="62"/>
                    <a:pt x="24" y="61"/>
                  </a:cubicBezTo>
                  <a:cubicBezTo>
                    <a:pt x="24" y="61"/>
                    <a:pt x="24" y="62"/>
                    <a:pt x="26" y="61"/>
                  </a:cubicBezTo>
                  <a:cubicBezTo>
                    <a:pt x="27" y="60"/>
                    <a:pt x="28" y="62"/>
                    <a:pt x="28" y="61"/>
                  </a:cubicBezTo>
                  <a:cubicBezTo>
                    <a:pt x="27" y="60"/>
                    <a:pt x="28" y="60"/>
                    <a:pt x="29" y="61"/>
                  </a:cubicBezTo>
                  <a:cubicBezTo>
                    <a:pt x="29" y="62"/>
                    <a:pt x="29" y="61"/>
                    <a:pt x="29" y="60"/>
                  </a:cubicBezTo>
                  <a:cubicBezTo>
                    <a:pt x="27" y="58"/>
                    <a:pt x="29" y="58"/>
                    <a:pt x="29" y="58"/>
                  </a:cubicBezTo>
                  <a:cubicBezTo>
                    <a:pt x="27" y="57"/>
                    <a:pt x="30" y="56"/>
                    <a:pt x="29" y="56"/>
                  </a:cubicBezTo>
                  <a:cubicBezTo>
                    <a:pt x="29" y="55"/>
                    <a:pt x="30" y="54"/>
                    <a:pt x="29" y="54"/>
                  </a:cubicBezTo>
                  <a:cubicBezTo>
                    <a:pt x="28" y="54"/>
                    <a:pt x="28" y="56"/>
                    <a:pt x="27" y="55"/>
                  </a:cubicBezTo>
                  <a:cubicBezTo>
                    <a:pt x="26" y="53"/>
                    <a:pt x="24" y="53"/>
                    <a:pt x="26" y="50"/>
                  </a:cubicBezTo>
                  <a:cubicBezTo>
                    <a:pt x="28" y="47"/>
                    <a:pt x="26" y="50"/>
                    <a:pt x="27" y="48"/>
                  </a:cubicBezTo>
                  <a:cubicBezTo>
                    <a:pt x="28" y="48"/>
                    <a:pt x="26" y="48"/>
                    <a:pt x="26" y="48"/>
                  </a:cubicBezTo>
                  <a:close/>
                  <a:moveTo>
                    <a:pt x="14" y="54"/>
                  </a:moveTo>
                  <a:cubicBezTo>
                    <a:pt x="14" y="53"/>
                    <a:pt x="15" y="54"/>
                    <a:pt x="15" y="53"/>
                  </a:cubicBezTo>
                  <a:cubicBezTo>
                    <a:pt x="15" y="53"/>
                    <a:pt x="14" y="53"/>
                    <a:pt x="14" y="53"/>
                  </a:cubicBezTo>
                  <a:cubicBezTo>
                    <a:pt x="15" y="52"/>
                    <a:pt x="15" y="51"/>
                    <a:pt x="15" y="52"/>
                  </a:cubicBezTo>
                  <a:cubicBezTo>
                    <a:pt x="15" y="53"/>
                    <a:pt x="16" y="53"/>
                    <a:pt x="16" y="52"/>
                  </a:cubicBezTo>
                  <a:cubicBezTo>
                    <a:pt x="16" y="52"/>
                    <a:pt x="15" y="50"/>
                    <a:pt x="15" y="50"/>
                  </a:cubicBezTo>
                  <a:cubicBezTo>
                    <a:pt x="14" y="51"/>
                    <a:pt x="13" y="51"/>
                    <a:pt x="14" y="50"/>
                  </a:cubicBezTo>
                  <a:cubicBezTo>
                    <a:pt x="15" y="50"/>
                    <a:pt x="15" y="49"/>
                    <a:pt x="14" y="49"/>
                  </a:cubicBezTo>
                  <a:cubicBezTo>
                    <a:pt x="13" y="49"/>
                    <a:pt x="13" y="47"/>
                    <a:pt x="12" y="46"/>
                  </a:cubicBezTo>
                  <a:cubicBezTo>
                    <a:pt x="12" y="45"/>
                    <a:pt x="10" y="46"/>
                    <a:pt x="9" y="46"/>
                  </a:cubicBezTo>
                  <a:cubicBezTo>
                    <a:pt x="7" y="46"/>
                    <a:pt x="8" y="47"/>
                    <a:pt x="6" y="47"/>
                  </a:cubicBezTo>
                  <a:cubicBezTo>
                    <a:pt x="4" y="48"/>
                    <a:pt x="6" y="50"/>
                    <a:pt x="4" y="50"/>
                  </a:cubicBezTo>
                  <a:cubicBezTo>
                    <a:pt x="2" y="50"/>
                    <a:pt x="5" y="51"/>
                    <a:pt x="3" y="52"/>
                  </a:cubicBezTo>
                  <a:cubicBezTo>
                    <a:pt x="0" y="53"/>
                    <a:pt x="7" y="56"/>
                    <a:pt x="7" y="54"/>
                  </a:cubicBezTo>
                  <a:cubicBezTo>
                    <a:pt x="7" y="53"/>
                    <a:pt x="8" y="52"/>
                    <a:pt x="8" y="53"/>
                  </a:cubicBezTo>
                  <a:cubicBezTo>
                    <a:pt x="9" y="55"/>
                    <a:pt x="9" y="54"/>
                    <a:pt x="9" y="55"/>
                  </a:cubicBezTo>
                  <a:cubicBezTo>
                    <a:pt x="10" y="56"/>
                    <a:pt x="10" y="55"/>
                    <a:pt x="11" y="55"/>
                  </a:cubicBezTo>
                  <a:cubicBezTo>
                    <a:pt x="13" y="55"/>
                    <a:pt x="12" y="57"/>
                    <a:pt x="14" y="54"/>
                  </a:cubicBezTo>
                  <a:close/>
                  <a:moveTo>
                    <a:pt x="20" y="55"/>
                  </a:moveTo>
                  <a:cubicBezTo>
                    <a:pt x="21" y="56"/>
                    <a:pt x="22" y="53"/>
                    <a:pt x="21" y="53"/>
                  </a:cubicBezTo>
                  <a:cubicBezTo>
                    <a:pt x="21" y="52"/>
                    <a:pt x="18" y="55"/>
                    <a:pt x="20" y="55"/>
                  </a:cubicBezTo>
                  <a:close/>
                  <a:moveTo>
                    <a:pt x="22" y="62"/>
                  </a:moveTo>
                  <a:cubicBezTo>
                    <a:pt x="23" y="61"/>
                    <a:pt x="21" y="59"/>
                    <a:pt x="20" y="61"/>
                  </a:cubicBezTo>
                  <a:cubicBezTo>
                    <a:pt x="20" y="62"/>
                    <a:pt x="21" y="63"/>
                    <a:pt x="22" y="62"/>
                  </a:cubicBezTo>
                  <a:close/>
                  <a:moveTo>
                    <a:pt x="16" y="42"/>
                  </a:moveTo>
                  <a:cubicBezTo>
                    <a:pt x="16" y="43"/>
                    <a:pt x="16" y="44"/>
                    <a:pt x="17" y="44"/>
                  </a:cubicBezTo>
                  <a:cubicBezTo>
                    <a:pt x="18" y="44"/>
                    <a:pt x="17" y="41"/>
                    <a:pt x="16" y="42"/>
                  </a:cubicBezTo>
                  <a:close/>
                  <a:moveTo>
                    <a:pt x="38" y="82"/>
                  </a:moveTo>
                  <a:cubicBezTo>
                    <a:pt x="38" y="81"/>
                    <a:pt x="37" y="81"/>
                    <a:pt x="36" y="82"/>
                  </a:cubicBezTo>
                  <a:cubicBezTo>
                    <a:pt x="38" y="83"/>
                    <a:pt x="39" y="82"/>
                    <a:pt x="38" y="82"/>
                  </a:cubicBezTo>
                  <a:close/>
                  <a:moveTo>
                    <a:pt x="9" y="22"/>
                  </a:moveTo>
                  <a:cubicBezTo>
                    <a:pt x="8" y="23"/>
                    <a:pt x="8" y="21"/>
                    <a:pt x="8" y="22"/>
                  </a:cubicBezTo>
                  <a:cubicBezTo>
                    <a:pt x="7" y="22"/>
                    <a:pt x="7" y="23"/>
                    <a:pt x="7" y="23"/>
                  </a:cubicBezTo>
                  <a:cubicBezTo>
                    <a:pt x="8" y="24"/>
                    <a:pt x="6" y="23"/>
                    <a:pt x="8" y="24"/>
                  </a:cubicBezTo>
                  <a:cubicBezTo>
                    <a:pt x="9" y="24"/>
                    <a:pt x="6" y="24"/>
                    <a:pt x="7" y="25"/>
                  </a:cubicBezTo>
                  <a:cubicBezTo>
                    <a:pt x="8" y="26"/>
                    <a:pt x="8" y="25"/>
                    <a:pt x="9" y="25"/>
                  </a:cubicBezTo>
                  <a:cubicBezTo>
                    <a:pt x="9" y="25"/>
                    <a:pt x="9" y="25"/>
                    <a:pt x="9" y="24"/>
                  </a:cubicBezTo>
                  <a:cubicBezTo>
                    <a:pt x="10" y="24"/>
                    <a:pt x="11" y="24"/>
                    <a:pt x="10" y="24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0" y="23"/>
                    <a:pt x="11" y="23"/>
                    <a:pt x="11" y="22"/>
                  </a:cubicBezTo>
                  <a:cubicBezTo>
                    <a:pt x="11" y="21"/>
                    <a:pt x="11" y="22"/>
                    <a:pt x="12" y="22"/>
                  </a:cubicBezTo>
                  <a:cubicBezTo>
                    <a:pt x="13" y="21"/>
                    <a:pt x="11" y="22"/>
                    <a:pt x="11" y="21"/>
                  </a:cubicBezTo>
                  <a:cubicBezTo>
                    <a:pt x="12" y="21"/>
                    <a:pt x="12" y="20"/>
                    <a:pt x="12" y="19"/>
                  </a:cubicBezTo>
                  <a:cubicBezTo>
                    <a:pt x="12" y="19"/>
                    <a:pt x="10" y="20"/>
                    <a:pt x="9" y="21"/>
                  </a:cubicBezTo>
                  <a:cubicBezTo>
                    <a:pt x="8" y="21"/>
                    <a:pt x="9" y="22"/>
                    <a:pt x="9" y="22"/>
                  </a:cubicBezTo>
                  <a:close/>
                  <a:moveTo>
                    <a:pt x="7" y="27"/>
                  </a:moveTo>
                  <a:cubicBezTo>
                    <a:pt x="8" y="26"/>
                    <a:pt x="7" y="26"/>
                    <a:pt x="7" y="26"/>
                  </a:cubicBezTo>
                  <a:cubicBezTo>
                    <a:pt x="6" y="26"/>
                    <a:pt x="6" y="26"/>
                    <a:pt x="5" y="26"/>
                  </a:cubicBezTo>
                  <a:cubicBezTo>
                    <a:pt x="5" y="27"/>
                    <a:pt x="7" y="28"/>
                    <a:pt x="7" y="27"/>
                  </a:cubicBezTo>
                  <a:close/>
                  <a:moveTo>
                    <a:pt x="6" y="31"/>
                  </a:moveTo>
                  <a:cubicBezTo>
                    <a:pt x="7" y="31"/>
                    <a:pt x="6" y="30"/>
                    <a:pt x="6" y="30"/>
                  </a:cubicBezTo>
                  <a:cubicBezTo>
                    <a:pt x="7" y="29"/>
                    <a:pt x="7" y="29"/>
                    <a:pt x="6" y="29"/>
                  </a:cubicBezTo>
                  <a:cubicBezTo>
                    <a:pt x="5" y="28"/>
                    <a:pt x="5" y="31"/>
                    <a:pt x="6" y="31"/>
                  </a:cubicBezTo>
                  <a:close/>
                  <a:moveTo>
                    <a:pt x="10" y="29"/>
                  </a:moveTo>
                  <a:cubicBezTo>
                    <a:pt x="11" y="29"/>
                    <a:pt x="10" y="29"/>
                    <a:pt x="11" y="30"/>
                  </a:cubicBezTo>
                  <a:cubicBezTo>
                    <a:pt x="11" y="31"/>
                    <a:pt x="12" y="30"/>
                    <a:pt x="13" y="30"/>
                  </a:cubicBezTo>
                  <a:cubicBezTo>
                    <a:pt x="14" y="30"/>
                    <a:pt x="12" y="31"/>
                    <a:pt x="13" y="32"/>
                  </a:cubicBezTo>
                  <a:cubicBezTo>
                    <a:pt x="13" y="32"/>
                    <a:pt x="14" y="30"/>
                    <a:pt x="14" y="30"/>
                  </a:cubicBezTo>
                  <a:cubicBezTo>
                    <a:pt x="15" y="29"/>
                    <a:pt x="14" y="30"/>
                    <a:pt x="13" y="29"/>
                  </a:cubicBezTo>
                  <a:cubicBezTo>
                    <a:pt x="12" y="29"/>
                    <a:pt x="12" y="26"/>
                    <a:pt x="11" y="26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1" y="28"/>
                    <a:pt x="10" y="27"/>
                    <a:pt x="10" y="27"/>
                  </a:cubicBezTo>
                  <a:cubicBezTo>
                    <a:pt x="9" y="27"/>
                    <a:pt x="10" y="28"/>
                    <a:pt x="10" y="28"/>
                  </a:cubicBezTo>
                  <a:cubicBezTo>
                    <a:pt x="10" y="28"/>
                    <a:pt x="8" y="28"/>
                    <a:pt x="9" y="29"/>
                  </a:cubicBezTo>
                  <a:cubicBezTo>
                    <a:pt x="10" y="29"/>
                    <a:pt x="10" y="28"/>
                    <a:pt x="10" y="29"/>
                  </a:cubicBezTo>
                  <a:close/>
                  <a:moveTo>
                    <a:pt x="12" y="37"/>
                  </a:moveTo>
                  <a:cubicBezTo>
                    <a:pt x="12" y="37"/>
                    <a:pt x="11" y="37"/>
                    <a:pt x="11" y="38"/>
                  </a:cubicBezTo>
                  <a:cubicBezTo>
                    <a:pt x="11" y="38"/>
                    <a:pt x="13" y="37"/>
                    <a:pt x="14" y="37"/>
                  </a:cubicBezTo>
                  <a:cubicBezTo>
                    <a:pt x="15" y="37"/>
                    <a:pt x="14" y="36"/>
                    <a:pt x="13" y="36"/>
                  </a:cubicBezTo>
                  <a:cubicBezTo>
                    <a:pt x="12" y="35"/>
                    <a:pt x="12" y="34"/>
                    <a:pt x="11" y="35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3" y="36"/>
                    <a:pt x="12" y="36"/>
                    <a:pt x="12" y="37"/>
                  </a:cubicBezTo>
                  <a:close/>
                  <a:moveTo>
                    <a:pt x="11" y="42"/>
                  </a:moveTo>
                  <a:cubicBezTo>
                    <a:pt x="12" y="43"/>
                    <a:pt x="11" y="43"/>
                    <a:pt x="11" y="43"/>
                  </a:cubicBezTo>
                  <a:cubicBezTo>
                    <a:pt x="11" y="44"/>
                    <a:pt x="12" y="43"/>
                    <a:pt x="12" y="43"/>
                  </a:cubicBezTo>
                  <a:cubicBezTo>
                    <a:pt x="13" y="42"/>
                    <a:pt x="12" y="42"/>
                    <a:pt x="12" y="41"/>
                  </a:cubicBezTo>
                  <a:cubicBezTo>
                    <a:pt x="12" y="40"/>
                    <a:pt x="11" y="41"/>
                    <a:pt x="11" y="41"/>
                  </a:cubicBezTo>
                  <a:cubicBezTo>
                    <a:pt x="11" y="40"/>
                    <a:pt x="9" y="42"/>
                    <a:pt x="10" y="42"/>
                  </a:cubicBezTo>
                  <a:cubicBezTo>
                    <a:pt x="11" y="43"/>
                    <a:pt x="11" y="41"/>
                    <a:pt x="11" y="42"/>
                  </a:cubicBezTo>
                  <a:close/>
                  <a:moveTo>
                    <a:pt x="14" y="39"/>
                  </a:moveTo>
                  <a:cubicBezTo>
                    <a:pt x="13" y="39"/>
                    <a:pt x="12" y="40"/>
                    <a:pt x="13" y="41"/>
                  </a:cubicBezTo>
                  <a:cubicBezTo>
                    <a:pt x="13" y="42"/>
                    <a:pt x="15" y="38"/>
                    <a:pt x="14" y="39"/>
                  </a:cubicBezTo>
                  <a:close/>
                  <a:moveTo>
                    <a:pt x="27" y="16"/>
                  </a:moveTo>
                  <a:cubicBezTo>
                    <a:pt x="26" y="16"/>
                    <a:pt x="27" y="17"/>
                    <a:pt x="27" y="17"/>
                  </a:cubicBezTo>
                  <a:cubicBezTo>
                    <a:pt x="28" y="17"/>
                    <a:pt x="27" y="16"/>
                    <a:pt x="27" y="16"/>
                  </a:cubicBezTo>
                  <a:close/>
                  <a:moveTo>
                    <a:pt x="29" y="16"/>
                  </a:moveTo>
                  <a:cubicBezTo>
                    <a:pt x="29" y="17"/>
                    <a:pt x="30" y="16"/>
                    <a:pt x="30" y="15"/>
                  </a:cubicBezTo>
                  <a:cubicBezTo>
                    <a:pt x="30" y="15"/>
                    <a:pt x="29" y="16"/>
                    <a:pt x="29" y="15"/>
                  </a:cubicBezTo>
                  <a:cubicBezTo>
                    <a:pt x="29" y="15"/>
                    <a:pt x="28" y="16"/>
                    <a:pt x="28" y="15"/>
                  </a:cubicBezTo>
                  <a:cubicBezTo>
                    <a:pt x="29" y="14"/>
                    <a:pt x="28" y="14"/>
                    <a:pt x="28" y="14"/>
                  </a:cubicBezTo>
                  <a:cubicBezTo>
                    <a:pt x="27" y="14"/>
                    <a:pt x="26" y="15"/>
                    <a:pt x="27" y="15"/>
                  </a:cubicBezTo>
                  <a:cubicBezTo>
                    <a:pt x="28" y="16"/>
                    <a:pt x="28" y="15"/>
                    <a:pt x="29" y="16"/>
                  </a:cubicBezTo>
                  <a:close/>
                  <a:moveTo>
                    <a:pt x="29" y="17"/>
                  </a:moveTo>
                  <a:cubicBezTo>
                    <a:pt x="29" y="17"/>
                    <a:pt x="29" y="16"/>
                    <a:pt x="29" y="17"/>
                  </a:cubicBezTo>
                  <a:cubicBezTo>
                    <a:pt x="28" y="17"/>
                    <a:pt x="28" y="17"/>
                    <a:pt x="29" y="17"/>
                  </a:cubicBezTo>
                  <a:close/>
                  <a:moveTo>
                    <a:pt x="30" y="13"/>
                  </a:moveTo>
                  <a:cubicBezTo>
                    <a:pt x="31" y="13"/>
                    <a:pt x="31" y="12"/>
                    <a:pt x="31" y="13"/>
                  </a:cubicBezTo>
                  <a:cubicBezTo>
                    <a:pt x="30" y="13"/>
                    <a:pt x="30" y="12"/>
                    <a:pt x="30" y="13"/>
                  </a:cubicBezTo>
                  <a:cubicBezTo>
                    <a:pt x="30" y="14"/>
                    <a:pt x="30" y="13"/>
                    <a:pt x="30" y="13"/>
                  </a:cubicBezTo>
                  <a:close/>
                  <a:moveTo>
                    <a:pt x="31" y="14"/>
                  </a:moveTo>
                  <a:cubicBezTo>
                    <a:pt x="31" y="14"/>
                    <a:pt x="30" y="13"/>
                    <a:pt x="30" y="14"/>
                  </a:cubicBezTo>
                  <a:cubicBezTo>
                    <a:pt x="30" y="15"/>
                    <a:pt x="30" y="15"/>
                    <a:pt x="31" y="14"/>
                  </a:cubicBezTo>
                  <a:close/>
                  <a:moveTo>
                    <a:pt x="29" y="13"/>
                  </a:moveTo>
                  <a:cubicBezTo>
                    <a:pt x="29" y="13"/>
                    <a:pt x="29" y="12"/>
                    <a:pt x="28" y="12"/>
                  </a:cubicBezTo>
                  <a:cubicBezTo>
                    <a:pt x="28" y="13"/>
                    <a:pt x="29" y="13"/>
                    <a:pt x="29" y="13"/>
                  </a:cubicBezTo>
                  <a:close/>
                  <a:moveTo>
                    <a:pt x="38" y="7"/>
                  </a:moveTo>
                  <a:cubicBezTo>
                    <a:pt x="38" y="6"/>
                    <a:pt x="38" y="6"/>
                    <a:pt x="38" y="5"/>
                  </a:cubicBezTo>
                  <a:cubicBezTo>
                    <a:pt x="38" y="5"/>
                    <a:pt x="38" y="5"/>
                    <a:pt x="39" y="3"/>
                  </a:cubicBezTo>
                  <a:cubicBezTo>
                    <a:pt x="39" y="2"/>
                    <a:pt x="38" y="4"/>
                    <a:pt x="38" y="3"/>
                  </a:cubicBezTo>
                  <a:cubicBezTo>
                    <a:pt x="38" y="3"/>
                    <a:pt x="38" y="2"/>
                    <a:pt x="38" y="3"/>
                  </a:cubicBezTo>
                  <a:cubicBezTo>
                    <a:pt x="37" y="4"/>
                    <a:pt x="37" y="3"/>
                    <a:pt x="37" y="2"/>
                  </a:cubicBezTo>
                  <a:cubicBezTo>
                    <a:pt x="38" y="1"/>
                    <a:pt x="35" y="3"/>
                    <a:pt x="36" y="3"/>
                  </a:cubicBezTo>
                  <a:cubicBezTo>
                    <a:pt x="36" y="3"/>
                    <a:pt x="37" y="3"/>
                    <a:pt x="37" y="4"/>
                  </a:cubicBezTo>
                  <a:cubicBezTo>
                    <a:pt x="37" y="4"/>
                    <a:pt x="35" y="4"/>
                    <a:pt x="35" y="5"/>
                  </a:cubicBezTo>
                  <a:cubicBezTo>
                    <a:pt x="35" y="6"/>
                    <a:pt x="36" y="5"/>
                    <a:pt x="36" y="5"/>
                  </a:cubicBezTo>
                  <a:cubicBezTo>
                    <a:pt x="37" y="6"/>
                    <a:pt x="37" y="5"/>
                    <a:pt x="37" y="5"/>
                  </a:cubicBezTo>
                  <a:cubicBezTo>
                    <a:pt x="38" y="6"/>
                    <a:pt x="36" y="7"/>
                    <a:pt x="37" y="8"/>
                  </a:cubicBezTo>
                  <a:cubicBezTo>
                    <a:pt x="38" y="9"/>
                    <a:pt x="38" y="7"/>
                    <a:pt x="38" y="7"/>
                  </a:cubicBezTo>
                  <a:close/>
                  <a:moveTo>
                    <a:pt x="39" y="2"/>
                  </a:move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8" y="2"/>
                    <a:pt x="38" y="2"/>
                  </a:cubicBezTo>
                  <a:cubicBezTo>
                    <a:pt x="39" y="3"/>
                    <a:pt x="38" y="2"/>
                    <a:pt x="39" y="2"/>
                  </a:cubicBezTo>
                  <a:close/>
                  <a:moveTo>
                    <a:pt x="40" y="0"/>
                  </a:moveTo>
                  <a:cubicBezTo>
                    <a:pt x="39" y="0"/>
                    <a:pt x="39" y="0"/>
                    <a:pt x="39" y="1"/>
                  </a:cubicBezTo>
                  <a:cubicBezTo>
                    <a:pt x="40" y="1"/>
                    <a:pt x="40" y="0"/>
                    <a:pt x="40" y="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10AA048-6222-3B4B-88E7-5A8F957572D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62185" y="2142147"/>
            <a:ext cx="900620" cy="668668"/>
            <a:chOff x="4401784" y="2844482"/>
            <a:chExt cx="515222" cy="396908"/>
          </a:xfrm>
          <a:solidFill>
            <a:schemeClr val="tx2"/>
          </a:solidFill>
        </p:grpSpPr>
        <p:sp>
          <p:nvSpPr>
            <p:cNvPr id="259" name="Freeform 20221">
              <a:extLst>
                <a:ext uri="{FF2B5EF4-FFF2-40B4-BE49-F238E27FC236}">
                  <a16:creationId xmlns:a16="http://schemas.microsoft.com/office/drawing/2014/main" id="{C3AAEB1A-7E4D-6E4B-8950-E1AE054066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01784" y="2844482"/>
              <a:ext cx="290050" cy="343480"/>
            </a:xfrm>
            <a:custGeom>
              <a:avLst/>
              <a:gdLst/>
              <a:ahLst/>
              <a:cxnLst>
                <a:cxn ang="0">
                  <a:pos x="35" y="10"/>
                </a:cxn>
                <a:cxn ang="0">
                  <a:pos x="31" y="14"/>
                </a:cxn>
                <a:cxn ang="0">
                  <a:pos x="33" y="23"/>
                </a:cxn>
                <a:cxn ang="0">
                  <a:pos x="44" y="37"/>
                </a:cxn>
                <a:cxn ang="0">
                  <a:pos x="57" y="44"/>
                </a:cxn>
                <a:cxn ang="0">
                  <a:pos x="63" y="51"/>
                </a:cxn>
                <a:cxn ang="0">
                  <a:pos x="59" y="49"/>
                </a:cxn>
                <a:cxn ang="0">
                  <a:pos x="53" y="52"/>
                </a:cxn>
                <a:cxn ang="0">
                  <a:pos x="55" y="59"/>
                </a:cxn>
                <a:cxn ang="0">
                  <a:pos x="49" y="66"/>
                </a:cxn>
                <a:cxn ang="0">
                  <a:pos x="50" y="61"/>
                </a:cxn>
                <a:cxn ang="0">
                  <a:pos x="46" y="51"/>
                </a:cxn>
                <a:cxn ang="0">
                  <a:pos x="41" y="46"/>
                </a:cxn>
                <a:cxn ang="0">
                  <a:pos x="31" y="39"/>
                </a:cxn>
                <a:cxn ang="0">
                  <a:pos x="25" y="34"/>
                </a:cxn>
                <a:cxn ang="0">
                  <a:pos x="21" y="27"/>
                </a:cxn>
                <a:cxn ang="0">
                  <a:pos x="12" y="20"/>
                </a:cxn>
                <a:cxn ang="0">
                  <a:pos x="7" y="21"/>
                </a:cxn>
                <a:cxn ang="0">
                  <a:pos x="3" y="16"/>
                </a:cxn>
                <a:cxn ang="0">
                  <a:pos x="3" y="9"/>
                </a:cxn>
                <a:cxn ang="0">
                  <a:pos x="9" y="8"/>
                </a:cxn>
                <a:cxn ang="0">
                  <a:pos x="11" y="5"/>
                </a:cxn>
                <a:cxn ang="0">
                  <a:pos x="14" y="9"/>
                </a:cxn>
                <a:cxn ang="0">
                  <a:pos x="16" y="4"/>
                </a:cxn>
                <a:cxn ang="0">
                  <a:pos x="20" y="6"/>
                </a:cxn>
                <a:cxn ang="0">
                  <a:pos x="22" y="4"/>
                </a:cxn>
                <a:cxn ang="0">
                  <a:pos x="24" y="2"/>
                </a:cxn>
                <a:cxn ang="0">
                  <a:pos x="29" y="0"/>
                </a:cxn>
                <a:cxn ang="0">
                  <a:pos x="31" y="2"/>
                </a:cxn>
                <a:cxn ang="0">
                  <a:pos x="37" y="6"/>
                </a:cxn>
                <a:cxn ang="0">
                  <a:pos x="38" y="9"/>
                </a:cxn>
                <a:cxn ang="0">
                  <a:pos x="37" y="10"/>
                </a:cxn>
                <a:cxn ang="0">
                  <a:pos x="40" y="72"/>
                </a:cxn>
                <a:cxn ang="0">
                  <a:pos x="46" y="74"/>
                </a:cxn>
                <a:cxn ang="0">
                  <a:pos x="48" y="64"/>
                </a:cxn>
                <a:cxn ang="0">
                  <a:pos x="37" y="65"/>
                </a:cxn>
                <a:cxn ang="0">
                  <a:pos x="32" y="67"/>
                </a:cxn>
                <a:cxn ang="0">
                  <a:pos x="11" y="51"/>
                </a:cxn>
                <a:cxn ang="0">
                  <a:pos x="13" y="59"/>
                </a:cxn>
                <a:cxn ang="0">
                  <a:pos x="18" y="54"/>
                </a:cxn>
                <a:cxn ang="0">
                  <a:pos x="17" y="44"/>
                </a:cxn>
                <a:cxn ang="0">
                  <a:pos x="9" y="46"/>
                </a:cxn>
              </a:cxnLst>
              <a:rect l="0" t="0" r="r" b="b"/>
              <a:pathLst>
                <a:path w="64" h="76">
                  <a:moveTo>
                    <a:pt x="37" y="10"/>
                  </a:moveTo>
                  <a:cubicBezTo>
                    <a:pt x="36" y="11"/>
                    <a:pt x="37" y="9"/>
                    <a:pt x="35" y="10"/>
                  </a:cubicBezTo>
                  <a:cubicBezTo>
                    <a:pt x="33" y="11"/>
                    <a:pt x="33" y="13"/>
                    <a:pt x="32" y="12"/>
                  </a:cubicBezTo>
                  <a:cubicBezTo>
                    <a:pt x="31" y="11"/>
                    <a:pt x="30" y="13"/>
                    <a:pt x="31" y="14"/>
                  </a:cubicBezTo>
                  <a:cubicBezTo>
                    <a:pt x="32" y="15"/>
                    <a:pt x="33" y="16"/>
                    <a:pt x="32" y="17"/>
                  </a:cubicBezTo>
                  <a:cubicBezTo>
                    <a:pt x="30" y="17"/>
                    <a:pt x="31" y="21"/>
                    <a:pt x="33" y="23"/>
                  </a:cubicBezTo>
                  <a:cubicBezTo>
                    <a:pt x="35" y="24"/>
                    <a:pt x="36" y="26"/>
                    <a:pt x="37" y="26"/>
                  </a:cubicBezTo>
                  <a:cubicBezTo>
                    <a:pt x="39" y="26"/>
                    <a:pt x="38" y="31"/>
                    <a:pt x="44" y="37"/>
                  </a:cubicBezTo>
                  <a:cubicBezTo>
                    <a:pt x="46" y="39"/>
                    <a:pt x="54" y="37"/>
                    <a:pt x="51" y="40"/>
                  </a:cubicBezTo>
                  <a:cubicBezTo>
                    <a:pt x="48" y="42"/>
                    <a:pt x="56" y="43"/>
                    <a:pt x="57" y="44"/>
                  </a:cubicBezTo>
                  <a:cubicBezTo>
                    <a:pt x="57" y="45"/>
                    <a:pt x="58" y="46"/>
                    <a:pt x="60" y="47"/>
                  </a:cubicBezTo>
                  <a:cubicBezTo>
                    <a:pt x="61" y="48"/>
                    <a:pt x="64" y="49"/>
                    <a:pt x="63" y="51"/>
                  </a:cubicBezTo>
                  <a:cubicBezTo>
                    <a:pt x="63" y="53"/>
                    <a:pt x="64" y="53"/>
                    <a:pt x="62" y="53"/>
                  </a:cubicBezTo>
                  <a:cubicBezTo>
                    <a:pt x="60" y="53"/>
                    <a:pt x="61" y="49"/>
                    <a:pt x="59" y="49"/>
                  </a:cubicBezTo>
                  <a:cubicBezTo>
                    <a:pt x="57" y="49"/>
                    <a:pt x="57" y="48"/>
                    <a:pt x="55" y="49"/>
                  </a:cubicBezTo>
                  <a:cubicBezTo>
                    <a:pt x="53" y="50"/>
                    <a:pt x="54" y="51"/>
                    <a:pt x="53" y="52"/>
                  </a:cubicBezTo>
                  <a:cubicBezTo>
                    <a:pt x="52" y="54"/>
                    <a:pt x="53" y="54"/>
                    <a:pt x="54" y="55"/>
                  </a:cubicBezTo>
                  <a:cubicBezTo>
                    <a:pt x="56" y="55"/>
                    <a:pt x="58" y="58"/>
                    <a:pt x="55" y="59"/>
                  </a:cubicBezTo>
                  <a:cubicBezTo>
                    <a:pt x="53" y="61"/>
                    <a:pt x="54" y="62"/>
                    <a:pt x="53" y="64"/>
                  </a:cubicBezTo>
                  <a:cubicBezTo>
                    <a:pt x="51" y="65"/>
                    <a:pt x="51" y="68"/>
                    <a:pt x="49" y="66"/>
                  </a:cubicBezTo>
                  <a:cubicBezTo>
                    <a:pt x="48" y="66"/>
                    <a:pt x="48" y="65"/>
                    <a:pt x="49" y="63"/>
                  </a:cubicBezTo>
                  <a:cubicBezTo>
                    <a:pt x="50" y="62"/>
                    <a:pt x="49" y="62"/>
                    <a:pt x="50" y="61"/>
                  </a:cubicBezTo>
                  <a:cubicBezTo>
                    <a:pt x="51" y="60"/>
                    <a:pt x="51" y="60"/>
                    <a:pt x="50" y="55"/>
                  </a:cubicBezTo>
                  <a:cubicBezTo>
                    <a:pt x="49" y="51"/>
                    <a:pt x="48" y="52"/>
                    <a:pt x="46" y="51"/>
                  </a:cubicBezTo>
                  <a:cubicBezTo>
                    <a:pt x="43" y="49"/>
                    <a:pt x="46" y="47"/>
                    <a:pt x="43" y="47"/>
                  </a:cubicBezTo>
                  <a:cubicBezTo>
                    <a:pt x="41" y="48"/>
                    <a:pt x="43" y="46"/>
                    <a:pt x="41" y="46"/>
                  </a:cubicBezTo>
                  <a:cubicBezTo>
                    <a:pt x="39" y="46"/>
                    <a:pt x="40" y="43"/>
                    <a:pt x="38" y="43"/>
                  </a:cubicBezTo>
                  <a:cubicBezTo>
                    <a:pt x="36" y="43"/>
                    <a:pt x="33" y="42"/>
                    <a:pt x="31" y="39"/>
                  </a:cubicBezTo>
                  <a:cubicBezTo>
                    <a:pt x="29" y="37"/>
                    <a:pt x="29" y="39"/>
                    <a:pt x="28" y="37"/>
                  </a:cubicBezTo>
                  <a:cubicBezTo>
                    <a:pt x="28" y="34"/>
                    <a:pt x="25" y="35"/>
                    <a:pt x="25" y="34"/>
                  </a:cubicBezTo>
                  <a:cubicBezTo>
                    <a:pt x="25" y="33"/>
                    <a:pt x="25" y="33"/>
                    <a:pt x="23" y="31"/>
                  </a:cubicBezTo>
                  <a:cubicBezTo>
                    <a:pt x="21" y="30"/>
                    <a:pt x="23" y="29"/>
                    <a:pt x="21" y="27"/>
                  </a:cubicBezTo>
                  <a:cubicBezTo>
                    <a:pt x="20" y="26"/>
                    <a:pt x="21" y="22"/>
                    <a:pt x="18" y="22"/>
                  </a:cubicBezTo>
                  <a:cubicBezTo>
                    <a:pt x="16" y="23"/>
                    <a:pt x="15" y="19"/>
                    <a:pt x="12" y="20"/>
                  </a:cubicBezTo>
                  <a:cubicBezTo>
                    <a:pt x="10" y="21"/>
                    <a:pt x="12" y="23"/>
                    <a:pt x="6" y="25"/>
                  </a:cubicBezTo>
                  <a:cubicBezTo>
                    <a:pt x="6" y="24"/>
                    <a:pt x="8" y="22"/>
                    <a:pt x="7" y="21"/>
                  </a:cubicBezTo>
                  <a:cubicBezTo>
                    <a:pt x="7" y="21"/>
                    <a:pt x="4" y="23"/>
                    <a:pt x="3" y="20"/>
                  </a:cubicBezTo>
                  <a:cubicBezTo>
                    <a:pt x="2" y="18"/>
                    <a:pt x="6" y="18"/>
                    <a:pt x="3" y="16"/>
                  </a:cubicBezTo>
                  <a:cubicBezTo>
                    <a:pt x="0" y="14"/>
                    <a:pt x="3" y="15"/>
                    <a:pt x="4" y="13"/>
                  </a:cubicBezTo>
                  <a:cubicBezTo>
                    <a:pt x="5" y="12"/>
                    <a:pt x="2" y="11"/>
                    <a:pt x="3" y="9"/>
                  </a:cubicBezTo>
                  <a:cubicBezTo>
                    <a:pt x="4" y="9"/>
                    <a:pt x="4" y="9"/>
                    <a:pt x="6" y="9"/>
                  </a:cubicBezTo>
                  <a:cubicBezTo>
                    <a:pt x="7" y="8"/>
                    <a:pt x="7" y="9"/>
                    <a:pt x="9" y="8"/>
                  </a:cubicBezTo>
                  <a:cubicBezTo>
                    <a:pt x="11" y="6"/>
                    <a:pt x="9" y="6"/>
                    <a:pt x="10" y="6"/>
                  </a:cubicBezTo>
                  <a:cubicBezTo>
                    <a:pt x="10" y="5"/>
                    <a:pt x="11" y="4"/>
                    <a:pt x="11" y="5"/>
                  </a:cubicBezTo>
                  <a:cubicBezTo>
                    <a:pt x="11" y="5"/>
                    <a:pt x="11" y="6"/>
                    <a:pt x="12" y="7"/>
                  </a:cubicBezTo>
                  <a:cubicBezTo>
                    <a:pt x="13" y="8"/>
                    <a:pt x="13" y="10"/>
                    <a:pt x="14" y="9"/>
                  </a:cubicBezTo>
                  <a:cubicBezTo>
                    <a:pt x="15" y="9"/>
                    <a:pt x="13" y="8"/>
                    <a:pt x="15" y="7"/>
                  </a:cubicBezTo>
                  <a:cubicBezTo>
                    <a:pt x="16" y="6"/>
                    <a:pt x="15" y="4"/>
                    <a:pt x="16" y="4"/>
                  </a:cubicBezTo>
                  <a:cubicBezTo>
                    <a:pt x="17" y="4"/>
                    <a:pt x="17" y="6"/>
                    <a:pt x="18" y="6"/>
                  </a:cubicBezTo>
                  <a:cubicBezTo>
                    <a:pt x="19" y="5"/>
                    <a:pt x="19" y="7"/>
                    <a:pt x="20" y="6"/>
                  </a:cubicBezTo>
                  <a:cubicBezTo>
                    <a:pt x="21" y="6"/>
                    <a:pt x="19" y="4"/>
                    <a:pt x="20" y="4"/>
                  </a:cubicBezTo>
                  <a:cubicBezTo>
                    <a:pt x="20" y="3"/>
                    <a:pt x="21" y="5"/>
                    <a:pt x="22" y="4"/>
                  </a:cubicBezTo>
                  <a:cubicBezTo>
                    <a:pt x="22" y="4"/>
                    <a:pt x="21" y="3"/>
                    <a:pt x="22" y="1"/>
                  </a:cubicBezTo>
                  <a:cubicBezTo>
                    <a:pt x="23" y="1"/>
                    <a:pt x="23" y="3"/>
                    <a:pt x="24" y="2"/>
                  </a:cubicBezTo>
                  <a:cubicBezTo>
                    <a:pt x="25" y="2"/>
                    <a:pt x="25" y="1"/>
                    <a:pt x="26" y="1"/>
                  </a:cubicBezTo>
                  <a:cubicBezTo>
                    <a:pt x="27" y="0"/>
                    <a:pt x="27" y="1"/>
                    <a:pt x="29" y="0"/>
                  </a:cubicBezTo>
                  <a:cubicBezTo>
                    <a:pt x="32" y="0"/>
                    <a:pt x="30" y="0"/>
                    <a:pt x="30" y="1"/>
                  </a:cubicBezTo>
                  <a:cubicBezTo>
                    <a:pt x="31" y="1"/>
                    <a:pt x="31" y="1"/>
                    <a:pt x="31" y="2"/>
                  </a:cubicBezTo>
                  <a:cubicBezTo>
                    <a:pt x="31" y="3"/>
                    <a:pt x="33" y="4"/>
                    <a:pt x="38" y="4"/>
                  </a:cubicBezTo>
                  <a:cubicBezTo>
                    <a:pt x="38" y="5"/>
                    <a:pt x="37" y="5"/>
                    <a:pt x="37" y="6"/>
                  </a:cubicBezTo>
                  <a:cubicBezTo>
                    <a:pt x="37" y="7"/>
                    <a:pt x="39" y="6"/>
                    <a:pt x="38" y="7"/>
                  </a:cubicBezTo>
                  <a:cubicBezTo>
                    <a:pt x="37" y="8"/>
                    <a:pt x="37" y="9"/>
                    <a:pt x="38" y="9"/>
                  </a:cubicBezTo>
                  <a:cubicBezTo>
                    <a:pt x="39" y="10"/>
                    <a:pt x="40" y="11"/>
                    <a:pt x="38" y="11"/>
                  </a:cubicBezTo>
                  <a:cubicBezTo>
                    <a:pt x="38" y="11"/>
                    <a:pt x="39" y="10"/>
                    <a:pt x="37" y="10"/>
                  </a:cubicBezTo>
                  <a:close/>
                  <a:moveTo>
                    <a:pt x="35" y="69"/>
                  </a:moveTo>
                  <a:cubicBezTo>
                    <a:pt x="36" y="70"/>
                    <a:pt x="38" y="72"/>
                    <a:pt x="40" y="72"/>
                  </a:cubicBezTo>
                  <a:cubicBezTo>
                    <a:pt x="42" y="72"/>
                    <a:pt x="42" y="74"/>
                    <a:pt x="44" y="74"/>
                  </a:cubicBezTo>
                  <a:cubicBezTo>
                    <a:pt x="46" y="75"/>
                    <a:pt x="46" y="76"/>
                    <a:pt x="46" y="74"/>
                  </a:cubicBezTo>
                  <a:cubicBezTo>
                    <a:pt x="46" y="73"/>
                    <a:pt x="47" y="71"/>
                    <a:pt x="46" y="70"/>
                  </a:cubicBezTo>
                  <a:cubicBezTo>
                    <a:pt x="45" y="70"/>
                    <a:pt x="48" y="65"/>
                    <a:pt x="48" y="64"/>
                  </a:cubicBezTo>
                  <a:cubicBezTo>
                    <a:pt x="49" y="63"/>
                    <a:pt x="46" y="65"/>
                    <a:pt x="45" y="65"/>
                  </a:cubicBezTo>
                  <a:cubicBezTo>
                    <a:pt x="43" y="64"/>
                    <a:pt x="40" y="67"/>
                    <a:pt x="37" y="65"/>
                  </a:cubicBezTo>
                  <a:cubicBezTo>
                    <a:pt x="35" y="62"/>
                    <a:pt x="35" y="67"/>
                    <a:pt x="34" y="65"/>
                  </a:cubicBezTo>
                  <a:cubicBezTo>
                    <a:pt x="33" y="64"/>
                    <a:pt x="32" y="65"/>
                    <a:pt x="32" y="67"/>
                  </a:cubicBezTo>
                  <a:cubicBezTo>
                    <a:pt x="32" y="69"/>
                    <a:pt x="33" y="69"/>
                    <a:pt x="35" y="69"/>
                  </a:cubicBezTo>
                  <a:close/>
                  <a:moveTo>
                    <a:pt x="11" y="51"/>
                  </a:moveTo>
                  <a:cubicBezTo>
                    <a:pt x="11" y="53"/>
                    <a:pt x="12" y="52"/>
                    <a:pt x="11" y="54"/>
                  </a:cubicBezTo>
                  <a:cubicBezTo>
                    <a:pt x="10" y="57"/>
                    <a:pt x="11" y="60"/>
                    <a:pt x="13" y="59"/>
                  </a:cubicBezTo>
                  <a:cubicBezTo>
                    <a:pt x="15" y="59"/>
                    <a:pt x="14" y="57"/>
                    <a:pt x="15" y="58"/>
                  </a:cubicBezTo>
                  <a:cubicBezTo>
                    <a:pt x="17" y="58"/>
                    <a:pt x="17" y="58"/>
                    <a:pt x="18" y="54"/>
                  </a:cubicBezTo>
                  <a:cubicBezTo>
                    <a:pt x="18" y="50"/>
                    <a:pt x="16" y="50"/>
                    <a:pt x="18" y="49"/>
                  </a:cubicBezTo>
                  <a:cubicBezTo>
                    <a:pt x="19" y="48"/>
                    <a:pt x="18" y="45"/>
                    <a:pt x="17" y="44"/>
                  </a:cubicBezTo>
                  <a:cubicBezTo>
                    <a:pt x="16" y="43"/>
                    <a:pt x="16" y="42"/>
                    <a:pt x="13" y="45"/>
                  </a:cubicBezTo>
                  <a:cubicBezTo>
                    <a:pt x="10" y="47"/>
                    <a:pt x="9" y="43"/>
                    <a:pt x="9" y="46"/>
                  </a:cubicBezTo>
                  <a:cubicBezTo>
                    <a:pt x="9" y="48"/>
                    <a:pt x="11" y="48"/>
                    <a:pt x="11" y="5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60" name="Freeform 20265">
              <a:extLst>
                <a:ext uri="{FF2B5EF4-FFF2-40B4-BE49-F238E27FC236}">
                  <a16:creationId xmlns:a16="http://schemas.microsoft.com/office/drawing/2014/main" id="{021B2728-B446-FD4B-AC7A-979E27CB68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12826" y="3016220"/>
              <a:ext cx="204180" cy="225170"/>
            </a:xfrm>
            <a:custGeom>
              <a:avLst/>
              <a:gdLst/>
              <a:ahLst/>
              <a:cxnLst>
                <a:cxn ang="0">
                  <a:pos x="21" y="4"/>
                </a:cxn>
                <a:cxn ang="0">
                  <a:pos x="29" y="4"/>
                </a:cxn>
                <a:cxn ang="0">
                  <a:pos x="36" y="5"/>
                </a:cxn>
                <a:cxn ang="0">
                  <a:pos x="27" y="7"/>
                </a:cxn>
                <a:cxn ang="0">
                  <a:pos x="24" y="12"/>
                </a:cxn>
                <a:cxn ang="0">
                  <a:pos x="21" y="13"/>
                </a:cxn>
                <a:cxn ang="0">
                  <a:pos x="17" y="10"/>
                </a:cxn>
                <a:cxn ang="0">
                  <a:pos x="18" y="18"/>
                </a:cxn>
                <a:cxn ang="0">
                  <a:pos x="21" y="25"/>
                </a:cxn>
                <a:cxn ang="0">
                  <a:pos x="21" y="28"/>
                </a:cxn>
                <a:cxn ang="0">
                  <a:pos x="20" y="32"/>
                </a:cxn>
                <a:cxn ang="0">
                  <a:pos x="19" y="39"/>
                </a:cxn>
                <a:cxn ang="0">
                  <a:pos x="13" y="36"/>
                </a:cxn>
                <a:cxn ang="0">
                  <a:pos x="8" y="29"/>
                </a:cxn>
                <a:cxn ang="0">
                  <a:pos x="14" y="26"/>
                </a:cxn>
                <a:cxn ang="0">
                  <a:pos x="15" y="25"/>
                </a:cxn>
                <a:cxn ang="0">
                  <a:pos x="6" y="23"/>
                </a:cxn>
                <a:cxn ang="0">
                  <a:pos x="3" y="16"/>
                </a:cxn>
                <a:cxn ang="0">
                  <a:pos x="6" y="12"/>
                </a:cxn>
                <a:cxn ang="0">
                  <a:pos x="14" y="5"/>
                </a:cxn>
                <a:cxn ang="0">
                  <a:pos x="7" y="30"/>
                </a:cxn>
                <a:cxn ang="0">
                  <a:pos x="5" y="25"/>
                </a:cxn>
                <a:cxn ang="0">
                  <a:pos x="18" y="41"/>
                </a:cxn>
                <a:cxn ang="0">
                  <a:pos x="27" y="48"/>
                </a:cxn>
                <a:cxn ang="0">
                  <a:pos x="31" y="47"/>
                </a:cxn>
                <a:cxn ang="0">
                  <a:pos x="22" y="44"/>
                </a:cxn>
                <a:cxn ang="0">
                  <a:pos x="45" y="39"/>
                </a:cxn>
                <a:cxn ang="0">
                  <a:pos x="45" y="39"/>
                </a:cxn>
                <a:cxn ang="0">
                  <a:pos x="33" y="24"/>
                </a:cxn>
                <a:cxn ang="0">
                  <a:pos x="35" y="18"/>
                </a:cxn>
                <a:cxn ang="0">
                  <a:pos x="36" y="20"/>
                </a:cxn>
                <a:cxn ang="0">
                  <a:pos x="26" y="9"/>
                </a:cxn>
                <a:cxn ang="0">
                  <a:pos x="25" y="28"/>
                </a:cxn>
                <a:cxn ang="0">
                  <a:pos x="20" y="21"/>
                </a:cxn>
                <a:cxn ang="0">
                  <a:pos x="31" y="35"/>
                </a:cxn>
                <a:cxn ang="0">
                  <a:pos x="40" y="44"/>
                </a:cxn>
                <a:cxn ang="0">
                  <a:pos x="3" y="18"/>
                </a:cxn>
                <a:cxn ang="0">
                  <a:pos x="3" y="18"/>
                </a:cxn>
                <a:cxn ang="0">
                  <a:pos x="30" y="14"/>
                </a:cxn>
                <a:cxn ang="0">
                  <a:pos x="33" y="13"/>
                </a:cxn>
                <a:cxn ang="0">
                  <a:pos x="30" y="34"/>
                </a:cxn>
                <a:cxn ang="0">
                  <a:pos x="25" y="37"/>
                </a:cxn>
                <a:cxn ang="0">
                  <a:pos x="25" y="30"/>
                </a:cxn>
                <a:cxn ang="0">
                  <a:pos x="25" y="32"/>
                </a:cxn>
                <a:cxn ang="0">
                  <a:pos x="35" y="30"/>
                </a:cxn>
                <a:cxn ang="0">
                  <a:pos x="6" y="22"/>
                </a:cxn>
                <a:cxn ang="0">
                  <a:pos x="26" y="21"/>
                </a:cxn>
                <a:cxn ang="0">
                  <a:pos x="28" y="31"/>
                </a:cxn>
                <a:cxn ang="0">
                  <a:pos x="28" y="31"/>
                </a:cxn>
              </a:cxnLst>
              <a:rect l="0" t="0" r="r" b="b"/>
              <a:pathLst>
                <a:path w="45" h="50">
                  <a:moveTo>
                    <a:pt x="14" y="5"/>
                  </a:moveTo>
                  <a:cubicBezTo>
                    <a:pt x="17" y="7"/>
                    <a:pt x="16" y="4"/>
                    <a:pt x="18" y="4"/>
                  </a:cubicBezTo>
                  <a:cubicBezTo>
                    <a:pt x="19" y="5"/>
                    <a:pt x="18" y="3"/>
                    <a:pt x="21" y="4"/>
                  </a:cubicBezTo>
                  <a:cubicBezTo>
                    <a:pt x="23" y="4"/>
                    <a:pt x="24" y="2"/>
                    <a:pt x="25" y="3"/>
                  </a:cubicBezTo>
                  <a:cubicBezTo>
                    <a:pt x="26" y="3"/>
                    <a:pt x="25" y="1"/>
                    <a:pt x="27" y="3"/>
                  </a:cubicBezTo>
                  <a:cubicBezTo>
                    <a:pt x="28" y="5"/>
                    <a:pt x="28" y="2"/>
                    <a:pt x="29" y="4"/>
                  </a:cubicBezTo>
                  <a:cubicBezTo>
                    <a:pt x="30" y="6"/>
                    <a:pt x="31" y="4"/>
                    <a:pt x="33" y="4"/>
                  </a:cubicBezTo>
                  <a:cubicBezTo>
                    <a:pt x="36" y="4"/>
                    <a:pt x="32" y="0"/>
                    <a:pt x="35" y="1"/>
                  </a:cubicBezTo>
                  <a:cubicBezTo>
                    <a:pt x="37" y="3"/>
                    <a:pt x="37" y="4"/>
                    <a:pt x="36" y="5"/>
                  </a:cubicBezTo>
                  <a:cubicBezTo>
                    <a:pt x="35" y="5"/>
                    <a:pt x="36" y="7"/>
                    <a:pt x="34" y="8"/>
                  </a:cubicBezTo>
                  <a:cubicBezTo>
                    <a:pt x="34" y="7"/>
                    <a:pt x="32" y="8"/>
                    <a:pt x="30" y="7"/>
                  </a:cubicBezTo>
                  <a:cubicBezTo>
                    <a:pt x="28" y="6"/>
                    <a:pt x="29" y="8"/>
                    <a:pt x="27" y="7"/>
                  </a:cubicBezTo>
                  <a:cubicBezTo>
                    <a:pt x="25" y="6"/>
                    <a:pt x="25" y="8"/>
                    <a:pt x="23" y="9"/>
                  </a:cubicBezTo>
                  <a:cubicBezTo>
                    <a:pt x="21" y="9"/>
                    <a:pt x="23" y="9"/>
                    <a:pt x="22" y="10"/>
                  </a:cubicBezTo>
                  <a:cubicBezTo>
                    <a:pt x="22" y="11"/>
                    <a:pt x="23" y="10"/>
                    <a:pt x="24" y="12"/>
                  </a:cubicBezTo>
                  <a:cubicBezTo>
                    <a:pt x="26" y="13"/>
                    <a:pt x="25" y="13"/>
                    <a:pt x="24" y="12"/>
                  </a:cubicBezTo>
                  <a:cubicBezTo>
                    <a:pt x="22" y="11"/>
                    <a:pt x="21" y="11"/>
                    <a:pt x="23" y="12"/>
                  </a:cubicBezTo>
                  <a:cubicBezTo>
                    <a:pt x="24" y="14"/>
                    <a:pt x="23" y="14"/>
                    <a:pt x="21" y="13"/>
                  </a:cubicBezTo>
                  <a:cubicBezTo>
                    <a:pt x="20" y="11"/>
                    <a:pt x="20" y="12"/>
                    <a:pt x="21" y="13"/>
                  </a:cubicBezTo>
                  <a:cubicBezTo>
                    <a:pt x="22" y="15"/>
                    <a:pt x="20" y="15"/>
                    <a:pt x="19" y="13"/>
                  </a:cubicBezTo>
                  <a:cubicBezTo>
                    <a:pt x="19" y="10"/>
                    <a:pt x="17" y="12"/>
                    <a:pt x="17" y="10"/>
                  </a:cubicBezTo>
                  <a:cubicBezTo>
                    <a:pt x="18" y="8"/>
                    <a:pt x="16" y="10"/>
                    <a:pt x="16" y="11"/>
                  </a:cubicBezTo>
                  <a:cubicBezTo>
                    <a:pt x="14" y="14"/>
                    <a:pt x="21" y="18"/>
                    <a:pt x="19" y="20"/>
                  </a:cubicBezTo>
                  <a:cubicBezTo>
                    <a:pt x="18" y="21"/>
                    <a:pt x="19" y="18"/>
                    <a:pt x="18" y="18"/>
                  </a:cubicBezTo>
                  <a:cubicBezTo>
                    <a:pt x="16" y="18"/>
                    <a:pt x="20" y="21"/>
                    <a:pt x="16" y="21"/>
                  </a:cubicBezTo>
                  <a:cubicBezTo>
                    <a:pt x="14" y="22"/>
                    <a:pt x="19" y="22"/>
                    <a:pt x="19" y="23"/>
                  </a:cubicBezTo>
                  <a:cubicBezTo>
                    <a:pt x="20" y="25"/>
                    <a:pt x="20" y="24"/>
                    <a:pt x="21" y="25"/>
                  </a:cubicBezTo>
                  <a:cubicBezTo>
                    <a:pt x="21" y="26"/>
                    <a:pt x="24" y="26"/>
                    <a:pt x="23" y="27"/>
                  </a:cubicBezTo>
                  <a:cubicBezTo>
                    <a:pt x="23" y="28"/>
                    <a:pt x="24" y="30"/>
                    <a:pt x="23" y="30"/>
                  </a:cubicBezTo>
                  <a:cubicBezTo>
                    <a:pt x="23" y="30"/>
                    <a:pt x="22" y="29"/>
                    <a:pt x="21" y="28"/>
                  </a:cubicBezTo>
                  <a:cubicBezTo>
                    <a:pt x="20" y="27"/>
                    <a:pt x="18" y="28"/>
                    <a:pt x="18" y="29"/>
                  </a:cubicBezTo>
                  <a:cubicBezTo>
                    <a:pt x="19" y="30"/>
                    <a:pt x="18" y="30"/>
                    <a:pt x="19" y="30"/>
                  </a:cubicBezTo>
                  <a:cubicBezTo>
                    <a:pt x="20" y="31"/>
                    <a:pt x="21" y="32"/>
                    <a:pt x="20" y="32"/>
                  </a:cubicBezTo>
                  <a:cubicBezTo>
                    <a:pt x="19" y="32"/>
                    <a:pt x="19" y="33"/>
                    <a:pt x="18" y="32"/>
                  </a:cubicBezTo>
                  <a:cubicBezTo>
                    <a:pt x="18" y="31"/>
                    <a:pt x="18" y="31"/>
                    <a:pt x="17" y="31"/>
                  </a:cubicBezTo>
                  <a:cubicBezTo>
                    <a:pt x="15" y="31"/>
                    <a:pt x="20" y="38"/>
                    <a:pt x="19" y="39"/>
                  </a:cubicBezTo>
                  <a:cubicBezTo>
                    <a:pt x="17" y="39"/>
                    <a:pt x="16" y="34"/>
                    <a:pt x="16" y="37"/>
                  </a:cubicBezTo>
                  <a:cubicBezTo>
                    <a:pt x="15" y="39"/>
                    <a:pt x="14" y="40"/>
                    <a:pt x="14" y="38"/>
                  </a:cubicBezTo>
                  <a:cubicBezTo>
                    <a:pt x="14" y="36"/>
                    <a:pt x="13" y="33"/>
                    <a:pt x="13" y="36"/>
                  </a:cubicBezTo>
                  <a:cubicBezTo>
                    <a:pt x="12" y="38"/>
                    <a:pt x="10" y="34"/>
                    <a:pt x="10" y="33"/>
                  </a:cubicBezTo>
                  <a:cubicBezTo>
                    <a:pt x="11" y="32"/>
                    <a:pt x="11" y="31"/>
                    <a:pt x="10" y="31"/>
                  </a:cubicBezTo>
                  <a:cubicBezTo>
                    <a:pt x="8" y="31"/>
                    <a:pt x="9" y="30"/>
                    <a:pt x="8" y="29"/>
                  </a:cubicBezTo>
                  <a:cubicBezTo>
                    <a:pt x="7" y="28"/>
                    <a:pt x="9" y="29"/>
                    <a:pt x="9" y="27"/>
                  </a:cubicBezTo>
                  <a:cubicBezTo>
                    <a:pt x="9" y="26"/>
                    <a:pt x="10" y="27"/>
                    <a:pt x="11" y="26"/>
                  </a:cubicBezTo>
                  <a:cubicBezTo>
                    <a:pt x="12" y="25"/>
                    <a:pt x="12" y="25"/>
                    <a:pt x="14" y="26"/>
                  </a:cubicBezTo>
                  <a:cubicBezTo>
                    <a:pt x="16" y="27"/>
                    <a:pt x="16" y="28"/>
                    <a:pt x="18" y="27"/>
                  </a:cubicBezTo>
                  <a:cubicBezTo>
                    <a:pt x="20" y="27"/>
                    <a:pt x="19" y="26"/>
                    <a:pt x="18" y="26"/>
                  </a:cubicBezTo>
                  <a:cubicBezTo>
                    <a:pt x="17" y="26"/>
                    <a:pt x="16" y="25"/>
                    <a:pt x="15" y="25"/>
                  </a:cubicBezTo>
                  <a:cubicBezTo>
                    <a:pt x="13" y="26"/>
                    <a:pt x="14" y="25"/>
                    <a:pt x="12" y="25"/>
                  </a:cubicBezTo>
                  <a:cubicBezTo>
                    <a:pt x="9" y="26"/>
                    <a:pt x="10" y="24"/>
                    <a:pt x="9" y="25"/>
                  </a:cubicBezTo>
                  <a:cubicBezTo>
                    <a:pt x="8" y="27"/>
                    <a:pt x="8" y="24"/>
                    <a:pt x="6" y="23"/>
                  </a:cubicBezTo>
                  <a:cubicBezTo>
                    <a:pt x="5" y="21"/>
                    <a:pt x="9" y="22"/>
                    <a:pt x="8" y="21"/>
                  </a:cubicBezTo>
                  <a:cubicBezTo>
                    <a:pt x="6" y="19"/>
                    <a:pt x="7" y="22"/>
                    <a:pt x="6" y="20"/>
                  </a:cubicBezTo>
                  <a:cubicBezTo>
                    <a:pt x="5" y="19"/>
                    <a:pt x="4" y="20"/>
                    <a:pt x="3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6" y="14"/>
                    <a:pt x="6" y="12"/>
                  </a:cubicBezTo>
                  <a:cubicBezTo>
                    <a:pt x="6" y="9"/>
                    <a:pt x="7" y="11"/>
                    <a:pt x="8" y="10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15" y="7"/>
                    <a:pt x="11" y="4"/>
                    <a:pt x="14" y="5"/>
                  </a:cubicBezTo>
                  <a:close/>
                  <a:moveTo>
                    <a:pt x="7" y="30"/>
                  </a:moveTo>
                  <a:cubicBezTo>
                    <a:pt x="8" y="30"/>
                    <a:pt x="6" y="28"/>
                    <a:pt x="5" y="28"/>
                  </a:cubicBezTo>
                  <a:cubicBezTo>
                    <a:pt x="5" y="29"/>
                    <a:pt x="6" y="30"/>
                    <a:pt x="7" y="30"/>
                  </a:cubicBezTo>
                  <a:close/>
                  <a:moveTo>
                    <a:pt x="6" y="27"/>
                  </a:moveTo>
                  <a:cubicBezTo>
                    <a:pt x="7" y="28"/>
                    <a:pt x="7" y="27"/>
                    <a:pt x="6" y="26"/>
                  </a:cubicBezTo>
                  <a:cubicBezTo>
                    <a:pt x="5" y="26"/>
                    <a:pt x="5" y="24"/>
                    <a:pt x="5" y="25"/>
                  </a:cubicBezTo>
                  <a:cubicBezTo>
                    <a:pt x="5" y="26"/>
                    <a:pt x="4" y="25"/>
                    <a:pt x="4" y="26"/>
                  </a:cubicBezTo>
                  <a:cubicBezTo>
                    <a:pt x="4" y="27"/>
                    <a:pt x="5" y="27"/>
                    <a:pt x="6" y="27"/>
                  </a:cubicBezTo>
                  <a:close/>
                  <a:moveTo>
                    <a:pt x="18" y="41"/>
                  </a:moveTo>
                  <a:cubicBezTo>
                    <a:pt x="18" y="42"/>
                    <a:pt x="19" y="40"/>
                    <a:pt x="18" y="39"/>
                  </a:cubicBezTo>
                  <a:cubicBezTo>
                    <a:pt x="17" y="39"/>
                    <a:pt x="17" y="40"/>
                    <a:pt x="18" y="41"/>
                  </a:cubicBezTo>
                  <a:close/>
                  <a:moveTo>
                    <a:pt x="27" y="48"/>
                  </a:moveTo>
                  <a:cubicBezTo>
                    <a:pt x="28" y="50"/>
                    <a:pt x="30" y="49"/>
                    <a:pt x="33" y="49"/>
                  </a:cubicBezTo>
                  <a:cubicBezTo>
                    <a:pt x="36" y="49"/>
                    <a:pt x="36" y="46"/>
                    <a:pt x="33" y="47"/>
                  </a:cubicBezTo>
                  <a:cubicBezTo>
                    <a:pt x="31" y="49"/>
                    <a:pt x="33" y="46"/>
                    <a:pt x="31" y="47"/>
                  </a:cubicBezTo>
                  <a:cubicBezTo>
                    <a:pt x="29" y="47"/>
                    <a:pt x="29" y="45"/>
                    <a:pt x="26" y="46"/>
                  </a:cubicBezTo>
                  <a:cubicBezTo>
                    <a:pt x="24" y="47"/>
                    <a:pt x="24" y="44"/>
                    <a:pt x="23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1" y="45"/>
                    <a:pt x="21" y="45"/>
                    <a:pt x="21" y="46"/>
                  </a:cubicBezTo>
                  <a:cubicBezTo>
                    <a:pt x="21" y="48"/>
                    <a:pt x="24" y="46"/>
                    <a:pt x="27" y="48"/>
                  </a:cubicBezTo>
                  <a:close/>
                  <a:moveTo>
                    <a:pt x="45" y="39"/>
                  </a:moveTo>
                  <a:cubicBezTo>
                    <a:pt x="45" y="38"/>
                    <a:pt x="42" y="40"/>
                    <a:pt x="42" y="41"/>
                  </a:cubicBezTo>
                  <a:cubicBezTo>
                    <a:pt x="43" y="41"/>
                    <a:pt x="42" y="42"/>
                    <a:pt x="43" y="43"/>
                  </a:cubicBezTo>
                  <a:cubicBezTo>
                    <a:pt x="44" y="43"/>
                    <a:pt x="45" y="39"/>
                    <a:pt x="45" y="39"/>
                  </a:cubicBezTo>
                  <a:close/>
                  <a:moveTo>
                    <a:pt x="33" y="25"/>
                  </a:moveTo>
                  <a:cubicBezTo>
                    <a:pt x="34" y="25"/>
                    <a:pt x="32" y="27"/>
                    <a:pt x="33" y="27"/>
                  </a:cubicBezTo>
                  <a:cubicBezTo>
                    <a:pt x="35" y="26"/>
                    <a:pt x="34" y="23"/>
                    <a:pt x="33" y="24"/>
                  </a:cubicBezTo>
                  <a:cubicBezTo>
                    <a:pt x="32" y="24"/>
                    <a:pt x="33" y="24"/>
                    <a:pt x="33" y="25"/>
                  </a:cubicBezTo>
                  <a:close/>
                  <a:moveTo>
                    <a:pt x="36" y="20"/>
                  </a:moveTo>
                  <a:cubicBezTo>
                    <a:pt x="35" y="18"/>
                    <a:pt x="36" y="19"/>
                    <a:pt x="35" y="18"/>
                  </a:cubicBezTo>
                  <a:cubicBezTo>
                    <a:pt x="35" y="18"/>
                    <a:pt x="34" y="18"/>
                    <a:pt x="33" y="19"/>
                  </a:cubicBezTo>
                  <a:cubicBezTo>
                    <a:pt x="32" y="19"/>
                    <a:pt x="33" y="20"/>
                    <a:pt x="35" y="21"/>
                  </a:cubicBezTo>
                  <a:cubicBezTo>
                    <a:pt x="36" y="21"/>
                    <a:pt x="37" y="21"/>
                    <a:pt x="36" y="20"/>
                  </a:cubicBezTo>
                  <a:close/>
                  <a:moveTo>
                    <a:pt x="26" y="9"/>
                  </a:moveTo>
                  <a:cubicBezTo>
                    <a:pt x="27" y="10"/>
                    <a:pt x="27" y="8"/>
                    <a:pt x="27" y="8"/>
                  </a:cubicBezTo>
                  <a:cubicBezTo>
                    <a:pt x="26" y="8"/>
                    <a:pt x="25" y="9"/>
                    <a:pt x="26" y="9"/>
                  </a:cubicBezTo>
                  <a:close/>
                  <a:moveTo>
                    <a:pt x="20" y="23"/>
                  </a:moveTo>
                  <a:cubicBezTo>
                    <a:pt x="22" y="24"/>
                    <a:pt x="21" y="25"/>
                    <a:pt x="22" y="25"/>
                  </a:cubicBezTo>
                  <a:cubicBezTo>
                    <a:pt x="24" y="25"/>
                    <a:pt x="24" y="28"/>
                    <a:pt x="25" y="28"/>
                  </a:cubicBezTo>
                  <a:cubicBezTo>
                    <a:pt x="26" y="29"/>
                    <a:pt x="26" y="27"/>
                    <a:pt x="25" y="27"/>
                  </a:cubicBezTo>
                  <a:cubicBezTo>
                    <a:pt x="24" y="26"/>
                    <a:pt x="24" y="25"/>
                    <a:pt x="24" y="24"/>
                  </a:cubicBezTo>
                  <a:cubicBezTo>
                    <a:pt x="24" y="22"/>
                    <a:pt x="23" y="24"/>
                    <a:pt x="20" y="21"/>
                  </a:cubicBezTo>
                  <a:cubicBezTo>
                    <a:pt x="19" y="20"/>
                    <a:pt x="17" y="21"/>
                    <a:pt x="17" y="22"/>
                  </a:cubicBezTo>
                  <a:cubicBezTo>
                    <a:pt x="18" y="22"/>
                    <a:pt x="19" y="22"/>
                    <a:pt x="20" y="23"/>
                  </a:cubicBezTo>
                  <a:close/>
                  <a:moveTo>
                    <a:pt x="31" y="35"/>
                  </a:moveTo>
                  <a:cubicBezTo>
                    <a:pt x="32" y="36"/>
                    <a:pt x="32" y="33"/>
                    <a:pt x="31" y="34"/>
                  </a:cubicBezTo>
                  <a:cubicBezTo>
                    <a:pt x="30" y="34"/>
                    <a:pt x="30" y="35"/>
                    <a:pt x="31" y="35"/>
                  </a:cubicBezTo>
                  <a:close/>
                  <a:moveTo>
                    <a:pt x="40" y="44"/>
                  </a:moveTo>
                  <a:cubicBezTo>
                    <a:pt x="39" y="43"/>
                    <a:pt x="39" y="46"/>
                    <a:pt x="40" y="46"/>
                  </a:cubicBezTo>
                  <a:cubicBezTo>
                    <a:pt x="40" y="46"/>
                    <a:pt x="40" y="45"/>
                    <a:pt x="40" y="44"/>
                  </a:cubicBezTo>
                  <a:close/>
                  <a:moveTo>
                    <a:pt x="3" y="18"/>
                  </a:moveTo>
                  <a:cubicBezTo>
                    <a:pt x="3" y="18"/>
                    <a:pt x="1" y="16"/>
                    <a:pt x="1" y="16"/>
                  </a:cubicBezTo>
                  <a:cubicBezTo>
                    <a:pt x="2" y="15"/>
                    <a:pt x="1" y="15"/>
                    <a:pt x="0" y="15"/>
                  </a:cubicBezTo>
                  <a:cubicBezTo>
                    <a:pt x="0" y="16"/>
                    <a:pt x="1" y="18"/>
                    <a:pt x="3" y="18"/>
                  </a:cubicBezTo>
                  <a:close/>
                  <a:moveTo>
                    <a:pt x="29" y="15"/>
                  </a:moveTo>
                  <a:cubicBezTo>
                    <a:pt x="30" y="14"/>
                    <a:pt x="30" y="16"/>
                    <a:pt x="30" y="15"/>
                  </a:cubicBezTo>
                  <a:cubicBezTo>
                    <a:pt x="30" y="14"/>
                    <a:pt x="31" y="13"/>
                    <a:pt x="30" y="14"/>
                  </a:cubicBezTo>
                  <a:cubicBezTo>
                    <a:pt x="30" y="14"/>
                    <a:pt x="28" y="13"/>
                    <a:pt x="28" y="14"/>
                  </a:cubicBezTo>
                  <a:cubicBezTo>
                    <a:pt x="28" y="15"/>
                    <a:pt x="29" y="15"/>
                    <a:pt x="29" y="15"/>
                  </a:cubicBezTo>
                  <a:close/>
                  <a:moveTo>
                    <a:pt x="33" y="13"/>
                  </a:moveTo>
                  <a:cubicBezTo>
                    <a:pt x="34" y="12"/>
                    <a:pt x="32" y="11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lose/>
                  <a:moveTo>
                    <a:pt x="30" y="34"/>
                  </a:moveTo>
                  <a:cubicBezTo>
                    <a:pt x="29" y="33"/>
                    <a:pt x="28" y="34"/>
                    <a:pt x="29" y="35"/>
                  </a:cubicBezTo>
                  <a:cubicBezTo>
                    <a:pt x="29" y="35"/>
                    <a:pt x="30" y="34"/>
                    <a:pt x="30" y="34"/>
                  </a:cubicBezTo>
                  <a:close/>
                  <a:moveTo>
                    <a:pt x="25" y="37"/>
                  </a:moveTo>
                  <a:cubicBezTo>
                    <a:pt x="24" y="37"/>
                    <a:pt x="25" y="38"/>
                    <a:pt x="26" y="37"/>
                  </a:cubicBezTo>
                  <a:cubicBezTo>
                    <a:pt x="26" y="36"/>
                    <a:pt x="26" y="36"/>
                    <a:pt x="25" y="37"/>
                  </a:cubicBezTo>
                  <a:close/>
                  <a:moveTo>
                    <a:pt x="25" y="30"/>
                  </a:moveTo>
                  <a:cubicBezTo>
                    <a:pt x="25" y="30"/>
                    <a:pt x="24" y="31"/>
                    <a:pt x="25" y="31"/>
                  </a:cubicBezTo>
                  <a:cubicBezTo>
                    <a:pt x="25" y="31"/>
                    <a:pt x="25" y="30"/>
                    <a:pt x="25" y="30"/>
                  </a:cubicBezTo>
                  <a:close/>
                  <a:moveTo>
                    <a:pt x="25" y="32"/>
                  </a:moveTo>
                  <a:cubicBezTo>
                    <a:pt x="25" y="31"/>
                    <a:pt x="24" y="33"/>
                    <a:pt x="25" y="33"/>
                  </a:cubicBezTo>
                  <a:cubicBezTo>
                    <a:pt x="26" y="33"/>
                    <a:pt x="26" y="32"/>
                    <a:pt x="25" y="32"/>
                  </a:cubicBezTo>
                  <a:close/>
                  <a:moveTo>
                    <a:pt x="35" y="30"/>
                  </a:moveTo>
                  <a:cubicBezTo>
                    <a:pt x="35" y="30"/>
                    <a:pt x="33" y="30"/>
                    <a:pt x="33" y="31"/>
                  </a:cubicBezTo>
                  <a:cubicBezTo>
                    <a:pt x="33" y="32"/>
                    <a:pt x="35" y="30"/>
                    <a:pt x="35" y="30"/>
                  </a:cubicBezTo>
                  <a:close/>
                  <a:moveTo>
                    <a:pt x="6" y="22"/>
                  </a:moveTo>
                  <a:cubicBezTo>
                    <a:pt x="5" y="22"/>
                    <a:pt x="4" y="24"/>
                    <a:pt x="5" y="24"/>
                  </a:cubicBezTo>
                  <a:cubicBezTo>
                    <a:pt x="6" y="24"/>
                    <a:pt x="6" y="23"/>
                    <a:pt x="6" y="22"/>
                  </a:cubicBezTo>
                  <a:close/>
                  <a:moveTo>
                    <a:pt x="26" y="21"/>
                  </a:moveTo>
                  <a:cubicBezTo>
                    <a:pt x="26" y="21"/>
                    <a:pt x="26" y="22"/>
                    <a:pt x="27" y="22"/>
                  </a:cubicBezTo>
                  <a:cubicBezTo>
                    <a:pt x="27" y="22"/>
                    <a:pt x="26" y="20"/>
                    <a:pt x="26" y="21"/>
                  </a:cubicBezTo>
                  <a:close/>
                  <a:moveTo>
                    <a:pt x="28" y="31"/>
                  </a:moveTo>
                  <a:cubicBezTo>
                    <a:pt x="29" y="32"/>
                    <a:pt x="30" y="31"/>
                    <a:pt x="29" y="30"/>
                  </a:cubicBezTo>
                  <a:cubicBezTo>
                    <a:pt x="28" y="30"/>
                    <a:pt x="27" y="27"/>
                    <a:pt x="27" y="28"/>
                  </a:cubicBezTo>
                  <a:cubicBezTo>
                    <a:pt x="26" y="29"/>
                    <a:pt x="28" y="29"/>
                    <a:pt x="28" y="3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lvl="0"/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8B20CF11-F59F-AB46-908D-BAA6D6DFD95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87296" y="1800280"/>
            <a:ext cx="750516" cy="1379140"/>
            <a:chOff x="4537268" y="2392232"/>
            <a:chExt cx="429352" cy="818631"/>
          </a:xfrm>
          <a:solidFill>
            <a:schemeClr val="tx2"/>
          </a:solidFill>
        </p:grpSpPr>
        <p:sp>
          <p:nvSpPr>
            <p:cNvPr id="241" name="Freeform 20159">
              <a:extLst>
                <a:ext uri="{FF2B5EF4-FFF2-40B4-BE49-F238E27FC236}">
                  <a16:creationId xmlns:a16="http://schemas.microsoft.com/office/drawing/2014/main" id="{B38099FA-43E1-7642-B89B-4AFC401D3C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86882" y="3201321"/>
              <a:ext cx="9542" cy="954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2" y="2"/>
                </a:cxn>
                <a:cxn ang="0">
                  <a:pos x="1" y="1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0"/>
                    <a:pt x="2" y="2"/>
                    <a:pt x="2" y="2"/>
                  </a:cubicBezTo>
                  <a:cubicBezTo>
                    <a:pt x="1" y="2"/>
                    <a:pt x="0" y="1"/>
                    <a:pt x="1" y="1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2" name="Freeform 20213">
              <a:extLst>
                <a:ext uri="{FF2B5EF4-FFF2-40B4-BE49-F238E27FC236}">
                  <a16:creationId xmlns:a16="http://schemas.microsoft.com/office/drawing/2014/main" id="{848427E7-61FF-D345-AEF7-BF3BD33D1B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80749" y="2794867"/>
              <a:ext cx="85871" cy="103044"/>
            </a:xfrm>
            <a:custGeom>
              <a:avLst/>
              <a:gdLst/>
              <a:ahLst/>
              <a:cxnLst>
                <a:cxn ang="0">
                  <a:pos x="8" y="23"/>
                </a:cxn>
                <a:cxn ang="0">
                  <a:pos x="8" y="20"/>
                </a:cxn>
                <a:cxn ang="0">
                  <a:pos x="7" y="12"/>
                </a:cxn>
                <a:cxn ang="0">
                  <a:pos x="5" y="8"/>
                </a:cxn>
                <a:cxn ang="0">
                  <a:pos x="0" y="2"/>
                </a:cxn>
                <a:cxn ang="0">
                  <a:pos x="4" y="1"/>
                </a:cxn>
                <a:cxn ang="0">
                  <a:pos x="10" y="3"/>
                </a:cxn>
                <a:cxn ang="0">
                  <a:pos x="13" y="4"/>
                </a:cxn>
                <a:cxn ang="0">
                  <a:pos x="13" y="6"/>
                </a:cxn>
                <a:cxn ang="0">
                  <a:pos x="15" y="9"/>
                </a:cxn>
                <a:cxn ang="0">
                  <a:pos x="16" y="12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3" y="16"/>
                </a:cxn>
                <a:cxn ang="0">
                  <a:pos x="12" y="17"/>
                </a:cxn>
                <a:cxn ang="0">
                  <a:pos x="10" y="22"/>
                </a:cxn>
                <a:cxn ang="0">
                  <a:pos x="8" y="23"/>
                </a:cxn>
              </a:cxnLst>
              <a:rect l="0" t="0" r="r" b="b"/>
              <a:pathLst>
                <a:path w="19" h="23">
                  <a:moveTo>
                    <a:pt x="8" y="23"/>
                  </a:moveTo>
                  <a:cubicBezTo>
                    <a:pt x="7" y="22"/>
                    <a:pt x="8" y="22"/>
                    <a:pt x="8" y="20"/>
                  </a:cubicBezTo>
                  <a:cubicBezTo>
                    <a:pt x="7" y="17"/>
                    <a:pt x="10" y="15"/>
                    <a:pt x="7" y="12"/>
                  </a:cubicBezTo>
                  <a:cubicBezTo>
                    <a:pt x="4" y="8"/>
                    <a:pt x="5" y="9"/>
                    <a:pt x="5" y="8"/>
                  </a:cubicBezTo>
                  <a:cubicBezTo>
                    <a:pt x="3" y="7"/>
                    <a:pt x="2" y="1"/>
                    <a:pt x="0" y="2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5" y="0"/>
                    <a:pt x="9" y="3"/>
                    <a:pt x="10" y="3"/>
                  </a:cubicBezTo>
                  <a:cubicBezTo>
                    <a:pt x="11" y="2"/>
                    <a:pt x="11" y="5"/>
                    <a:pt x="13" y="4"/>
                  </a:cubicBezTo>
                  <a:cubicBezTo>
                    <a:pt x="14" y="4"/>
                    <a:pt x="14" y="5"/>
                    <a:pt x="13" y="6"/>
                  </a:cubicBezTo>
                  <a:cubicBezTo>
                    <a:pt x="12" y="8"/>
                    <a:pt x="14" y="9"/>
                    <a:pt x="15" y="9"/>
                  </a:cubicBezTo>
                  <a:cubicBezTo>
                    <a:pt x="16" y="9"/>
                    <a:pt x="14" y="11"/>
                    <a:pt x="16" y="12"/>
                  </a:cubicBezTo>
                  <a:cubicBezTo>
                    <a:pt x="18" y="13"/>
                    <a:pt x="16" y="15"/>
                    <a:pt x="17" y="16"/>
                  </a:cubicBezTo>
                  <a:cubicBezTo>
                    <a:pt x="19" y="16"/>
                    <a:pt x="17" y="17"/>
                    <a:pt x="17" y="16"/>
                  </a:cubicBezTo>
                  <a:cubicBezTo>
                    <a:pt x="16" y="16"/>
                    <a:pt x="14" y="17"/>
                    <a:pt x="13" y="16"/>
                  </a:cubicBezTo>
                  <a:cubicBezTo>
                    <a:pt x="12" y="15"/>
                    <a:pt x="11" y="16"/>
                    <a:pt x="12" y="17"/>
                  </a:cubicBezTo>
                  <a:cubicBezTo>
                    <a:pt x="13" y="19"/>
                    <a:pt x="9" y="21"/>
                    <a:pt x="10" y="22"/>
                  </a:cubicBezTo>
                  <a:cubicBezTo>
                    <a:pt x="10" y="23"/>
                    <a:pt x="9" y="23"/>
                    <a:pt x="8" y="23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3" name="Freeform 20214">
              <a:extLst>
                <a:ext uri="{FF2B5EF4-FFF2-40B4-BE49-F238E27FC236}">
                  <a16:creationId xmlns:a16="http://schemas.microsoft.com/office/drawing/2014/main" id="{05F76B26-1910-CE4E-92A6-F04CFA14DA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1908" y="2798684"/>
              <a:ext cx="221354" cy="164107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10" y="5"/>
                </a:cxn>
                <a:cxn ang="0">
                  <a:pos x="8" y="9"/>
                </a:cxn>
                <a:cxn ang="0">
                  <a:pos x="7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9" y="29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3" y="34"/>
                </a:cxn>
                <a:cxn ang="0">
                  <a:pos x="18" y="34"/>
                </a:cxn>
                <a:cxn ang="0">
                  <a:pos x="23" y="34"/>
                </a:cxn>
                <a:cxn ang="0">
                  <a:pos x="29" y="34"/>
                </a:cxn>
                <a:cxn ang="0">
                  <a:pos x="36" y="32"/>
                </a:cxn>
                <a:cxn ang="0">
                  <a:pos x="40" y="33"/>
                </a:cxn>
                <a:cxn ang="0">
                  <a:pos x="43" y="35"/>
                </a:cxn>
                <a:cxn ang="0">
                  <a:pos x="47" y="27"/>
                </a:cxn>
                <a:cxn ang="0">
                  <a:pos x="49" y="24"/>
                </a:cxn>
                <a:cxn ang="0">
                  <a:pos x="46" y="23"/>
                </a:cxn>
                <a:cxn ang="0">
                  <a:pos x="44" y="24"/>
                </a:cxn>
                <a:cxn ang="0">
                  <a:pos x="41" y="22"/>
                </a:cxn>
                <a:cxn ang="0">
                  <a:pos x="41" y="19"/>
                </a:cxn>
                <a:cxn ang="0">
                  <a:pos x="40" y="11"/>
                </a:cxn>
                <a:cxn ang="0">
                  <a:pos x="38" y="7"/>
                </a:cxn>
                <a:cxn ang="0">
                  <a:pos x="33" y="1"/>
                </a:cxn>
                <a:cxn ang="0">
                  <a:pos x="28" y="4"/>
                </a:cxn>
                <a:cxn ang="0">
                  <a:pos x="25" y="5"/>
                </a:cxn>
                <a:cxn ang="0">
                  <a:pos x="21" y="4"/>
                </a:cxn>
                <a:cxn ang="0">
                  <a:pos x="17" y="3"/>
                </a:cxn>
                <a:cxn ang="0">
                  <a:pos x="14" y="3"/>
                </a:cxn>
                <a:cxn ang="0">
                  <a:pos x="13" y="3"/>
                </a:cxn>
              </a:cxnLst>
              <a:rect l="0" t="0" r="r" b="b"/>
              <a:pathLst>
                <a:path w="49" h="36">
                  <a:moveTo>
                    <a:pt x="13" y="3"/>
                  </a:moveTo>
                  <a:cubicBezTo>
                    <a:pt x="11" y="6"/>
                    <a:pt x="11" y="4"/>
                    <a:pt x="10" y="5"/>
                  </a:cubicBezTo>
                  <a:cubicBezTo>
                    <a:pt x="9" y="7"/>
                    <a:pt x="10" y="7"/>
                    <a:pt x="8" y="9"/>
                  </a:cubicBezTo>
                  <a:cubicBezTo>
                    <a:pt x="6" y="10"/>
                    <a:pt x="7" y="10"/>
                    <a:pt x="7" y="12"/>
                  </a:cubicBezTo>
                  <a:cubicBezTo>
                    <a:pt x="6" y="13"/>
                    <a:pt x="4" y="16"/>
                    <a:pt x="4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3" y="16"/>
                    <a:pt x="2" y="17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1" y="19"/>
                    <a:pt x="3" y="19"/>
                    <a:pt x="2" y="21"/>
                  </a:cubicBezTo>
                  <a:cubicBezTo>
                    <a:pt x="2" y="24"/>
                    <a:pt x="7" y="23"/>
                    <a:pt x="6" y="25"/>
                  </a:cubicBezTo>
                  <a:cubicBezTo>
                    <a:pt x="5" y="26"/>
                    <a:pt x="6" y="28"/>
                    <a:pt x="9" y="29"/>
                  </a:cubicBezTo>
                  <a:cubicBezTo>
                    <a:pt x="11" y="29"/>
                    <a:pt x="10" y="27"/>
                    <a:pt x="11" y="28"/>
                  </a:cubicBezTo>
                  <a:cubicBezTo>
                    <a:pt x="15" y="30"/>
                    <a:pt x="9" y="28"/>
                    <a:pt x="12" y="31"/>
                  </a:cubicBezTo>
                  <a:cubicBezTo>
                    <a:pt x="16" y="33"/>
                    <a:pt x="12" y="33"/>
                    <a:pt x="13" y="34"/>
                  </a:cubicBezTo>
                  <a:cubicBezTo>
                    <a:pt x="15" y="35"/>
                    <a:pt x="15" y="33"/>
                    <a:pt x="18" y="34"/>
                  </a:cubicBezTo>
                  <a:cubicBezTo>
                    <a:pt x="20" y="36"/>
                    <a:pt x="21" y="34"/>
                    <a:pt x="23" y="34"/>
                  </a:cubicBezTo>
                  <a:cubicBezTo>
                    <a:pt x="24" y="35"/>
                    <a:pt x="26" y="36"/>
                    <a:pt x="29" y="34"/>
                  </a:cubicBezTo>
                  <a:cubicBezTo>
                    <a:pt x="31" y="33"/>
                    <a:pt x="35" y="31"/>
                    <a:pt x="36" y="32"/>
                  </a:cubicBezTo>
                  <a:cubicBezTo>
                    <a:pt x="37" y="34"/>
                    <a:pt x="38" y="31"/>
                    <a:pt x="40" y="33"/>
                  </a:cubicBezTo>
                  <a:cubicBezTo>
                    <a:pt x="41" y="35"/>
                    <a:pt x="42" y="34"/>
                    <a:pt x="43" y="35"/>
                  </a:cubicBezTo>
                  <a:cubicBezTo>
                    <a:pt x="43" y="30"/>
                    <a:pt x="45" y="27"/>
                    <a:pt x="47" y="27"/>
                  </a:cubicBezTo>
                  <a:cubicBezTo>
                    <a:pt x="49" y="26"/>
                    <a:pt x="49" y="25"/>
                    <a:pt x="49" y="24"/>
                  </a:cubicBezTo>
                  <a:cubicBezTo>
                    <a:pt x="48" y="22"/>
                    <a:pt x="46" y="22"/>
                    <a:pt x="46" y="23"/>
                  </a:cubicBezTo>
                  <a:cubicBezTo>
                    <a:pt x="45" y="24"/>
                    <a:pt x="44" y="23"/>
                    <a:pt x="44" y="24"/>
                  </a:cubicBezTo>
                  <a:cubicBezTo>
                    <a:pt x="44" y="24"/>
                    <a:pt x="43" y="24"/>
                    <a:pt x="41" y="22"/>
                  </a:cubicBezTo>
                  <a:cubicBezTo>
                    <a:pt x="40" y="21"/>
                    <a:pt x="41" y="21"/>
                    <a:pt x="41" y="19"/>
                  </a:cubicBezTo>
                  <a:cubicBezTo>
                    <a:pt x="40" y="16"/>
                    <a:pt x="43" y="14"/>
                    <a:pt x="40" y="11"/>
                  </a:cubicBezTo>
                  <a:cubicBezTo>
                    <a:pt x="37" y="7"/>
                    <a:pt x="38" y="8"/>
                    <a:pt x="38" y="7"/>
                  </a:cubicBezTo>
                  <a:cubicBezTo>
                    <a:pt x="36" y="6"/>
                    <a:pt x="35" y="0"/>
                    <a:pt x="33" y="1"/>
                  </a:cubicBezTo>
                  <a:cubicBezTo>
                    <a:pt x="30" y="2"/>
                    <a:pt x="31" y="3"/>
                    <a:pt x="28" y="4"/>
                  </a:cubicBezTo>
                  <a:cubicBezTo>
                    <a:pt x="25" y="4"/>
                    <a:pt x="26" y="4"/>
                    <a:pt x="25" y="5"/>
                  </a:cubicBezTo>
                  <a:cubicBezTo>
                    <a:pt x="23" y="6"/>
                    <a:pt x="23" y="3"/>
                    <a:pt x="21" y="4"/>
                  </a:cubicBezTo>
                  <a:cubicBezTo>
                    <a:pt x="20" y="4"/>
                    <a:pt x="20" y="3"/>
                    <a:pt x="17" y="3"/>
                  </a:cubicBezTo>
                  <a:cubicBezTo>
                    <a:pt x="15" y="3"/>
                    <a:pt x="15" y="2"/>
                    <a:pt x="14" y="3"/>
                  </a:cubicBezTo>
                  <a:cubicBezTo>
                    <a:pt x="14" y="4"/>
                    <a:pt x="14" y="3"/>
                    <a:pt x="13" y="3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4" name="Freeform 20216">
              <a:extLst>
                <a:ext uri="{FF2B5EF4-FFF2-40B4-BE49-F238E27FC236}">
                  <a16:creationId xmlns:a16="http://schemas.microsoft.com/office/drawing/2014/main" id="{495338A2-90A4-754A-9494-B9036BE4A0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5265" y="2451386"/>
              <a:ext cx="175557" cy="8968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0" y="15"/>
                </a:cxn>
                <a:cxn ang="0">
                  <a:pos x="17" y="15"/>
                </a:cxn>
                <a:cxn ang="0">
                  <a:pos x="21" y="14"/>
                </a:cxn>
                <a:cxn ang="0">
                  <a:pos x="23" y="16"/>
                </a:cxn>
                <a:cxn ang="0">
                  <a:pos x="30" y="20"/>
                </a:cxn>
                <a:cxn ang="0">
                  <a:pos x="35" y="19"/>
                </a:cxn>
                <a:cxn ang="0">
                  <a:pos x="38" y="17"/>
                </a:cxn>
                <a:cxn ang="0">
                  <a:pos x="37" y="13"/>
                </a:cxn>
                <a:cxn ang="0">
                  <a:pos x="36" y="11"/>
                </a:cxn>
                <a:cxn ang="0">
                  <a:pos x="36" y="8"/>
                </a:cxn>
                <a:cxn ang="0">
                  <a:pos x="34" y="5"/>
                </a:cxn>
                <a:cxn ang="0">
                  <a:pos x="30" y="5"/>
                </a:cxn>
                <a:cxn ang="0">
                  <a:pos x="26" y="3"/>
                </a:cxn>
                <a:cxn ang="0">
                  <a:pos x="23" y="1"/>
                </a:cxn>
                <a:cxn ang="0">
                  <a:pos x="18" y="3"/>
                </a:cxn>
                <a:cxn ang="0">
                  <a:pos x="16" y="9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12"/>
                </a:cxn>
                <a:cxn ang="0">
                  <a:pos x="0" y="17"/>
                </a:cxn>
              </a:cxnLst>
              <a:rect l="0" t="0" r="r" b="b"/>
              <a:pathLst>
                <a:path w="39" h="20">
                  <a:moveTo>
                    <a:pt x="0" y="17"/>
                  </a:moveTo>
                  <a:cubicBezTo>
                    <a:pt x="5" y="14"/>
                    <a:pt x="6" y="14"/>
                    <a:pt x="10" y="15"/>
                  </a:cubicBezTo>
                  <a:cubicBezTo>
                    <a:pt x="14" y="15"/>
                    <a:pt x="15" y="14"/>
                    <a:pt x="17" y="15"/>
                  </a:cubicBezTo>
                  <a:cubicBezTo>
                    <a:pt x="20" y="16"/>
                    <a:pt x="20" y="14"/>
                    <a:pt x="21" y="14"/>
                  </a:cubicBezTo>
                  <a:cubicBezTo>
                    <a:pt x="22" y="15"/>
                    <a:pt x="20" y="16"/>
                    <a:pt x="23" y="16"/>
                  </a:cubicBezTo>
                  <a:cubicBezTo>
                    <a:pt x="26" y="16"/>
                    <a:pt x="27" y="19"/>
                    <a:pt x="30" y="20"/>
                  </a:cubicBezTo>
                  <a:cubicBezTo>
                    <a:pt x="33" y="18"/>
                    <a:pt x="34" y="20"/>
                    <a:pt x="35" y="19"/>
                  </a:cubicBezTo>
                  <a:cubicBezTo>
                    <a:pt x="36" y="17"/>
                    <a:pt x="36" y="17"/>
                    <a:pt x="38" y="17"/>
                  </a:cubicBezTo>
                  <a:cubicBezTo>
                    <a:pt x="38" y="17"/>
                    <a:pt x="39" y="15"/>
                    <a:pt x="37" y="13"/>
                  </a:cubicBezTo>
                  <a:cubicBezTo>
                    <a:pt x="36" y="11"/>
                    <a:pt x="37" y="11"/>
                    <a:pt x="36" y="11"/>
                  </a:cubicBezTo>
                  <a:cubicBezTo>
                    <a:pt x="35" y="11"/>
                    <a:pt x="36" y="9"/>
                    <a:pt x="36" y="8"/>
                  </a:cubicBezTo>
                  <a:cubicBezTo>
                    <a:pt x="37" y="7"/>
                    <a:pt x="35" y="7"/>
                    <a:pt x="34" y="5"/>
                  </a:cubicBezTo>
                  <a:cubicBezTo>
                    <a:pt x="32" y="6"/>
                    <a:pt x="33" y="4"/>
                    <a:pt x="30" y="5"/>
                  </a:cubicBezTo>
                  <a:cubicBezTo>
                    <a:pt x="28" y="6"/>
                    <a:pt x="27" y="3"/>
                    <a:pt x="26" y="3"/>
                  </a:cubicBezTo>
                  <a:cubicBezTo>
                    <a:pt x="25" y="3"/>
                    <a:pt x="24" y="1"/>
                    <a:pt x="23" y="1"/>
                  </a:cubicBezTo>
                  <a:cubicBezTo>
                    <a:pt x="21" y="0"/>
                    <a:pt x="21" y="2"/>
                    <a:pt x="18" y="3"/>
                  </a:cubicBezTo>
                  <a:cubicBezTo>
                    <a:pt x="17" y="5"/>
                    <a:pt x="20" y="8"/>
                    <a:pt x="16" y="9"/>
                  </a:cubicBezTo>
                  <a:cubicBezTo>
                    <a:pt x="11" y="11"/>
                    <a:pt x="13" y="7"/>
                    <a:pt x="10" y="6"/>
                  </a:cubicBezTo>
                  <a:cubicBezTo>
                    <a:pt x="7" y="5"/>
                    <a:pt x="10" y="3"/>
                    <a:pt x="8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3" y="7"/>
                    <a:pt x="2" y="7"/>
                    <a:pt x="3" y="8"/>
                  </a:cubicBezTo>
                  <a:cubicBezTo>
                    <a:pt x="3" y="10"/>
                    <a:pt x="1" y="10"/>
                    <a:pt x="1" y="12"/>
                  </a:cubicBezTo>
                  <a:cubicBezTo>
                    <a:pt x="0" y="14"/>
                    <a:pt x="0" y="15"/>
                    <a:pt x="0" y="17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5" name="Freeform 20217">
              <a:extLst>
                <a:ext uri="{FF2B5EF4-FFF2-40B4-BE49-F238E27FC236}">
                  <a16:creationId xmlns:a16="http://schemas.microsoft.com/office/drawing/2014/main" id="{0288488B-DE25-214A-B363-8E070D1EB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45265" y="2514358"/>
              <a:ext cx="139301" cy="99227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30" y="10"/>
                </a:cxn>
                <a:cxn ang="0">
                  <a:pos x="25" y="14"/>
                </a:cxn>
                <a:cxn ang="0">
                  <a:pos x="25" y="18"/>
                </a:cxn>
                <a:cxn ang="0">
                  <a:pos x="21" y="19"/>
                </a:cxn>
                <a:cxn ang="0">
                  <a:pos x="14" y="20"/>
                </a:cxn>
                <a:cxn ang="0">
                  <a:pos x="10" y="17"/>
                </a:cxn>
                <a:cxn ang="0">
                  <a:pos x="9" y="12"/>
                </a:cxn>
                <a:cxn ang="0">
                  <a:pos x="2" y="1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0" y="1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30" y="6"/>
                </a:cxn>
              </a:cxnLst>
              <a:rect l="0" t="0" r="r" b="b"/>
              <a:pathLst>
                <a:path w="31" h="22">
                  <a:moveTo>
                    <a:pt x="30" y="6"/>
                  </a:moveTo>
                  <a:cubicBezTo>
                    <a:pt x="28" y="11"/>
                    <a:pt x="31" y="8"/>
                    <a:pt x="30" y="10"/>
                  </a:cubicBezTo>
                  <a:cubicBezTo>
                    <a:pt x="29" y="12"/>
                    <a:pt x="28" y="10"/>
                    <a:pt x="25" y="14"/>
                  </a:cubicBezTo>
                  <a:cubicBezTo>
                    <a:pt x="23" y="17"/>
                    <a:pt x="27" y="17"/>
                    <a:pt x="25" y="18"/>
                  </a:cubicBezTo>
                  <a:cubicBezTo>
                    <a:pt x="24" y="20"/>
                    <a:pt x="25" y="15"/>
                    <a:pt x="21" y="19"/>
                  </a:cubicBezTo>
                  <a:cubicBezTo>
                    <a:pt x="18" y="22"/>
                    <a:pt x="17" y="19"/>
                    <a:pt x="14" y="20"/>
                  </a:cubicBezTo>
                  <a:cubicBezTo>
                    <a:pt x="14" y="18"/>
                    <a:pt x="11" y="16"/>
                    <a:pt x="10" y="17"/>
                  </a:cubicBezTo>
                  <a:cubicBezTo>
                    <a:pt x="9" y="14"/>
                    <a:pt x="11" y="13"/>
                    <a:pt x="9" y="12"/>
                  </a:cubicBezTo>
                  <a:cubicBezTo>
                    <a:pt x="7" y="10"/>
                    <a:pt x="9" y="13"/>
                    <a:pt x="2" y="10"/>
                  </a:cubicBezTo>
                  <a:cubicBezTo>
                    <a:pt x="2" y="9"/>
                    <a:pt x="2" y="7"/>
                    <a:pt x="1" y="6"/>
                  </a:cubicBezTo>
                  <a:cubicBezTo>
                    <a:pt x="0" y="5"/>
                    <a:pt x="0" y="5"/>
                    <a:pt x="0" y="3"/>
                  </a:cubicBezTo>
                  <a:cubicBezTo>
                    <a:pt x="5" y="0"/>
                    <a:pt x="6" y="0"/>
                    <a:pt x="10" y="1"/>
                  </a:cubicBezTo>
                  <a:cubicBezTo>
                    <a:pt x="14" y="1"/>
                    <a:pt x="15" y="0"/>
                    <a:pt x="17" y="1"/>
                  </a:cubicBezTo>
                  <a:cubicBezTo>
                    <a:pt x="20" y="2"/>
                    <a:pt x="20" y="0"/>
                    <a:pt x="21" y="0"/>
                  </a:cubicBezTo>
                  <a:cubicBezTo>
                    <a:pt x="22" y="1"/>
                    <a:pt x="20" y="2"/>
                    <a:pt x="23" y="2"/>
                  </a:cubicBezTo>
                  <a:cubicBezTo>
                    <a:pt x="26" y="2"/>
                    <a:pt x="27" y="5"/>
                    <a:pt x="30" y="6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6" name="Freeform 20219">
              <a:extLst>
                <a:ext uri="{FF2B5EF4-FFF2-40B4-BE49-F238E27FC236}">
                  <a16:creationId xmlns:a16="http://schemas.microsoft.com/office/drawing/2014/main" id="{EEDF8E6F-3818-2540-B434-091D5EAAAC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7340" y="2573513"/>
              <a:ext cx="253794" cy="207996"/>
            </a:xfrm>
            <a:custGeom>
              <a:avLst/>
              <a:gdLst/>
              <a:ahLst/>
              <a:cxnLst>
                <a:cxn ang="0">
                  <a:pos x="51" y="26"/>
                </a:cxn>
                <a:cxn ang="0">
                  <a:pos x="52" y="30"/>
                </a:cxn>
                <a:cxn ang="0">
                  <a:pos x="53" y="32"/>
                </a:cxn>
                <a:cxn ang="0">
                  <a:pos x="52" y="35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5" y="45"/>
                </a:cxn>
                <a:cxn ang="0">
                  <a:pos x="42" y="43"/>
                </a:cxn>
                <a:cxn ang="0">
                  <a:pos x="35" y="42"/>
                </a:cxn>
                <a:cxn ang="0">
                  <a:pos x="32" y="44"/>
                </a:cxn>
                <a:cxn ang="0">
                  <a:pos x="31" y="43"/>
                </a:cxn>
                <a:cxn ang="0">
                  <a:pos x="28" y="42"/>
                </a:cxn>
                <a:cxn ang="0">
                  <a:pos x="27" y="42"/>
                </a:cxn>
                <a:cxn ang="0">
                  <a:pos x="26" y="42"/>
                </a:cxn>
                <a:cxn ang="0">
                  <a:pos x="23" y="38"/>
                </a:cxn>
                <a:cxn ang="0">
                  <a:pos x="20" y="37"/>
                </a:cxn>
                <a:cxn ang="0">
                  <a:pos x="19" y="36"/>
                </a:cxn>
                <a:cxn ang="0">
                  <a:pos x="16" y="35"/>
                </a:cxn>
                <a:cxn ang="0">
                  <a:pos x="14" y="36"/>
                </a:cxn>
                <a:cxn ang="0">
                  <a:pos x="14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4" y="25"/>
                </a:cxn>
                <a:cxn ang="0">
                  <a:pos x="4" y="20"/>
                </a:cxn>
                <a:cxn ang="0">
                  <a:pos x="3" y="17"/>
                </a:cxn>
                <a:cxn ang="0">
                  <a:pos x="2" y="9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7"/>
                </a:cxn>
                <a:cxn ang="0">
                  <a:pos x="10" y="5"/>
                </a:cxn>
                <a:cxn ang="0">
                  <a:pos x="15" y="2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5" y="3"/>
                </a:cxn>
                <a:cxn ang="0">
                  <a:pos x="30" y="3"/>
                </a:cxn>
                <a:cxn ang="0">
                  <a:pos x="47" y="4"/>
                </a:cxn>
                <a:cxn ang="0">
                  <a:pos x="51" y="7"/>
                </a:cxn>
                <a:cxn ang="0">
                  <a:pos x="52" y="18"/>
                </a:cxn>
                <a:cxn ang="0">
                  <a:pos x="49" y="21"/>
                </a:cxn>
                <a:cxn ang="0">
                  <a:pos x="51" y="26"/>
                </a:cxn>
              </a:cxnLst>
              <a:rect l="0" t="0" r="r" b="b"/>
              <a:pathLst>
                <a:path w="56" h="46">
                  <a:moveTo>
                    <a:pt x="51" y="26"/>
                  </a:moveTo>
                  <a:cubicBezTo>
                    <a:pt x="52" y="28"/>
                    <a:pt x="50" y="27"/>
                    <a:pt x="52" y="30"/>
                  </a:cubicBezTo>
                  <a:cubicBezTo>
                    <a:pt x="56" y="33"/>
                    <a:pt x="52" y="31"/>
                    <a:pt x="53" y="32"/>
                  </a:cubicBezTo>
                  <a:cubicBezTo>
                    <a:pt x="54" y="33"/>
                    <a:pt x="55" y="34"/>
                    <a:pt x="52" y="35"/>
                  </a:cubicBezTo>
                  <a:cubicBezTo>
                    <a:pt x="51" y="35"/>
                    <a:pt x="48" y="38"/>
                    <a:pt x="47" y="40"/>
                  </a:cubicBezTo>
                  <a:cubicBezTo>
                    <a:pt x="45" y="42"/>
                    <a:pt x="47" y="43"/>
                    <a:pt x="47" y="44"/>
                  </a:cubicBezTo>
                  <a:cubicBezTo>
                    <a:pt x="46" y="45"/>
                    <a:pt x="49" y="46"/>
                    <a:pt x="45" y="45"/>
                  </a:cubicBezTo>
                  <a:cubicBezTo>
                    <a:pt x="42" y="44"/>
                    <a:pt x="43" y="43"/>
                    <a:pt x="42" y="43"/>
                  </a:cubicBezTo>
                  <a:cubicBezTo>
                    <a:pt x="39" y="42"/>
                    <a:pt x="36" y="42"/>
                    <a:pt x="35" y="42"/>
                  </a:cubicBezTo>
                  <a:cubicBezTo>
                    <a:pt x="33" y="42"/>
                    <a:pt x="33" y="45"/>
                    <a:pt x="32" y="44"/>
                  </a:cubicBezTo>
                  <a:cubicBezTo>
                    <a:pt x="32" y="44"/>
                    <a:pt x="31" y="44"/>
                    <a:pt x="31" y="43"/>
                  </a:cubicBezTo>
                  <a:cubicBezTo>
                    <a:pt x="32" y="41"/>
                    <a:pt x="29" y="40"/>
                    <a:pt x="28" y="42"/>
                  </a:cubicBezTo>
                  <a:cubicBezTo>
                    <a:pt x="28" y="43"/>
                    <a:pt x="27" y="43"/>
                    <a:pt x="27" y="42"/>
                  </a:cubicBezTo>
                  <a:cubicBezTo>
                    <a:pt x="27" y="42"/>
                    <a:pt x="27" y="42"/>
                    <a:pt x="26" y="42"/>
                  </a:cubicBezTo>
                  <a:cubicBezTo>
                    <a:pt x="26" y="40"/>
                    <a:pt x="25" y="39"/>
                    <a:pt x="23" y="38"/>
                  </a:cubicBezTo>
                  <a:cubicBezTo>
                    <a:pt x="21" y="37"/>
                    <a:pt x="22" y="38"/>
                    <a:pt x="20" y="37"/>
                  </a:cubicBezTo>
                  <a:cubicBezTo>
                    <a:pt x="19" y="36"/>
                    <a:pt x="21" y="36"/>
                    <a:pt x="19" y="36"/>
                  </a:cubicBezTo>
                  <a:cubicBezTo>
                    <a:pt x="17" y="35"/>
                    <a:pt x="15" y="34"/>
                    <a:pt x="16" y="35"/>
                  </a:cubicBezTo>
                  <a:cubicBezTo>
                    <a:pt x="17" y="36"/>
                    <a:pt x="16" y="38"/>
                    <a:pt x="14" y="36"/>
                  </a:cubicBezTo>
                  <a:cubicBezTo>
                    <a:pt x="11" y="33"/>
                    <a:pt x="14" y="34"/>
                    <a:pt x="14" y="33"/>
                  </a:cubicBezTo>
                  <a:cubicBezTo>
                    <a:pt x="13" y="32"/>
                    <a:pt x="13" y="33"/>
                    <a:pt x="10" y="32"/>
                  </a:cubicBezTo>
                  <a:cubicBezTo>
                    <a:pt x="6" y="30"/>
                    <a:pt x="8" y="29"/>
                    <a:pt x="6" y="31"/>
                  </a:cubicBezTo>
                  <a:cubicBezTo>
                    <a:pt x="7" y="25"/>
                    <a:pt x="5" y="28"/>
                    <a:pt x="4" y="25"/>
                  </a:cubicBezTo>
                  <a:cubicBezTo>
                    <a:pt x="4" y="23"/>
                    <a:pt x="6" y="23"/>
                    <a:pt x="4" y="20"/>
                  </a:cubicBezTo>
                  <a:cubicBezTo>
                    <a:pt x="3" y="19"/>
                    <a:pt x="6" y="19"/>
                    <a:pt x="3" y="17"/>
                  </a:cubicBezTo>
                  <a:cubicBezTo>
                    <a:pt x="0" y="15"/>
                    <a:pt x="4" y="14"/>
                    <a:pt x="2" y="9"/>
                  </a:cubicBezTo>
                  <a:cubicBezTo>
                    <a:pt x="4" y="9"/>
                    <a:pt x="4" y="10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9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5" y="8"/>
                    <a:pt x="5" y="6"/>
                    <a:pt x="10" y="5"/>
                  </a:cubicBezTo>
                  <a:cubicBezTo>
                    <a:pt x="15" y="4"/>
                    <a:pt x="12" y="3"/>
                    <a:pt x="15" y="2"/>
                  </a:cubicBezTo>
                  <a:cubicBezTo>
                    <a:pt x="19" y="1"/>
                    <a:pt x="15" y="1"/>
                    <a:pt x="20" y="0"/>
                  </a:cubicBezTo>
                  <a:cubicBezTo>
                    <a:pt x="24" y="0"/>
                    <a:pt x="23" y="0"/>
                    <a:pt x="26" y="2"/>
                  </a:cubicBezTo>
                  <a:cubicBezTo>
                    <a:pt x="27" y="2"/>
                    <a:pt x="26" y="3"/>
                    <a:pt x="25" y="2"/>
                  </a:cubicBezTo>
                  <a:cubicBezTo>
                    <a:pt x="24" y="0"/>
                    <a:pt x="24" y="1"/>
                    <a:pt x="25" y="3"/>
                  </a:cubicBezTo>
                  <a:cubicBezTo>
                    <a:pt x="25" y="4"/>
                    <a:pt x="29" y="4"/>
                    <a:pt x="30" y="3"/>
                  </a:cubicBezTo>
                  <a:cubicBezTo>
                    <a:pt x="37" y="4"/>
                    <a:pt x="43" y="5"/>
                    <a:pt x="47" y="4"/>
                  </a:cubicBezTo>
                  <a:cubicBezTo>
                    <a:pt x="48" y="3"/>
                    <a:pt x="51" y="5"/>
                    <a:pt x="51" y="7"/>
                  </a:cubicBezTo>
                  <a:cubicBezTo>
                    <a:pt x="52" y="13"/>
                    <a:pt x="54" y="17"/>
                    <a:pt x="52" y="18"/>
                  </a:cubicBezTo>
                  <a:cubicBezTo>
                    <a:pt x="50" y="18"/>
                    <a:pt x="47" y="20"/>
                    <a:pt x="49" y="21"/>
                  </a:cubicBezTo>
                  <a:cubicBezTo>
                    <a:pt x="53" y="22"/>
                    <a:pt x="50" y="24"/>
                    <a:pt x="51" y="26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7" name="Freeform 20224">
              <a:extLst>
                <a:ext uri="{FF2B5EF4-FFF2-40B4-BE49-F238E27FC236}">
                  <a16:creationId xmlns:a16="http://schemas.microsoft.com/office/drawing/2014/main" id="{6765D9A0-B685-444C-AF55-7B8C3FC2C1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7268" y="2705181"/>
              <a:ext cx="158383" cy="89686"/>
            </a:xfrm>
            <a:custGeom>
              <a:avLst/>
              <a:gdLst/>
              <a:ahLst/>
              <a:cxnLst>
                <a:cxn ang="0">
                  <a:pos x="9" y="18"/>
                </a:cxn>
                <a:cxn ang="0">
                  <a:pos x="11" y="20"/>
                </a:cxn>
                <a:cxn ang="0">
                  <a:pos x="15" y="17"/>
                </a:cxn>
                <a:cxn ang="0">
                  <a:pos x="17" y="17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30" y="17"/>
                </a:cxn>
                <a:cxn ang="0">
                  <a:pos x="35" y="13"/>
                </a:cxn>
                <a:cxn ang="0">
                  <a:pos x="32" y="9"/>
                </a:cxn>
                <a:cxn ang="0">
                  <a:pos x="29" y="8"/>
                </a:cxn>
                <a:cxn ang="0">
                  <a:pos x="28" y="7"/>
                </a:cxn>
                <a:cxn ang="0">
                  <a:pos x="25" y="6"/>
                </a:cxn>
                <a:cxn ang="0">
                  <a:pos x="23" y="7"/>
                </a:cxn>
                <a:cxn ang="0">
                  <a:pos x="23" y="4"/>
                </a:cxn>
                <a:cxn ang="0">
                  <a:pos x="19" y="3"/>
                </a:cxn>
                <a:cxn ang="0">
                  <a:pos x="15" y="2"/>
                </a:cxn>
                <a:cxn ang="0">
                  <a:pos x="12" y="1"/>
                </a:cxn>
                <a:cxn ang="0">
                  <a:pos x="10" y="3"/>
                </a:cxn>
                <a:cxn ang="0">
                  <a:pos x="3" y="6"/>
                </a:cxn>
                <a:cxn ang="0">
                  <a:pos x="1" y="9"/>
                </a:cxn>
                <a:cxn ang="0">
                  <a:pos x="4" y="13"/>
                </a:cxn>
                <a:cxn ang="0">
                  <a:pos x="9" y="18"/>
                </a:cxn>
              </a:cxnLst>
              <a:rect l="0" t="0" r="r" b="b"/>
              <a:pathLst>
                <a:path w="35" h="20">
                  <a:moveTo>
                    <a:pt x="9" y="18"/>
                  </a:moveTo>
                  <a:cubicBezTo>
                    <a:pt x="11" y="19"/>
                    <a:pt x="9" y="20"/>
                    <a:pt x="11" y="20"/>
                  </a:cubicBezTo>
                  <a:cubicBezTo>
                    <a:pt x="13" y="19"/>
                    <a:pt x="15" y="19"/>
                    <a:pt x="15" y="17"/>
                  </a:cubicBezTo>
                  <a:cubicBezTo>
                    <a:pt x="15" y="15"/>
                    <a:pt x="16" y="17"/>
                    <a:pt x="17" y="17"/>
                  </a:cubicBezTo>
                  <a:cubicBezTo>
                    <a:pt x="18" y="17"/>
                    <a:pt x="21" y="19"/>
                    <a:pt x="22" y="18"/>
                  </a:cubicBezTo>
                  <a:cubicBezTo>
                    <a:pt x="24" y="17"/>
                    <a:pt x="25" y="19"/>
                    <a:pt x="26" y="19"/>
                  </a:cubicBezTo>
                  <a:cubicBezTo>
                    <a:pt x="27" y="16"/>
                    <a:pt x="28" y="18"/>
                    <a:pt x="30" y="17"/>
                  </a:cubicBezTo>
                  <a:cubicBezTo>
                    <a:pt x="33" y="16"/>
                    <a:pt x="30" y="15"/>
                    <a:pt x="35" y="13"/>
                  </a:cubicBezTo>
                  <a:cubicBezTo>
                    <a:pt x="35" y="11"/>
                    <a:pt x="34" y="10"/>
                    <a:pt x="32" y="9"/>
                  </a:cubicBezTo>
                  <a:cubicBezTo>
                    <a:pt x="30" y="8"/>
                    <a:pt x="31" y="9"/>
                    <a:pt x="29" y="8"/>
                  </a:cubicBezTo>
                  <a:cubicBezTo>
                    <a:pt x="28" y="7"/>
                    <a:pt x="30" y="7"/>
                    <a:pt x="28" y="7"/>
                  </a:cubicBezTo>
                  <a:cubicBezTo>
                    <a:pt x="26" y="6"/>
                    <a:pt x="24" y="5"/>
                    <a:pt x="25" y="6"/>
                  </a:cubicBezTo>
                  <a:cubicBezTo>
                    <a:pt x="26" y="7"/>
                    <a:pt x="25" y="9"/>
                    <a:pt x="23" y="7"/>
                  </a:cubicBezTo>
                  <a:cubicBezTo>
                    <a:pt x="20" y="4"/>
                    <a:pt x="23" y="5"/>
                    <a:pt x="23" y="4"/>
                  </a:cubicBezTo>
                  <a:cubicBezTo>
                    <a:pt x="22" y="3"/>
                    <a:pt x="22" y="4"/>
                    <a:pt x="19" y="3"/>
                  </a:cubicBezTo>
                  <a:cubicBezTo>
                    <a:pt x="15" y="1"/>
                    <a:pt x="17" y="0"/>
                    <a:pt x="15" y="2"/>
                  </a:cubicBezTo>
                  <a:cubicBezTo>
                    <a:pt x="13" y="3"/>
                    <a:pt x="12" y="1"/>
                    <a:pt x="12" y="1"/>
                  </a:cubicBezTo>
                  <a:cubicBezTo>
                    <a:pt x="11" y="1"/>
                    <a:pt x="13" y="2"/>
                    <a:pt x="10" y="3"/>
                  </a:cubicBezTo>
                  <a:cubicBezTo>
                    <a:pt x="7" y="3"/>
                    <a:pt x="6" y="5"/>
                    <a:pt x="3" y="6"/>
                  </a:cubicBezTo>
                  <a:cubicBezTo>
                    <a:pt x="1" y="7"/>
                    <a:pt x="0" y="7"/>
                    <a:pt x="1" y="9"/>
                  </a:cubicBezTo>
                  <a:cubicBezTo>
                    <a:pt x="3" y="11"/>
                    <a:pt x="0" y="12"/>
                    <a:pt x="4" y="13"/>
                  </a:cubicBezTo>
                  <a:cubicBezTo>
                    <a:pt x="6" y="14"/>
                    <a:pt x="6" y="16"/>
                    <a:pt x="9" y="18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8" name="Freeform 20225">
              <a:extLst>
                <a:ext uri="{FF2B5EF4-FFF2-40B4-BE49-F238E27FC236}">
                  <a16:creationId xmlns:a16="http://schemas.microsoft.com/office/drawing/2014/main" id="{7FF055DB-6157-B54C-A796-54D85E726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5795" y="2939893"/>
              <a:ext cx="150750" cy="103044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3" y="17"/>
                </a:cxn>
                <a:cxn ang="0">
                  <a:pos x="4" y="21"/>
                </a:cxn>
                <a:cxn ang="0">
                  <a:pos x="7" y="21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5" y="21"/>
                </a:cxn>
                <a:cxn ang="0">
                  <a:pos x="19" y="21"/>
                </a:cxn>
                <a:cxn ang="0">
                  <a:pos x="21" y="18"/>
                </a:cxn>
                <a:cxn ang="0">
                  <a:pos x="23" y="17"/>
                </a:cxn>
                <a:cxn ang="0">
                  <a:pos x="25" y="16"/>
                </a:cxn>
                <a:cxn ang="0">
                  <a:pos x="28" y="17"/>
                </a:cxn>
                <a:cxn ang="0">
                  <a:pos x="30" y="16"/>
                </a:cxn>
                <a:cxn ang="0">
                  <a:pos x="29" y="14"/>
                </a:cxn>
                <a:cxn ang="0">
                  <a:pos x="28" y="12"/>
                </a:cxn>
                <a:cxn ang="0">
                  <a:pos x="30" y="7"/>
                </a:cxn>
                <a:cxn ang="0">
                  <a:pos x="33" y="4"/>
                </a:cxn>
                <a:cxn ang="0">
                  <a:pos x="30" y="2"/>
                </a:cxn>
                <a:cxn ang="0">
                  <a:pos x="26" y="1"/>
                </a:cxn>
                <a:cxn ang="0">
                  <a:pos x="19" y="3"/>
                </a:cxn>
                <a:cxn ang="0">
                  <a:pos x="13" y="3"/>
                </a:cxn>
                <a:cxn ang="0">
                  <a:pos x="8" y="3"/>
                </a:cxn>
                <a:cxn ang="0">
                  <a:pos x="3" y="3"/>
                </a:cxn>
                <a:cxn ang="0">
                  <a:pos x="2" y="0"/>
                </a:cxn>
                <a:cxn ang="0">
                  <a:pos x="1" y="4"/>
                </a:cxn>
                <a:cxn ang="0">
                  <a:pos x="3" y="9"/>
                </a:cxn>
                <a:cxn ang="0">
                  <a:pos x="1" y="11"/>
                </a:cxn>
                <a:cxn ang="0">
                  <a:pos x="1" y="14"/>
                </a:cxn>
              </a:cxnLst>
              <a:rect l="0" t="0" r="r" b="b"/>
              <a:pathLst>
                <a:path w="33" h="23">
                  <a:moveTo>
                    <a:pt x="1" y="14"/>
                  </a:moveTo>
                  <a:cubicBezTo>
                    <a:pt x="1" y="16"/>
                    <a:pt x="3" y="15"/>
                    <a:pt x="3" y="17"/>
                  </a:cubicBezTo>
                  <a:cubicBezTo>
                    <a:pt x="4" y="19"/>
                    <a:pt x="3" y="20"/>
                    <a:pt x="4" y="21"/>
                  </a:cubicBezTo>
                  <a:cubicBezTo>
                    <a:pt x="5" y="22"/>
                    <a:pt x="4" y="20"/>
                    <a:pt x="7" y="21"/>
                  </a:cubicBezTo>
                  <a:cubicBezTo>
                    <a:pt x="9" y="21"/>
                    <a:pt x="10" y="19"/>
                    <a:pt x="11" y="20"/>
                  </a:cubicBezTo>
                  <a:cubicBezTo>
                    <a:pt x="12" y="20"/>
                    <a:pt x="11" y="18"/>
                    <a:pt x="13" y="20"/>
                  </a:cubicBezTo>
                  <a:cubicBezTo>
                    <a:pt x="14" y="22"/>
                    <a:pt x="14" y="19"/>
                    <a:pt x="15" y="21"/>
                  </a:cubicBezTo>
                  <a:cubicBezTo>
                    <a:pt x="16" y="23"/>
                    <a:pt x="17" y="21"/>
                    <a:pt x="19" y="21"/>
                  </a:cubicBezTo>
                  <a:cubicBezTo>
                    <a:pt x="22" y="21"/>
                    <a:pt x="18" y="17"/>
                    <a:pt x="21" y="18"/>
                  </a:cubicBezTo>
                  <a:cubicBezTo>
                    <a:pt x="21" y="17"/>
                    <a:pt x="22" y="18"/>
                    <a:pt x="23" y="17"/>
                  </a:cubicBezTo>
                  <a:cubicBezTo>
                    <a:pt x="23" y="15"/>
                    <a:pt x="24" y="17"/>
                    <a:pt x="25" y="16"/>
                  </a:cubicBezTo>
                  <a:cubicBezTo>
                    <a:pt x="26" y="15"/>
                    <a:pt x="27" y="17"/>
                    <a:pt x="28" y="17"/>
                  </a:cubicBezTo>
                  <a:cubicBezTo>
                    <a:pt x="29" y="17"/>
                    <a:pt x="29" y="16"/>
                    <a:pt x="30" y="16"/>
                  </a:cubicBezTo>
                  <a:cubicBezTo>
                    <a:pt x="30" y="15"/>
                    <a:pt x="28" y="16"/>
                    <a:pt x="29" y="14"/>
                  </a:cubicBezTo>
                  <a:cubicBezTo>
                    <a:pt x="29" y="12"/>
                    <a:pt x="25" y="14"/>
                    <a:pt x="28" y="12"/>
                  </a:cubicBezTo>
                  <a:cubicBezTo>
                    <a:pt x="31" y="10"/>
                    <a:pt x="28" y="10"/>
                    <a:pt x="30" y="7"/>
                  </a:cubicBezTo>
                  <a:cubicBezTo>
                    <a:pt x="31" y="4"/>
                    <a:pt x="33" y="9"/>
                    <a:pt x="33" y="4"/>
                  </a:cubicBezTo>
                  <a:cubicBezTo>
                    <a:pt x="32" y="3"/>
                    <a:pt x="31" y="4"/>
                    <a:pt x="30" y="2"/>
                  </a:cubicBezTo>
                  <a:cubicBezTo>
                    <a:pt x="28" y="0"/>
                    <a:pt x="27" y="3"/>
                    <a:pt x="26" y="1"/>
                  </a:cubicBezTo>
                  <a:cubicBezTo>
                    <a:pt x="25" y="0"/>
                    <a:pt x="21" y="2"/>
                    <a:pt x="19" y="3"/>
                  </a:cubicBezTo>
                  <a:cubicBezTo>
                    <a:pt x="16" y="5"/>
                    <a:pt x="14" y="4"/>
                    <a:pt x="13" y="3"/>
                  </a:cubicBezTo>
                  <a:cubicBezTo>
                    <a:pt x="11" y="3"/>
                    <a:pt x="10" y="5"/>
                    <a:pt x="8" y="3"/>
                  </a:cubicBezTo>
                  <a:cubicBezTo>
                    <a:pt x="5" y="2"/>
                    <a:pt x="5" y="4"/>
                    <a:pt x="3" y="3"/>
                  </a:cubicBezTo>
                  <a:cubicBezTo>
                    <a:pt x="2" y="2"/>
                    <a:pt x="6" y="2"/>
                    <a:pt x="2" y="0"/>
                  </a:cubicBezTo>
                  <a:cubicBezTo>
                    <a:pt x="2" y="2"/>
                    <a:pt x="0" y="1"/>
                    <a:pt x="1" y="4"/>
                  </a:cubicBezTo>
                  <a:cubicBezTo>
                    <a:pt x="2" y="8"/>
                    <a:pt x="5" y="7"/>
                    <a:pt x="3" y="9"/>
                  </a:cubicBezTo>
                  <a:cubicBezTo>
                    <a:pt x="2" y="11"/>
                    <a:pt x="1" y="9"/>
                    <a:pt x="1" y="11"/>
                  </a:cubicBezTo>
                  <a:cubicBezTo>
                    <a:pt x="1" y="12"/>
                    <a:pt x="3" y="13"/>
                    <a:pt x="1" y="14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9" name="Freeform 20226">
              <a:extLst>
                <a:ext uri="{FF2B5EF4-FFF2-40B4-BE49-F238E27FC236}">
                  <a16:creationId xmlns:a16="http://schemas.microsoft.com/office/drawing/2014/main" id="{1A52C909-6E7D-324E-9F5A-7AA1C5B6D6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95651" y="2876922"/>
              <a:ext cx="103044" cy="139301"/>
            </a:xfrm>
            <a:custGeom>
              <a:avLst/>
              <a:gdLst/>
              <a:ahLst/>
              <a:cxnLst>
                <a:cxn ang="0">
                  <a:pos x="7" y="26"/>
                </a:cxn>
                <a:cxn ang="0">
                  <a:pos x="8" y="28"/>
                </a:cxn>
                <a:cxn ang="0">
                  <a:pos x="9" y="31"/>
                </a:cxn>
                <a:cxn ang="0">
                  <a:pos x="11" y="29"/>
                </a:cxn>
                <a:cxn ang="0">
                  <a:pos x="15" y="28"/>
                </a:cxn>
                <a:cxn ang="0">
                  <a:pos x="19" y="28"/>
                </a:cxn>
                <a:cxn ang="0">
                  <a:pos x="19" y="25"/>
                </a:cxn>
                <a:cxn ang="0">
                  <a:pos x="21" y="23"/>
                </a:cxn>
                <a:cxn ang="0">
                  <a:pos x="19" y="18"/>
                </a:cxn>
                <a:cxn ang="0">
                  <a:pos x="20" y="14"/>
                </a:cxn>
                <a:cxn ang="0">
                  <a:pos x="19" y="11"/>
                </a:cxn>
                <a:cxn ang="0">
                  <a:pos x="17" y="12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3" y="7"/>
                </a:cxn>
                <a:cxn ang="0">
                  <a:pos x="1" y="9"/>
                </a:cxn>
                <a:cxn ang="0">
                  <a:pos x="2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8" y="24"/>
                </a:cxn>
                <a:cxn ang="0">
                  <a:pos x="6" y="25"/>
                </a:cxn>
                <a:cxn ang="0">
                  <a:pos x="7" y="26"/>
                </a:cxn>
              </a:cxnLst>
              <a:rect l="0" t="0" r="r" b="b"/>
              <a:pathLst>
                <a:path w="23" h="31">
                  <a:moveTo>
                    <a:pt x="7" y="26"/>
                  </a:moveTo>
                  <a:cubicBezTo>
                    <a:pt x="8" y="27"/>
                    <a:pt x="7" y="28"/>
                    <a:pt x="8" y="28"/>
                  </a:cubicBezTo>
                  <a:cubicBezTo>
                    <a:pt x="10" y="29"/>
                    <a:pt x="9" y="30"/>
                    <a:pt x="9" y="31"/>
                  </a:cubicBezTo>
                  <a:cubicBezTo>
                    <a:pt x="11" y="31"/>
                    <a:pt x="9" y="30"/>
                    <a:pt x="11" y="29"/>
                  </a:cubicBezTo>
                  <a:cubicBezTo>
                    <a:pt x="14" y="29"/>
                    <a:pt x="13" y="28"/>
                    <a:pt x="15" y="28"/>
                  </a:cubicBezTo>
                  <a:cubicBezTo>
                    <a:pt x="17" y="29"/>
                    <a:pt x="17" y="27"/>
                    <a:pt x="19" y="28"/>
                  </a:cubicBezTo>
                  <a:cubicBezTo>
                    <a:pt x="21" y="27"/>
                    <a:pt x="19" y="26"/>
                    <a:pt x="19" y="25"/>
                  </a:cubicBezTo>
                  <a:cubicBezTo>
                    <a:pt x="19" y="23"/>
                    <a:pt x="20" y="25"/>
                    <a:pt x="21" y="23"/>
                  </a:cubicBezTo>
                  <a:cubicBezTo>
                    <a:pt x="23" y="21"/>
                    <a:pt x="20" y="22"/>
                    <a:pt x="19" y="18"/>
                  </a:cubicBezTo>
                  <a:cubicBezTo>
                    <a:pt x="18" y="15"/>
                    <a:pt x="20" y="16"/>
                    <a:pt x="20" y="14"/>
                  </a:cubicBezTo>
                  <a:cubicBezTo>
                    <a:pt x="17" y="11"/>
                    <a:pt x="23" y="13"/>
                    <a:pt x="19" y="11"/>
                  </a:cubicBezTo>
                  <a:cubicBezTo>
                    <a:pt x="18" y="10"/>
                    <a:pt x="19" y="12"/>
                    <a:pt x="17" y="12"/>
                  </a:cubicBezTo>
                  <a:cubicBezTo>
                    <a:pt x="14" y="11"/>
                    <a:pt x="13" y="9"/>
                    <a:pt x="14" y="8"/>
                  </a:cubicBezTo>
                  <a:cubicBezTo>
                    <a:pt x="15" y="6"/>
                    <a:pt x="10" y="7"/>
                    <a:pt x="10" y="4"/>
                  </a:cubicBezTo>
                  <a:cubicBezTo>
                    <a:pt x="11" y="2"/>
                    <a:pt x="9" y="2"/>
                    <a:pt x="8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3" y="1"/>
                    <a:pt x="0" y="2"/>
                  </a:cubicBezTo>
                  <a:cubicBezTo>
                    <a:pt x="1" y="3"/>
                    <a:pt x="1" y="5"/>
                    <a:pt x="1" y="6"/>
                  </a:cubicBezTo>
                  <a:cubicBezTo>
                    <a:pt x="3" y="7"/>
                    <a:pt x="4" y="6"/>
                    <a:pt x="3" y="7"/>
                  </a:cubicBezTo>
                  <a:cubicBezTo>
                    <a:pt x="3" y="8"/>
                    <a:pt x="2" y="7"/>
                    <a:pt x="1" y="9"/>
                  </a:cubicBezTo>
                  <a:cubicBezTo>
                    <a:pt x="4" y="9"/>
                    <a:pt x="3" y="9"/>
                    <a:pt x="2" y="12"/>
                  </a:cubicBezTo>
                  <a:cubicBezTo>
                    <a:pt x="1" y="14"/>
                    <a:pt x="5" y="15"/>
                    <a:pt x="4" y="16"/>
                  </a:cubicBezTo>
                  <a:cubicBezTo>
                    <a:pt x="3" y="17"/>
                    <a:pt x="3" y="15"/>
                    <a:pt x="2" y="16"/>
                  </a:cubicBezTo>
                  <a:cubicBezTo>
                    <a:pt x="2" y="16"/>
                    <a:pt x="4" y="18"/>
                    <a:pt x="4" y="19"/>
                  </a:cubicBezTo>
                  <a:cubicBezTo>
                    <a:pt x="3" y="19"/>
                    <a:pt x="3" y="18"/>
                    <a:pt x="2" y="19"/>
                  </a:cubicBezTo>
                  <a:cubicBezTo>
                    <a:pt x="4" y="22"/>
                    <a:pt x="8" y="23"/>
                    <a:pt x="8" y="24"/>
                  </a:cubicBezTo>
                  <a:cubicBezTo>
                    <a:pt x="8" y="25"/>
                    <a:pt x="5" y="25"/>
                    <a:pt x="6" y="25"/>
                  </a:cubicBezTo>
                  <a:cubicBezTo>
                    <a:pt x="7" y="26"/>
                    <a:pt x="6" y="26"/>
                    <a:pt x="7" y="26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0" name="Freeform 20227">
              <a:extLst>
                <a:ext uri="{FF2B5EF4-FFF2-40B4-BE49-F238E27FC236}">
                  <a16:creationId xmlns:a16="http://schemas.microsoft.com/office/drawing/2014/main" id="{DB111EE7-7783-924F-B20B-A328B9959C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1908" y="2999048"/>
              <a:ext cx="62971" cy="53429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3" y="12"/>
                </a:cxn>
                <a:cxn ang="0">
                  <a:pos x="10" y="9"/>
                </a:cxn>
                <a:cxn ang="0">
                  <a:pos x="14" y="8"/>
                </a:cxn>
                <a:cxn ang="0">
                  <a:pos x="13" y="4"/>
                </a:cxn>
                <a:cxn ang="0">
                  <a:pos x="11" y="1"/>
                </a:cxn>
                <a:cxn ang="0">
                  <a:pos x="7" y="1"/>
                </a:cxn>
                <a:cxn ang="0">
                  <a:pos x="3" y="2"/>
                </a:cxn>
                <a:cxn ang="0">
                  <a:pos x="1" y="4"/>
                </a:cxn>
              </a:cxnLst>
              <a:rect l="0" t="0" r="r" b="b"/>
              <a:pathLst>
                <a:path w="14" h="12">
                  <a:moveTo>
                    <a:pt x="1" y="4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1" y="9"/>
                    <a:pt x="2" y="11"/>
                    <a:pt x="3" y="11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11" y="11"/>
                    <a:pt x="7" y="8"/>
                    <a:pt x="10" y="9"/>
                  </a:cubicBezTo>
                  <a:cubicBezTo>
                    <a:pt x="13" y="11"/>
                    <a:pt x="12" y="8"/>
                    <a:pt x="14" y="8"/>
                  </a:cubicBezTo>
                  <a:cubicBezTo>
                    <a:pt x="13" y="7"/>
                    <a:pt x="14" y="6"/>
                    <a:pt x="13" y="4"/>
                  </a:cubicBezTo>
                  <a:cubicBezTo>
                    <a:pt x="13" y="2"/>
                    <a:pt x="11" y="3"/>
                    <a:pt x="11" y="1"/>
                  </a:cubicBezTo>
                  <a:cubicBezTo>
                    <a:pt x="9" y="0"/>
                    <a:pt x="9" y="2"/>
                    <a:pt x="7" y="1"/>
                  </a:cubicBezTo>
                  <a:cubicBezTo>
                    <a:pt x="5" y="1"/>
                    <a:pt x="6" y="2"/>
                    <a:pt x="3" y="2"/>
                  </a:cubicBezTo>
                  <a:cubicBezTo>
                    <a:pt x="1" y="3"/>
                    <a:pt x="3" y="4"/>
                    <a:pt x="1" y="4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1" name="Freeform 20228">
              <a:extLst>
                <a:ext uri="{FF2B5EF4-FFF2-40B4-BE49-F238E27FC236}">
                  <a16:creationId xmlns:a16="http://schemas.microsoft.com/office/drawing/2014/main" id="{AC404ACF-D275-1344-A2EB-97164CD51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5193" y="2983782"/>
              <a:ext cx="43889" cy="10495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13"/>
                </a:cxn>
                <a:cxn ang="0">
                  <a:pos x="1" y="17"/>
                </a:cxn>
                <a:cxn ang="0">
                  <a:pos x="2" y="19"/>
                </a:cxn>
                <a:cxn ang="0">
                  <a:pos x="5" y="23"/>
                </a:cxn>
                <a:cxn ang="0">
                  <a:pos x="6" y="22"/>
                </a:cxn>
                <a:cxn ang="0">
                  <a:pos x="6" y="21"/>
                </a:cxn>
                <a:cxn ang="0">
                  <a:pos x="8" y="19"/>
                </a:cxn>
                <a:cxn ang="0">
                  <a:pos x="10" y="17"/>
                </a:cxn>
                <a:cxn ang="0">
                  <a:pos x="9" y="15"/>
                </a:cxn>
                <a:cxn ang="0">
                  <a:pos x="9" y="14"/>
                </a:cxn>
                <a:cxn ang="0">
                  <a:pos x="7" y="11"/>
                </a:cxn>
                <a:cxn ang="0">
                  <a:pos x="7" y="9"/>
                </a:cxn>
                <a:cxn ang="0">
                  <a:pos x="7" y="7"/>
                </a:cxn>
                <a:cxn ang="0">
                  <a:pos x="6" y="4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1" y="4"/>
                </a:cxn>
                <a:cxn ang="0">
                  <a:pos x="1" y="7"/>
                </a:cxn>
              </a:cxnLst>
              <a:rect l="0" t="0" r="r" b="b"/>
              <a:pathLst>
                <a:path w="10" h="23">
                  <a:moveTo>
                    <a:pt x="1" y="7"/>
                  </a:moveTo>
                  <a:cubicBezTo>
                    <a:pt x="3" y="7"/>
                    <a:pt x="1" y="13"/>
                    <a:pt x="1" y="13"/>
                  </a:cubicBezTo>
                  <a:cubicBezTo>
                    <a:pt x="2" y="14"/>
                    <a:pt x="0" y="14"/>
                    <a:pt x="1" y="17"/>
                  </a:cubicBezTo>
                  <a:cubicBezTo>
                    <a:pt x="2" y="19"/>
                    <a:pt x="0" y="17"/>
                    <a:pt x="2" y="19"/>
                  </a:cubicBezTo>
                  <a:cubicBezTo>
                    <a:pt x="5" y="21"/>
                    <a:pt x="3" y="22"/>
                    <a:pt x="5" y="23"/>
                  </a:cubicBezTo>
                  <a:cubicBezTo>
                    <a:pt x="5" y="23"/>
                    <a:pt x="6" y="23"/>
                    <a:pt x="6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8" y="21"/>
                    <a:pt x="8" y="19"/>
                  </a:cubicBezTo>
                  <a:cubicBezTo>
                    <a:pt x="8" y="16"/>
                    <a:pt x="9" y="18"/>
                    <a:pt x="10" y="17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9" y="14"/>
                    <a:pt x="9" y="13"/>
                    <a:pt x="9" y="14"/>
                  </a:cubicBezTo>
                  <a:cubicBezTo>
                    <a:pt x="8" y="14"/>
                    <a:pt x="7" y="12"/>
                    <a:pt x="7" y="11"/>
                  </a:cubicBezTo>
                  <a:cubicBezTo>
                    <a:pt x="7" y="10"/>
                    <a:pt x="6" y="10"/>
                    <a:pt x="7" y="9"/>
                  </a:cubicBezTo>
                  <a:cubicBezTo>
                    <a:pt x="7" y="9"/>
                    <a:pt x="7" y="9"/>
                    <a:pt x="7" y="7"/>
                  </a:cubicBezTo>
                  <a:cubicBezTo>
                    <a:pt x="7" y="6"/>
                    <a:pt x="8" y="5"/>
                    <a:pt x="6" y="4"/>
                  </a:cubicBezTo>
                  <a:cubicBezTo>
                    <a:pt x="5" y="4"/>
                    <a:pt x="6" y="3"/>
                    <a:pt x="5" y="2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0"/>
                    <a:pt x="2" y="3"/>
                    <a:pt x="1" y="4"/>
                  </a:cubicBezTo>
                  <a:cubicBezTo>
                    <a:pt x="0" y="6"/>
                    <a:pt x="2" y="5"/>
                    <a:pt x="1" y="7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2" name="Freeform 20229">
              <a:extLst>
                <a:ext uri="{FF2B5EF4-FFF2-40B4-BE49-F238E27FC236}">
                  <a16:creationId xmlns:a16="http://schemas.microsoft.com/office/drawing/2014/main" id="{958A4640-5C9D-3D4E-BF7F-8A75EC7D0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2680" y="2791050"/>
              <a:ext cx="158383" cy="99227"/>
            </a:xfrm>
            <a:custGeom>
              <a:avLst/>
              <a:gdLst/>
              <a:ahLst/>
              <a:cxnLst>
                <a:cxn ang="0">
                  <a:pos x="14" y="21"/>
                </a:cxn>
                <a:cxn ang="0">
                  <a:pos x="18" y="19"/>
                </a:cxn>
                <a:cxn ang="0">
                  <a:pos x="22" y="19"/>
                </a:cxn>
                <a:cxn ang="0">
                  <a:pos x="24" y="19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9" y="14"/>
                </a:cxn>
                <a:cxn ang="0">
                  <a:pos x="30" y="11"/>
                </a:cxn>
                <a:cxn ang="0">
                  <a:pos x="32" y="7"/>
                </a:cxn>
                <a:cxn ang="0">
                  <a:pos x="35" y="5"/>
                </a:cxn>
                <a:cxn ang="0">
                  <a:pos x="35" y="5"/>
                </a:cxn>
                <a:cxn ang="0">
                  <a:pos x="34" y="4"/>
                </a:cxn>
                <a:cxn ang="0">
                  <a:pos x="31" y="2"/>
                </a:cxn>
                <a:cxn ang="0">
                  <a:pos x="29" y="2"/>
                </a:cxn>
                <a:cxn ang="0">
                  <a:pos x="27" y="1"/>
                </a:cxn>
                <a:cxn ang="0">
                  <a:pos x="24" y="1"/>
                </a:cxn>
                <a:cxn ang="0">
                  <a:pos x="22" y="3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4" y="5"/>
                </a:cxn>
                <a:cxn ang="0">
                  <a:pos x="14" y="6"/>
                </a:cxn>
                <a:cxn ang="0">
                  <a:pos x="10" y="7"/>
                </a:cxn>
                <a:cxn ang="0">
                  <a:pos x="5" y="5"/>
                </a:cxn>
                <a:cxn ang="0">
                  <a:pos x="5" y="7"/>
                </a:cxn>
                <a:cxn ang="0">
                  <a:pos x="2" y="7"/>
                </a:cxn>
                <a:cxn ang="0">
                  <a:pos x="3" y="9"/>
                </a:cxn>
                <a:cxn ang="0">
                  <a:pos x="2" y="10"/>
                </a:cxn>
                <a:cxn ang="0">
                  <a:pos x="2" y="12"/>
                </a:cxn>
                <a:cxn ang="0">
                  <a:pos x="0" y="13"/>
                </a:cxn>
                <a:cxn ang="0">
                  <a:pos x="2" y="16"/>
                </a:cxn>
                <a:cxn ang="0">
                  <a:pos x="7" y="20"/>
                </a:cxn>
                <a:cxn ang="0">
                  <a:pos x="12" y="22"/>
                </a:cxn>
                <a:cxn ang="0">
                  <a:pos x="14" y="21"/>
                </a:cxn>
              </a:cxnLst>
              <a:rect l="0" t="0" r="r" b="b"/>
              <a:pathLst>
                <a:path w="35" h="22">
                  <a:moveTo>
                    <a:pt x="14" y="21"/>
                  </a:moveTo>
                  <a:cubicBezTo>
                    <a:pt x="17" y="20"/>
                    <a:pt x="17" y="19"/>
                    <a:pt x="18" y="19"/>
                  </a:cubicBezTo>
                  <a:cubicBezTo>
                    <a:pt x="19" y="19"/>
                    <a:pt x="20" y="19"/>
                    <a:pt x="22" y="19"/>
                  </a:cubicBezTo>
                  <a:cubicBezTo>
                    <a:pt x="22" y="19"/>
                    <a:pt x="23" y="19"/>
                    <a:pt x="24" y="19"/>
                  </a:cubicBezTo>
                  <a:cubicBezTo>
                    <a:pt x="25" y="18"/>
                    <a:pt x="24" y="18"/>
                    <a:pt x="24" y="18"/>
                  </a:cubicBezTo>
                  <a:cubicBezTo>
                    <a:pt x="25" y="18"/>
                    <a:pt x="25" y="18"/>
                    <a:pt x="26" y="18"/>
                  </a:cubicBezTo>
                  <a:cubicBezTo>
                    <a:pt x="26" y="18"/>
                    <a:pt x="28" y="15"/>
                    <a:pt x="29" y="14"/>
                  </a:cubicBezTo>
                  <a:cubicBezTo>
                    <a:pt x="29" y="12"/>
                    <a:pt x="28" y="12"/>
                    <a:pt x="30" y="11"/>
                  </a:cubicBezTo>
                  <a:cubicBezTo>
                    <a:pt x="32" y="9"/>
                    <a:pt x="31" y="9"/>
                    <a:pt x="32" y="7"/>
                  </a:cubicBezTo>
                  <a:cubicBezTo>
                    <a:pt x="33" y="6"/>
                    <a:pt x="33" y="8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4"/>
                    <a:pt x="34" y="4"/>
                  </a:cubicBezTo>
                  <a:cubicBezTo>
                    <a:pt x="33" y="5"/>
                    <a:pt x="34" y="3"/>
                    <a:pt x="31" y="2"/>
                  </a:cubicBezTo>
                  <a:cubicBezTo>
                    <a:pt x="31" y="2"/>
                    <a:pt x="29" y="3"/>
                    <a:pt x="29" y="2"/>
                  </a:cubicBezTo>
                  <a:cubicBezTo>
                    <a:pt x="29" y="2"/>
                    <a:pt x="28" y="0"/>
                    <a:pt x="27" y="1"/>
                  </a:cubicBezTo>
                  <a:cubicBezTo>
                    <a:pt x="26" y="2"/>
                    <a:pt x="25" y="1"/>
                    <a:pt x="24" y="1"/>
                  </a:cubicBezTo>
                  <a:cubicBezTo>
                    <a:pt x="22" y="1"/>
                    <a:pt x="23" y="3"/>
                    <a:pt x="22" y="3"/>
                  </a:cubicBezTo>
                  <a:cubicBezTo>
                    <a:pt x="22" y="3"/>
                    <a:pt x="21" y="4"/>
                    <a:pt x="20" y="4"/>
                  </a:cubicBezTo>
                  <a:cubicBezTo>
                    <a:pt x="19" y="4"/>
                    <a:pt x="18" y="2"/>
                    <a:pt x="18" y="4"/>
                  </a:cubicBezTo>
                  <a:cubicBezTo>
                    <a:pt x="17" y="5"/>
                    <a:pt x="16" y="4"/>
                    <a:pt x="14" y="5"/>
                  </a:cubicBezTo>
                  <a:cubicBezTo>
                    <a:pt x="13" y="5"/>
                    <a:pt x="14" y="6"/>
                    <a:pt x="14" y="6"/>
                  </a:cubicBezTo>
                  <a:cubicBezTo>
                    <a:pt x="14" y="7"/>
                    <a:pt x="13" y="7"/>
                    <a:pt x="10" y="7"/>
                  </a:cubicBezTo>
                  <a:cubicBezTo>
                    <a:pt x="8" y="8"/>
                    <a:pt x="7" y="5"/>
                    <a:pt x="5" y="5"/>
                  </a:cubicBezTo>
                  <a:cubicBezTo>
                    <a:pt x="5" y="6"/>
                    <a:pt x="6" y="7"/>
                    <a:pt x="5" y="7"/>
                  </a:cubicBezTo>
                  <a:cubicBezTo>
                    <a:pt x="4" y="7"/>
                    <a:pt x="2" y="7"/>
                    <a:pt x="2" y="7"/>
                  </a:cubicBezTo>
                  <a:cubicBezTo>
                    <a:pt x="2" y="8"/>
                    <a:pt x="3" y="8"/>
                    <a:pt x="3" y="9"/>
                  </a:cubicBezTo>
                  <a:cubicBezTo>
                    <a:pt x="3" y="10"/>
                    <a:pt x="2" y="9"/>
                    <a:pt x="2" y="1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3"/>
                    <a:pt x="0" y="13"/>
                  </a:cubicBezTo>
                  <a:cubicBezTo>
                    <a:pt x="2" y="14"/>
                    <a:pt x="1" y="16"/>
                    <a:pt x="2" y="16"/>
                  </a:cubicBezTo>
                  <a:cubicBezTo>
                    <a:pt x="7" y="19"/>
                    <a:pt x="6" y="20"/>
                    <a:pt x="7" y="20"/>
                  </a:cubicBezTo>
                  <a:cubicBezTo>
                    <a:pt x="8" y="20"/>
                    <a:pt x="10" y="22"/>
                    <a:pt x="12" y="22"/>
                  </a:cubicBezTo>
                  <a:cubicBezTo>
                    <a:pt x="13" y="22"/>
                    <a:pt x="13" y="20"/>
                    <a:pt x="14" y="21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3" name="Freeform 20230">
              <a:extLst>
                <a:ext uri="{FF2B5EF4-FFF2-40B4-BE49-F238E27FC236}">
                  <a16:creationId xmlns:a16="http://schemas.microsoft.com/office/drawing/2014/main" id="{98E5B52C-DA55-CD47-A0AA-AB5AE34038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46037" y="2754795"/>
              <a:ext cx="139301" cy="72512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27" y="3"/>
                </a:cxn>
                <a:cxn ang="0">
                  <a:pos x="20" y="2"/>
                </a:cxn>
                <a:cxn ang="0">
                  <a:pos x="17" y="4"/>
                </a:cxn>
                <a:cxn ang="0">
                  <a:pos x="16" y="3"/>
                </a:cxn>
                <a:cxn ang="0">
                  <a:pos x="13" y="2"/>
                </a:cxn>
                <a:cxn ang="0">
                  <a:pos x="12" y="2"/>
                </a:cxn>
                <a:cxn ang="0">
                  <a:pos x="11" y="2"/>
                </a:cxn>
                <a:cxn ang="0">
                  <a:pos x="6" y="6"/>
                </a:cxn>
                <a:cxn ang="0">
                  <a:pos x="2" y="8"/>
                </a:cxn>
                <a:cxn ang="0">
                  <a:pos x="2" y="13"/>
                </a:cxn>
                <a:cxn ang="0">
                  <a:pos x="7" y="15"/>
                </a:cxn>
                <a:cxn ang="0">
                  <a:pos x="11" y="14"/>
                </a:cxn>
                <a:cxn ang="0">
                  <a:pos x="11" y="13"/>
                </a:cxn>
                <a:cxn ang="0">
                  <a:pos x="15" y="12"/>
                </a:cxn>
                <a:cxn ang="0">
                  <a:pos x="17" y="12"/>
                </a:cxn>
                <a:cxn ang="0">
                  <a:pos x="19" y="11"/>
                </a:cxn>
                <a:cxn ang="0">
                  <a:pos x="21" y="9"/>
                </a:cxn>
                <a:cxn ang="0">
                  <a:pos x="24" y="9"/>
                </a:cxn>
                <a:cxn ang="0">
                  <a:pos x="26" y="10"/>
                </a:cxn>
                <a:cxn ang="0">
                  <a:pos x="28" y="10"/>
                </a:cxn>
                <a:cxn ang="0">
                  <a:pos x="30" y="7"/>
                </a:cxn>
                <a:cxn ang="0">
                  <a:pos x="30" y="5"/>
                </a:cxn>
              </a:cxnLst>
              <a:rect l="0" t="0" r="r" b="b"/>
              <a:pathLst>
                <a:path w="31" h="16">
                  <a:moveTo>
                    <a:pt x="30" y="5"/>
                  </a:moveTo>
                  <a:cubicBezTo>
                    <a:pt x="27" y="4"/>
                    <a:pt x="28" y="3"/>
                    <a:pt x="27" y="3"/>
                  </a:cubicBezTo>
                  <a:cubicBezTo>
                    <a:pt x="24" y="2"/>
                    <a:pt x="21" y="2"/>
                    <a:pt x="20" y="2"/>
                  </a:cubicBezTo>
                  <a:cubicBezTo>
                    <a:pt x="18" y="2"/>
                    <a:pt x="18" y="5"/>
                    <a:pt x="17" y="4"/>
                  </a:cubicBezTo>
                  <a:cubicBezTo>
                    <a:pt x="17" y="4"/>
                    <a:pt x="16" y="4"/>
                    <a:pt x="16" y="3"/>
                  </a:cubicBezTo>
                  <a:cubicBezTo>
                    <a:pt x="17" y="1"/>
                    <a:pt x="14" y="0"/>
                    <a:pt x="13" y="2"/>
                  </a:cubicBezTo>
                  <a:cubicBezTo>
                    <a:pt x="13" y="3"/>
                    <a:pt x="12" y="3"/>
                    <a:pt x="12" y="2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6" y="4"/>
                    <a:pt x="9" y="5"/>
                    <a:pt x="6" y="6"/>
                  </a:cubicBezTo>
                  <a:cubicBezTo>
                    <a:pt x="4" y="7"/>
                    <a:pt x="3" y="5"/>
                    <a:pt x="2" y="8"/>
                  </a:cubicBezTo>
                  <a:cubicBezTo>
                    <a:pt x="1" y="10"/>
                    <a:pt x="0" y="10"/>
                    <a:pt x="2" y="13"/>
                  </a:cubicBezTo>
                  <a:cubicBezTo>
                    <a:pt x="4" y="13"/>
                    <a:pt x="5" y="16"/>
                    <a:pt x="7" y="15"/>
                  </a:cubicBezTo>
                  <a:cubicBezTo>
                    <a:pt x="10" y="15"/>
                    <a:pt x="11" y="15"/>
                    <a:pt x="11" y="14"/>
                  </a:cubicBezTo>
                  <a:cubicBezTo>
                    <a:pt x="11" y="14"/>
                    <a:pt x="10" y="13"/>
                    <a:pt x="11" y="13"/>
                  </a:cubicBezTo>
                  <a:cubicBezTo>
                    <a:pt x="13" y="12"/>
                    <a:pt x="14" y="13"/>
                    <a:pt x="15" y="12"/>
                  </a:cubicBezTo>
                  <a:cubicBezTo>
                    <a:pt x="15" y="10"/>
                    <a:pt x="16" y="12"/>
                    <a:pt x="17" y="12"/>
                  </a:cubicBezTo>
                  <a:cubicBezTo>
                    <a:pt x="18" y="12"/>
                    <a:pt x="19" y="11"/>
                    <a:pt x="19" y="11"/>
                  </a:cubicBezTo>
                  <a:cubicBezTo>
                    <a:pt x="20" y="11"/>
                    <a:pt x="19" y="9"/>
                    <a:pt x="21" y="9"/>
                  </a:cubicBezTo>
                  <a:cubicBezTo>
                    <a:pt x="22" y="9"/>
                    <a:pt x="23" y="10"/>
                    <a:pt x="24" y="9"/>
                  </a:cubicBezTo>
                  <a:cubicBezTo>
                    <a:pt x="25" y="8"/>
                    <a:pt x="26" y="10"/>
                    <a:pt x="26" y="10"/>
                  </a:cubicBezTo>
                  <a:cubicBezTo>
                    <a:pt x="26" y="11"/>
                    <a:pt x="28" y="10"/>
                    <a:pt x="28" y="10"/>
                  </a:cubicBezTo>
                  <a:cubicBezTo>
                    <a:pt x="29" y="7"/>
                    <a:pt x="30" y="8"/>
                    <a:pt x="30" y="7"/>
                  </a:cubicBezTo>
                  <a:cubicBezTo>
                    <a:pt x="30" y="6"/>
                    <a:pt x="31" y="6"/>
                    <a:pt x="30" y="5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4" name="Freeform 20231">
              <a:extLst>
                <a:ext uri="{FF2B5EF4-FFF2-40B4-BE49-F238E27FC236}">
                  <a16:creationId xmlns:a16="http://schemas.microsoft.com/office/drawing/2014/main" id="{ECBD50B5-0C04-B543-9912-E54B421B5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69708" y="2848298"/>
              <a:ext cx="72512" cy="5533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5" y="4"/>
                </a:cxn>
                <a:cxn ang="0">
                  <a:pos x="11" y="6"/>
                </a:cxn>
                <a:cxn ang="0">
                  <a:pos x="12" y="8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6" y="10"/>
                </a:cxn>
                <a:cxn ang="0">
                  <a:pos x="1" y="11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1" y="6"/>
                </a:cxn>
                <a:cxn ang="0">
                  <a:pos x="0" y="5"/>
                </a:cxn>
                <a:cxn ang="0">
                  <a:pos x="1" y="3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4" y="0"/>
                </a:cxn>
              </a:cxnLst>
              <a:rect l="0" t="0" r="r" b="b"/>
              <a:pathLst>
                <a:path w="16" h="12">
                  <a:moveTo>
                    <a:pt x="14" y="0"/>
                  </a:moveTo>
                  <a:cubicBezTo>
                    <a:pt x="16" y="1"/>
                    <a:pt x="15" y="3"/>
                    <a:pt x="16" y="3"/>
                  </a:cubicBezTo>
                  <a:cubicBezTo>
                    <a:pt x="16" y="3"/>
                    <a:pt x="15" y="3"/>
                    <a:pt x="15" y="3"/>
                  </a:cubicBezTo>
                  <a:cubicBezTo>
                    <a:pt x="14" y="3"/>
                    <a:pt x="15" y="4"/>
                    <a:pt x="15" y="4"/>
                  </a:cubicBezTo>
                  <a:cubicBezTo>
                    <a:pt x="14" y="5"/>
                    <a:pt x="12" y="5"/>
                    <a:pt x="11" y="6"/>
                  </a:cubicBezTo>
                  <a:cubicBezTo>
                    <a:pt x="11" y="6"/>
                    <a:pt x="12" y="7"/>
                    <a:pt x="12" y="8"/>
                  </a:cubicBezTo>
                  <a:cubicBezTo>
                    <a:pt x="12" y="9"/>
                    <a:pt x="10" y="9"/>
                    <a:pt x="10" y="11"/>
                  </a:cubicBezTo>
                  <a:cubicBezTo>
                    <a:pt x="10" y="12"/>
                    <a:pt x="9" y="11"/>
                    <a:pt x="8" y="11"/>
                  </a:cubicBezTo>
                  <a:cubicBezTo>
                    <a:pt x="7" y="10"/>
                    <a:pt x="8" y="12"/>
                    <a:pt x="6" y="10"/>
                  </a:cubicBezTo>
                  <a:cubicBezTo>
                    <a:pt x="5" y="9"/>
                    <a:pt x="7" y="11"/>
                    <a:pt x="1" y="11"/>
                  </a:cubicBezTo>
                  <a:cubicBezTo>
                    <a:pt x="1" y="10"/>
                    <a:pt x="1" y="11"/>
                    <a:pt x="1" y="10"/>
                  </a:cubicBezTo>
                  <a:cubicBezTo>
                    <a:pt x="3" y="10"/>
                    <a:pt x="2" y="9"/>
                    <a:pt x="1" y="8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2" y="5"/>
                    <a:pt x="0" y="6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4" y="3"/>
                    <a:pt x="3" y="4"/>
                    <a:pt x="5" y="4"/>
                  </a:cubicBezTo>
                  <a:cubicBezTo>
                    <a:pt x="6" y="3"/>
                    <a:pt x="5" y="5"/>
                    <a:pt x="7" y="4"/>
                  </a:cubicBezTo>
                  <a:cubicBezTo>
                    <a:pt x="8" y="2"/>
                    <a:pt x="8" y="2"/>
                    <a:pt x="10" y="2"/>
                  </a:cubicBezTo>
                  <a:cubicBezTo>
                    <a:pt x="12" y="3"/>
                    <a:pt x="11" y="2"/>
                    <a:pt x="12" y="2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4" y="1"/>
                    <a:pt x="14" y="0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lvl="0"/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5" name="Freeform 20232">
              <a:extLst>
                <a:ext uri="{FF2B5EF4-FFF2-40B4-BE49-F238E27FC236}">
                  <a16:creationId xmlns:a16="http://schemas.microsoft.com/office/drawing/2014/main" id="{E2322A93-6108-E943-8980-9C1BAC9A4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9323" y="2897912"/>
              <a:ext cx="99227" cy="95411"/>
            </a:xfrm>
            <a:custGeom>
              <a:avLst/>
              <a:gdLst/>
              <a:ahLst/>
              <a:cxnLst>
                <a:cxn ang="0">
                  <a:pos x="19" y="14"/>
                </a:cxn>
                <a:cxn ang="0">
                  <a:pos x="21" y="14"/>
                </a:cxn>
                <a:cxn ang="0">
                  <a:pos x="19" y="11"/>
                </a:cxn>
                <a:cxn ang="0">
                  <a:pos x="21" y="11"/>
                </a:cxn>
                <a:cxn ang="0">
                  <a:pos x="19" y="7"/>
                </a:cxn>
                <a:cxn ang="0">
                  <a:pos x="18" y="4"/>
                </a:cxn>
                <a:cxn ang="0">
                  <a:pos x="16" y="3"/>
                </a:cxn>
                <a:cxn ang="0">
                  <a:pos x="13" y="3"/>
                </a:cxn>
                <a:cxn ang="0">
                  <a:pos x="9" y="2"/>
                </a:cxn>
                <a:cxn ang="0">
                  <a:pos x="5" y="2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8" y="14"/>
                </a:cxn>
                <a:cxn ang="0">
                  <a:pos x="10" y="16"/>
                </a:cxn>
                <a:cxn ang="0">
                  <a:pos x="11" y="18"/>
                </a:cxn>
                <a:cxn ang="0">
                  <a:pos x="12" y="19"/>
                </a:cxn>
                <a:cxn ang="0">
                  <a:pos x="15" y="21"/>
                </a:cxn>
                <a:cxn ang="0">
                  <a:pos x="16" y="18"/>
                </a:cxn>
                <a:cxn ang="0">
                  <a:pos x="17" y="16"/>
                </a:cxn>
                <a:cxn ang="0">
                  <a:pos x="18" y="16"/>
                </a:cxn>
                <a:cxn ang="0">
                  <a:pos x="19" y="14"/>
                </a:cxn>
              </a:cxnLst>
              <a:rect l="0" t="0" r="r" b="b"/>
              <a:pathLst>
                <a:path w="22" h="21">
                  <a:moveTo>
                    <a:pt x="19" y="14"/>
                  </a:moveTo>
                  <a:cubicBezTo>
                    <a:pt x="20" y="13"/>
                    <a:pt x="20" y="14"/>
                    <a:pt x="21" y="14"/>
                  </a:cubicBezTo>
                  <a:cubicBezTo>
                    <a:pt x="21" y="13"/>
                    <a:pt x="19" y="11"/>
                    <a:pt x="19" y="11"/>
                  </a:cubicBezTo>
                  <a:cubicBezTo>
                    <a:pt x="20" y="10"/>
                    <a:pt x="20" y="12"/>
                    <a:pt x="21" y="11"/>
                  </a:cubicBezTo>
                  <a:cubicBezTo>
                    <a:pt x="22" y="10"/>
                    <a:pt x="18" y="9"/>
                    <a:pt x="19" y="7"/>
                  </a:cubicBezTo>
                  <a:cubicBezTo>
                    <a:pt x="20" y="4"/>
                    <a:pt x="21" y="4"/>
                    <a:pt x="18" y="4"/>
                  </a:cubicBezTo>
                  <a:cubicBezTo>
                    <a:pt x="16" y="5"/>
                    <a:pt x="17" y="2"/>
                    <a:pt x="16" y="3"/>
                  </a:cubicBezTo>
                  <a:cubicBezTo>
                    <a:pt x="15" y="3"/>
                    <a:pt x="14" y="2"/>
                    <a:pt x="13" y="3"/>
                  </a:cubicBezTo>
                  <a:cubicBezTo>
                    <a:pt x="11" y="4"/>
                    <a:pt x="10" y="2"/>
                    <a:pt x="9" y="2"/>
                  </a:cubicBezTo>
                  <a:cubicBezTo>
                    <a:pt x="8" y="3"/>
                    <a:pt x="6" y="1"/>
                    <a:pt x="5" y="2"/>
                  </a:cubicBezTo>
                  <a:cubicBezTo>
                    <a:pt x="4" y="3"/>
                    <a:pt x="4" y="4"/>
                    <a:pt x="3" y="3"/>
                  </a:cubicBezTo>
                  <a:cubicBezTo>
                    <a:pt x="1" y="0"/>
                    <a:pt x="0" y="5"/>
                    <a:pt x="2" y="5"/>
                  </a:cubicBezTo>
                  <a:cubicBezTo>
                    <a:pt x="3" y="6"/>
                    <a:pt x="3" y="7"/>
                    <a:pt x="3" y="8"/>
                  </a:cubicBezTo>
                  <a:cubicBezTo>
                    <a:pt x="4" y="8"/>
                    <a:pt x="2" y="9"/>
                    <a:pt x="3" y="9"/>
                  </a:cubicBezTo>
                  <a:cubicBezTo>
                    <a:pt x="4" y="9"/>
                    <a:pt x="7" y="14"/>
                    <a:pt x="8" y="14"/>
                  </a:cubicBezTo>
                  <a:cubicBezTo>
                    <a:pt x="9" y="15"/>
                    <a:pt x="8" y="16"/>
                    <a:pt x="10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9"/>
                    <a:pt x="12" y="18"/>
                    <a:pt x="12" y="19"/>
                  </a:cubicBezTo>
                  <a:cubicBezTo>
                    <a:pt x="13" y="20"/>
                    <a:pt x="14" y="21"/>
                    <a:pt x="15" y="21"/>
                  </a:cubicBezTo>
                  <a:cubicBezTo>
                    <a:pt x="17" y="20"/>
                    <a:pt x="14" y="19"/>
                    <a:pt x="16" y="18"/>
                  </a:cubicBezTo>
                  <a:cubicBezTo>
                    <a:pt x="17" y="17"/>
                    <a:pt x="16" y="16"/>
                    <a:pt x="17" y="16"/>
                  </a:cubicBezTo>
                  <a:cubicBezTo>
                    <a:pt x="18" y="15"/>
                    <a:pt x="18" y="17"/>
                    <a:pt x="18" y="16"/>
                  </a:cubicBezTo>
                  <a:cubicBezTo>
                    <a:pt x="19" y="16"/>
                    <a:pt x="16" y="13"/>
                    <a:pt x="19" y="14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6" name="Freeform 20233">
              <a:extLst>
                <a:ext uri="{FF2B5EF4-FFF2-40B4-BE49-F238E27FC236}">
                  <a16:creationId xmlns:a16="http://schemas.microsoft.com/office/drawing/2014/main" id="{0F83DAF3-C22B-8940-9338-DB57A173B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2294" y="2957066"/>
              <a:ext cx="49613" cy="59156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11" y="6"/>
                </a:cxn>
                <a:cxn ang="0">
                  <a:pos x="9" y="7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3" y="10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1"/>
                </a:cxn>
              </a:cxnLst>
              <a:rect l="0" t="0" r="r" b="b"/>
              <a:pathLst>
                <a:path w="11" h="13">
                  <a:moveTo>
                    <a:pt x="5" y="1"/>
                  </a:moveTo>
                  <a:cubicBezTo>
                    <a:pt x="7" y="4"/>
                    <a:pt x="11" y="5"/>
                    <a:pt x="11" y="6"/>
                  </a:cubicBezTo>
                  <a:cubicBezTo>
                    <a:pt x="11" y="7"/>
                    <a:pt x="8" y="7"/>
                    <a:pt x="9" y="7"/>
                  </a:cubicBezTo>
                  <a:cubicBezTo>
                    <a:pt x="10" y="8"/>
                    <a:pt x="9" y="8"/>
                    <a:pt x="10" y="8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6"/>
                    <a:pt x="7" y="9"/>
                    <a:pt x="6" y="10"/>
                  </a:cubicBezTo>
                  <a:cubicBezTo>
                    <a:pt x="5" y="12"/>
                    <a:pt x="7" y="11"/>
                    <a:pt x="6" y="13"/>
                  </a:cubicBezTo>
                  <a:cubicBezTo>
                    <a:pt x="4" y="13"/>
                    <a:pt x="5" y="13"/>
                    <a:pt x="4" y="11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4" y="9"/>
                    <a:pt x="1" y="9"/>
                    <a:pt x="1" y="8"/>
                  </a:cubicBezTo>
                  <a:cubicBezTo>
                    <a:pt x="3" y="7"/>
                    <a:pt x="0" y="6"/>
                    <a:pt x="2" y="5"/>
                  </a:cubicBezTo>
                  <a:cubicBezTo>
                    <a:pt x="3" y="4"/>
                    <a:pt x="2" y="3"/>
                    <a:pt x="3" y="3"/>
                  </a:cubicBezTo>
                  <a:cubicBezTo>
                    <a:pt x="4" y="2"/>
                    <a:pt x="4" y="4"/>
                    <a:pt x="4" y="3"/>
                  </a:cubicBezTo>
                  <a:cubicBezTo>
                    <a:pt x="5" y="3"/>
                    <a:pt x="2" y="0"/>
                    <a:pt x="5" y="1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7" name="Freeform 20238">
              <a:extLst>
                <a:ext uri="{FF2B5EF4-FFF2-40B4-BE49-F238E27FC236}">
                  <a16:creationId xmlns:a16="http://schemas.microsoft.com/office/drawing/2014/main" id="{5FBE1FCA-C148-574E-AF2D-1B9C041A3F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62440" y="2392232"/>
              <a:ext cx="158383" cy="85871"/>
            </a:xfrm>
            <a:custGeom>
              <a:avLst/>
              <a:gdLst/>
              <a:ahLst/>
              <a:cxnLst>
                <a:cxn ang="0">
                  <a:pos x="14" y="12"/>
                </a:cxn>
                <a:cxn ang="0">
                  <a:pos x="10" y="10"/>
                </a:cxn>
                <a:cxn ang="0">
                  <a:pos x="10" y="6"/>
                </a:cxn>
                <a:cxn ang="0">
                  <a:pos x="12" y="3"/>
                </a:cxn>
                <a:cxn ang="0">
                  <a:pos x="18" y="2"/>
                </a:cxn>
                <a:cxn ang="0">
                  <a:pos x="21" y="1"/>
                </a:cxn>
                <a:cxn ang="0">
                  <a:pos x="27" y="2"/>
                </a:cxn>
                <a:cxn ang="0">
                  <a:pos x="33" y="2"/>
                </a:cxn>
                <a:cxn ang="0">
                  <a:pos x="32" y="5"/>
                </a:cxn>
                <a:cxn ang="0">
                  <a:pos x="30" y="10"/>
                </a:cxn>
                <a:cxn ang="0">
                  <a:pos x="31" y="14"/>
                </a:cxn>
                <a:cxn ang="0">
                  <a:pos x="30" y="18"/>
                </a:cxn>
                <a:cxn ang="0">
                  <a:pos x="26" y="18"/>
                </a:cxn>
                <a:cxn ang="0">
                  <a:pos x="22" y="16"/>
                </a:cxn>
                <a:cxn ang="0">
                  <a:pos x="19" y="14"/>
                </a:cxn>
                <a:cxn ang="0">
                  <a:pos x="14" y="16"/>
                </a:cxn>
                <a:cxn ang="0">
                  <a:pos x="14" y="12"/>
                </a:cxn>
                <a:cxn ang="0">
                  <a:pos x="3" y="14"/>
                </a:cxn>
                <a:cxn ang="0">
                  <a:pos x="4" y="13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7" y="10"/>
                </a:cxn>
                <a:cxn ang="0">
                  <a:pos x="5" y="9"/>
                </a:cxn>
                <a:cxn ang="0">
                  <a:pos x="2" y="10"/>
                </a:cxn>
                <a:cxn ang="0">
                  <a:pos x="1" y="10"/>
                </a:cxn>
                <a:cxn ang="0">
                  <a:pos x="1" y="12"/>
                </a:cxn>
                <a:cxn ang="0">
                  <a:pos x="2" y="13"/>
                </a:cxn>
                <a:cxn ang="0">
                  <a:pos x="2" y="14"/>
                </a:cxn>
                <a:cxn ang="0">
                  <a:pos x="2" y="15"/>
                </a:cxn>
                <a:cxn ang="0">
                  <a:pos x="3" y="14"/>
                </a:cxn>
                <a:cxn ang="0">
                  <a:pos x="6" y="8"/>
                </a:cxn>
                <a:cxn ang="0">
                  <a:pos x="7" y="8"/>
                </a:cxn>
                <a:cxn ang="0">
                  <a:pos x="6" y="7"/>
                </a:cxn>
                <a:cxn ang="0">
                  <a:pos x="5" y="6"/>
                </a:cxn>
                <a:cxn ang="0">
                  <a:pos x="2" y="7"/>
                </a:cxn>
                <a:cxn ang="0">
                  <a:pos x="3" y="7"/>
                </a:cxn>
                <a:cxn ang="0">
                  <a:pos x="5" y="9"/>
                </a:cxn>
                <a:cxn ang="0">
                  <a:pos x="6" y="8"/>
                </a:cxn>
                <a:cxn ang="0">
                  <a:pos x="9" y="10"/>
                </a:cxn>
                <a:cxn ang="0">
                  <a:pos x="7" y="9"/>
                </a:cxn>
                <a:cxn ang="0">
                  <a:pos x="9" y="10"/>
                </a:cxn>
                <a:cxn ang="0">
                  <a:pos x="9" y="6"/>
                </a:cxn>
                <a:cxn ang="0">
                  <a:pos x="8" y="6"/>
                </a:cxn>
                <a:cxn ang="0">
                  <a:pos x="9" y="6"/>
                </a:cxn>
              </a:cxnLst>
              <a:rect l="0" t="0" r="r" b="b"/>
              <a:pathLst>
                <a:path w="35" h="19">
                  <a:moveTo>
                    <a:pt x="14" y="12"/>
                  </a:moveTo>
                  <a:cubicBezTo>
                    <a:pt x="11" y="13"/>
                    <a:pt x="11" y="11"/>
                    <a:pt x="10" y="10"/>
                  </a:cubicBezTo>
                  <a:cubicBezTo>
                    <a:pt x="9" y="8"/>
                    <a:pt x="9" y="8"/>
                    <a:pt x="10" y="6"/>
                  </a:cubicBezTo>
                  <a:cubicBezTo>
                    <a:pt x="10" y="4"/>
                    <a:pt x="12" y="5"/>
                    <a:pt x="12" y="3"/>
                  </a:cubicBezTo>
                  <a:cubicBezTo>
                    <a:pt x="13" y="2"/>
                    <a:pt x="16" y="2"/>
                    <a:pt x="18" y="2"/>
                  </a:cubicBezTo>
                  <a:cubicBezTo>
                    <a:pt x="21" y="2"/>
                    <a:pt x="18" y="0"/>
                    <a:pt x="21" y="1"/>
                  </a:cubicBezTo>
                  <a:cubicBezTo>
                    <a:pt x="24" y="2"/>
                    <a:pt x="26" y="1"/>
                    <a:pt x="27" y="2"/>
                  </a:cubicBezTo>
                  <a:cubicBezTo>
                    <a:pt x="29" y="3"/>
                    <a:pt x="31" y="3"/>
                    <a:pt x="33" y="2"/>
                  </a:cubicBezTo>
                  <a:cubicBezTo>
                    <a:pt x="35" y="4"/>
                    <a:pt x="32" y="3"/>
                    <a:pt x="32" y="5"/>
                  </a:cubicBezTo>
                  <a:cubicBezTo>
                    <a:pt x="32" y="8"/>
                    <a:pt x="29" y="6"/>
                    <a:pt x="30" y="10"/>
                  </a:cubicBezTo>
                  <a:cubicBezTo>
                    <a:pt x="32" y="13"/>
                    <a:pt x="29" y="11"/>
                    <a:pt x="31" y="14"/>
                  </a:cubicBezTo>
                  <a:cubicBezTo>
                    <a:pt x="33" y="17"/>
                    <a:pt x="31" y="15"/>
                    <a:pt x="30" y="18"/>
                  </a:cubicBezTo>
                  <a:cubicBezTo>
                    <a:pt x="28" y="19"/>
                    <a:pt x="29" y="17"/>
                    <a:pt x="26" y="18"/>
                  </a:cubicBezTo>
                  <a:cubicBezTo>
                    <a:pt x="24" y="19"/>
                    <a:pt x="23" y="16"/>
                    <a:pt x="22" y="16"/>
                  </a:cubicBezTo>
                  <a:cubicBezTo>
                    <a:pt x="21" y="16"/>
                    <a:pt x="20" y="14"/>
                    <a:pt x="19" y="14"/>
                  </a:cubicBezTo>
                  <a:cubicBezTo>
                    <a:pt x="17" y="13"/>
                    <a:pt x="17" y="15"/>
                    <a:pt x="14" y="16"/>
                  </a:cubicBezTo>
                  <a:cubicBezTo>
                    <a:pt x="15" y="12"/>
                    <a:pt x="16" y="10"/>
                    <a:pt x="14" y="12"/>
                  </a:cubicBezTo>
                  <a:close/>
                  <a:moveTo>
                    <a:pt x="3" y="14"/>
                  </a:moveTo>
                  <a:cubicBezTo>
                    <a:pt x="3" y="14"/>
                    <a:pt x="4" y="12"/>
                    <a:pt x="4" y="13"/>
                  </a:cubicBezTo>
                  <a:cubicBezTo>
                    <a:pt x="5" y="13"/>
                    <a:pt x="7" y="12"/>
                    <a:pt x="7" y="11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9" y="11"/>
                    <a:pt x="9" y="11"/>
                    <a:pt x="7" y="10"/>
                  </a:cubicBezTo>
                  <a:cubicBezTo>
                    <a:pt x="6" y="9"/>
                    <a:pt x="5" y="10"/>
                    <a:pt x="5" y="9"/>
                  </a:cubicBezTo>
                  <a:cubicBezTo>
                    <a:pt x="5" y="9"/>
                    <a:pt x="3" y="9"/>
                    <a:pt x="2" y="10"/>
                  </a:cubicBezTo>
                  <a:cubicBezTo>
                    <a:pt x="2" y="11"/>
                    <a:pt x="2" y="10"/>
                    <a:pt x="1" y="10"/>
                  </a:cubicBezTo>
                  <a:cubicBezTo>
                    <a:pt x="0" y="10"/>
                    <a:pt x="2" y="11"/>
                    <a:pt x="1" y="12"/>
                  </a:cubicBezTo>
                  <a:cubicBezTo>
                    <a:pt x="1" y="12"/>
                    <a:pt x="0" y="12"/>
                    <a:pt x="2" y="13"/>
                  </a:cubicBezTo>
                  <a:cubicBezTo>
                    <a:pt x="3" y="13"/>
                    <a:pt x="3" y="14"/>
                    <a:pt x="2" y="14"/>
                  </a:cubicBezTo>
                  <a:cubicBezTo>
                    <a:pt x="1" y="14"/>
                    <a:pt x="1" y="15"/>
                    <a:pt x="2" y="15"/>
                  </a:cubicBezTo>
                  <a:cubicBezTo>
                    <a:pt x="2" y="15"/>
                    <a:pt x="3" y="15"/>
                    <a:pt x="3" y="14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8" y="7"/>
                    <a:pt x="6" y="7"/>
                  </a:cubicBezTo>
                  <a:cubicBezTo>
                    <a:pt x="5" y="6"/>
                    <a:pt x="5" y="5"/>
                    <a:pt x="5" y="6"/>
                  </a:cubicBezTo>
                  <a:cubicBezTo>
                    <a:pt x="4" y="7"/>
                    <a:pt x="3" y="6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4" y="7"/>
                    <a:pt x="4" y="9"/>
                    <a:pt x="5" y="9"/>
                  </a:cubicBezTo>
                  <a:cubicBezTo>
                    <a:pt x="5" y="9"/>
                    <a:pt x="5" y="8"/>
                    <a:pt x="6" y="8"/>
                  </a:cubicBezTo>
                  <a:close/>
                  <a:moveTo>
                    <a:pt x="9" y="10"/>
                  </a:moveTo>
                  <a:cubicBezTo>
                    <a:pt x="9" y="9"/>
                    <a:pt x="8" y="8"/>
                    <a:pt x="7" y="9"/>
                  </a:cubicBezTo>
                  <a:cubicBezTo>
                    <a:pt x="7" y="10"/>
                    <a:pt x="8" y="11"/>
                    <a:pt x="9" y="10"/>
                  </a:cubicBezTo>
                  <a:close/>
                  <a:moveTo>
                    <a:pt x="9" y="6"/>
                  </a:moveTo>
                  <a:cubicBezTo>
                    <a:pt x="9" y="6"/>
                    <a:pt x="7" y="6"/>
                    <a:pt x="8" y="6"/>
                  </a:cubicBezTo>
                  <a:cubicBezTo>
                    <a:pt x="8" y="6"/>
                    <a:pt x="9" y="7"/>
                    <a:pt x="9" y="6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58" name="Freeform 20306">
              <a:extLst>
                <a:ext uri="{FF2B5EF4-FFF2-40B4-BE49-F238E27FC236}">
                  <a16:creationId xmlns:a16="http://schemas.microsoft.com/office/drawing/2014/main" id="{5826E97A-B99A-4045-B200-45A1B930F0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69709" y="2861654"/>
              <a:ext cx="143117" cy="141209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0"/>
                </a:cxn>
                <a:cxn ang="0">
                  <a:pos x="14" y="11"/>
                </a:cxn>
                <a:cxn ang="0">
                  <a:pos x="14" y="16"/>
                </a:cxn>
                <a:cxn ang="0">
                  <a:pos x="19" y="22"/>
                </a:cxn>
                <a:cxn ang="0">
                  <a:pos x="22" y="26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21" y="26"/>
                </a:cxn>
                <a:cxn ang="0">
                  <a:pos x="11" y="19"/>
                </a:cxn>
                <a:cxn ang="0">
                  <a:pos x="6" y="9"/>
                </a:cxn>
                <a:cxn ang="0">
                  <a:pos x="1" y="8"/>
                </a:cxn>
                <a:cxn ang="0">
                  <a:pos x="6" y="7"/>
                </a:cxn>
                <a:cxn ang="0">
                  <a:pos x="10" y="8"/>
                </a:cxn>
                <a:cxn ang="0">
                  <a:pos x="11" y="3"/>
                </a:cxn>
                <a:cxn ang="0">
                  <a:pos x="15" y="0"/>
                </a:cxn>
                <a:cxn ang="0">
                  <a:pos x="21" y="4"/>
                </a:cxn>
                <a:cxn ang="0">
                  <a:pos x="28" y="5"/>
                </a:cxn>
                <a:cxn ang="0">
                  <a:pos x="31" y="10"/>
                </a:cxn>
                <a:cxn ang="0">
                  <a:pos x="16" y="25"/>
                </a:cxn>
                <a:cxn ang="0">
                  <a:pos x="19" y="25"/>
                </a:cxn>
                <a:cxn ang="0">
                  <a:pos x="18" y="24"/>
                </a:cxn>
                <a:cxn ang="0">
                  <a:pos x="18" y="24"/>
                </a:cxn>
                <a:cxn ang="0">
                  <a:pos x="19" y="27"/>
                </a:cxn>
                <a:cxn ang="0">
                  <a:pos x="18" y="27"/>
                </a:cxn>
                <a:cxn ang="0">
                  <a:pos x="6" y="10"/>
                </a:cxn>
                <a:cxn ang="0">
                  <a:pos x="7" y="12"/>
                </a:cxn>
                <a:cxn ang="0">
                  <a:pos x="5" y="10"/>
                </a:cxn>
                <a:cxn ang="0">
                  <a:pos x="5" y="12"/>
                </a:cxn>
                <a:cxn ang="0">
                  <a:pos x="5" y="10"/>
                </a:cxn>
                <a:cxn ang="0">
                  <a:pos x="7" y="14"/>
                </a:cxn>
                <a:cxn ang="0">
                  <a:pos x="7" y="15"/>
                </a:cxn>
              </a:cxnLst>
              <a:rect l="0" t="0" r="r" b="b"/>
              <a:pathLst>
                <a:path w="32" h="31">
                  <a:moveTo>
                    <a:pt x="29" y="12"/>
                  </a:moveTo>
                  <a:cubicBezTo>
                    <a:pt x="27" y="13"/>
                    <a:pt x="28" y="10"/>
                    <a:pt x="27" y="11"/>
                  </a:cubicBezTo>
                  <a:cubicBezTo>
                    <a:pt x="26" y="11"/>
                    <a:pt x="25" y="10"/>
                    <a:pt x="24" y="11"/>
                  </a:cubicBezTo>
                  <a:cubicBezTo>
                    <a:pt x="22" y="12"/>
                    <a:pt x="21" y="10"/>
                    <a:pt x="20" y="10"/>
                  </a:cubicBezTo>
                  <a:cubicBezTo>
                    <a:pt x="19" y="11"/>
                    <a:pt x="17" y="9"/>
                    <a:pt x="16" y="10"/>
                  </a:cubicBezTo>
                  <a:cubicBezTo>
                    <a:pt x="15" y="11"/>
                    <a:pt x="15" y="12"/>
                    <a:pt x="14" y="11"/>
                  </a:cubicBezTo>
                  <a:cubicBezTo>
                    <a:pt x="12" y="8"/>
                    <a:pt x="11" y="13"/>
                    <a:pt x="13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5" y="16"/>
                    <a:pt x="13" y="17"/>
                    <a:pt x="14" y="17"/>
                  </a:cubicBezTo>
                  <a:cubicBezTo>
                    <a:pt x="15" y="17"/>
                    <a:pt x="18" y="22"/>
                    <a:pt x="19" y="22"/>
                  </a:cubicBezTo>
                  <a:cubicBezTo>
                    <a:pt x="20" y="23"/>
                    <a:pt x="19" y="24"/>
                    <a:pt x="21" y="24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2" y="27"/>
                    <a:pt x="23" y="26"/>
                    <a:pt x="23" y="27"/>
                  </a:cubicBezTo>
                  <a:cubicBezTo>
                    <a:pt x="24" y="28"/>
                    <a:pt x="25" y="29"/>
                    <a:pt x="26" y="29"/>
                  </a:cubicBezTo>
                  <a:cubicBezTo>
                    <a:pt x="26" y="30"/>
                    <a:pt x="29" y="30"/>
                    <a:pt x="28" y="31"/>
                  </a:cubicBezTo>
                  <a:cubicBezTo>
                    <a:pt x="27" y="30"/>
                    <a:pt x="27" y="30"/>
                    <a:pt x="26" y="30"/>
                  </a:cubicBezTo>
                  <a:cubicBezTo>
                    <a:pt x="25" y="31"/>
                    <a:pt x="26" y="29"/>
                    <a:pt x="22" y="28"/>
                  </a:cubicBezTo>
                  <a:cubicBezTo>
                    <a:pt x="18" y="26"/>
                    <a:pt x="18" y="25"/>
                    <a:pt x="21" y="26"/>
                  </a:cubicBezTo>
                  <a:cubicBezTo>
                    <a:pt x="19" y="24"/>
                    <a:pt x="17" y="22"/>
                    <a:pt x="15" y="22"/>
                  </a:cubicBezTo>
                  <a:cubicBezTo>
                    <a:pt x="12" y="23"/>
                    <a:pt x="15" y="22"/>
                    <a:pt x="11" y="19"/>
                  </a:cubicBezTo>
                  <a:cubicBezTo>
                    <a:pt x="7" y="16"/>
                    <a:pt x="11" y="18"/>
                    <a:pt x="9" y="15"/>
                  </a:cubicBezTo>
                  <a:cubicBezTo>
                    <a:pt x="6" y="13"/>
                    <a:pt x="9" y="12"/>
                    <a:pt x="6" y="9"/>
                  </a:cubicBezTo>
                  <a:cubicBezTo>
                    <a:pt x="4" y="8"/>
                    <a:pt x="4" y="11"/>
                    <a:pt x="3" y="13"/>
                  </a:cubicBezTo>
                  <a:cubicBezTo>
                    <a:pt x="3" y="15"/>
                    <a:pt x="0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7" y="8"/>
                    <a:pt x="5" y="6"/>
                    <a:pt x="6" y="7"/>
                  </a:cubicBezTo>
                  <a:cubicBezTo>
                    <a:pt x="8" y="9"/>
                    <a:pt x="7" y="7"/>
                    <a:pt x="8" y="8"/>
                  </a:cubicBezTo>
                  <a:cubicBezTo>
                    <a:pt x="9" y="8"/>
                    <a:pt x="10" y="9"/>
                    <a:pt x="10" y="8"/>
                  </a:cubicBezTo>
                  <a:cubicBezTo>
                    <a:pt x="10" y="6"/>
                    <a:pt x="12" y="6"/>
                    <a:pt x="12" y="5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2" y="2"/>
                    <a:pt x="14" y="2"/>
                    <a:pt x="15" y="1"/>
                  </a:cubicBezTo>
                  <a:cubicBezTo>
                    <a:pt x="15" y="1"/>
                    <a:pt x="14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21" y="3"/>
                    <a:pt x="20" y="4"/>
                    <a:pt x="21" y="4"/>
                  </a:cubicBezTo>
                  <a:cubicBezTo>
                    <a:pt x="22" y="4"/>
                    <a:pt x="24" y="6"/>
                    <a:pt x="26" y="6"/>
                  </a:cubicBezTo>
                  <a:cubicBezTo>
                    <a:pt x="27" y="6"/>
                    <a:pt x="27" y="4"/>
                    <a:pt x="28" y="5"/>
                  </a:cubicBezTo>
                  <a:cubicBezTo>
                    <a:pt x="29" y="6"/>
                    <a:pt x="29" y="8"/>
                    <a:pt x="29" y="9"/>
                  </a:cubicBezTo>
                  <a:cubicBezTo>
                    <a:pt x="31" y="10"/>
                    <a:pt x="32" y="9"/>
                    <a:pt x="31" y="10"/>
                  </a:cubicBezTo>
                  <a:cubicBezTo>
                    <a:pt x="31" y="11"/>
                    <a:pt x="30" y="10"/>
                    <a:pt x="29" y="12"/>
                  </a:cubicBezTo>
                  <a:close/>
                  <a:moveTo>
                    <a:pt x="16" y="25"/>
                  </a:moveTo>
                  <a:cubicBezTo>
                    <a:pt x="15" y="25"/>
                    <a:pt x="15" y="25"/>
                    <a:pt x="17" y="25"/>
                  </a:cubicBezTo>
                  <a:cubicBezTo>
                    <a:pt x="18" y="25"/>
                    <a:pt x="20" y="25"/>
                    <a:pt x="19" y="25"/>
                  </a:cubicBezTo>
                  <a:cubicBezTo>
                    <a:pt x="18" y="25"/>
                    <a:pt x="17" y="24"/>
                    <a:pt x="16" y="25"/>
                  </a:cubicBezTo>
                  <a:close/>
                  <a:moveTo>
                    <a:pt x="18" y="24"/>
                  </a:moveTo>
                  <a:cubicBezTo>
                    <a:pt x="19" y="24"/>
                    <a:pt x="15" y="23"/>
                    <a:pt x="16" y="24"/>
                  </a:cubicBezTo>
                  <a:cubicBezTo>
                    <a:pt x="16" y="24"/>
                    <a:pt x="17" y="24"/>
                    <a:pt x="18" y="24"/>
                  </a:cubicBezTo>
                  <a:close/>
                  <a:moveTo>
                    <a:pt x="18" y="27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19" y="26"/>
                    <a:pt x="16" y="26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lose/>
                  <a:moveTo>
                    <a:pt x="7" y="11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6" y="10"/>
                    <a:pt x="5" y="11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lose/>
                  <a:moveTo>
                    <a:pt x="5" y="10"/>
                  </a:moveTo>
                  <a:cubicBezTo>
                    <a:pt x="5" y="10"/>
                    <a:pt x="4" y="10"/>
                    <a:pt x="5" y="11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4" y="12"/>
                    <a:pt x="5" y="13"/>
                    <a:pt x="6" y="14"/>
                  </a:cubicBezTo>
                  <a:cubicBezTo>
                    <a:pt x="6" y="15"/>
                    <a:pt x="5" y="11"/>
                    <a:pt x="5" y="10"/>
                  </a:cubicBezTo>
                  <a:close/>
                  <a:moveTo>
                    <a:pt x="7" y="15"/>
                  </a:moveTo>
                  <a:cubicBezTo>
                    <a:pt x="7" y="14"/>
                    <a:pt x="6" y="13"/>
                    <a:pt x="7" y="14"/>
                  </a:cubicBezTo>
                  <a:cubicBezTo>
                    <a:pt x="7" y="15"/>
                    <a:pt x="7" y="15"/>
                    <a:pt x="9" y="16"/>
                  </a:cubicBezTo>
                  <a:cubicBezTo>
                    <a:pt x="9" y="17"/>
                    <a:pt x="8" y="15"/>
                    <a:pt x="7" y="15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F420906-514F-E74E-8527-2093B3075C3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61225" y="2224369"/>
            <a:ext cx="1357599" cy="858346"/>
            <a:chOff x="3581245" y="2953249"/>
            <a:chExt cx="776650" cy="509498"/>
          </a:xfrm>
          <a:solidFill>
            <a:schemeClr val="tx2"/>
          </a:solidFill>
        </p:grpSpPr>
        <p:sp>
          <p:nvSpPr>
            <p:cNvPr id="238" name="Freeform 20203">
              <a:extLst>
                <a:ext uri="{FF2B5EF4-FFF2-40B4-BE49-F238E27FC236}">
                  <a16:creationId xmlns:a16="http://schemas.microsoft.com/office/drawing/2014/main" id="{F9C3210D-5A15-DC42-96A3-3FEC09EF80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23591" y="3413134"/>
              <a:ext cx="114494" cy="49613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4" y="7"/>
                </a:cxn>
                <a:cxn ang="0">
                  <a:pos x="14" y="10"/>
                </a:cxn>
                <a:cxn ang="0">
                  <a:pos x="23" y="3"/>
                </a:cxn>
                <a:cxn ang="0">
                  <a:pos x="20" y="7"/>
                </a:cxn>
                <a:cxn ang="0">
                  <a:pos x="22" y="7"/>
                </a:cxn>
                <a:cxn ang="0">
                  <a:pos x="23" y="3"/>
                </a:cxn>
                <a:cxn ang="0">
                  <a:pos x="24" y="2"/>
                </a:cxn>
                <a:cxn ang="0">
                  <a:pos x="25" y="0"/>
                </a:cxn>
                <a:cxn ang="0">
                  <a:pos x="23" y="2"/>
                </a:cxn>
                <a:cxn ang="0">
                  <a:pos x="24" y="2"/>
                </a:cxn>
                <a:cxn ang="0">
                  <a:pos x="10" y="7"/>
                </a:cxn>
                <a:cxn ang="0">
                  <a:pos x="11" y="4"/>
                </a:cxn>
                <a:cxn ang="0">
                  <a:pos x="7" y="6"/>
                </a:cxn>
                <a:cxn ang="0">
                  <a:pos x="8" y="8"/>
                </a:cxn>
                <a:cxn ang="0">
                  <a:pos x="10" y="7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5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2" y="10"/>
                </a:cxn>
                <a:cxn ang="0">
                  <a:pos x="1" y="9"/>
                </a:cxn>
                <a:cxn ang="0">
                  <a:pos x="2" y="10"/>
                </a:cxn>
              </a:cxnLst>
              <a:rect l="0" t="0" r="r" b="b"/>
              <a:pathLst>
                <a:path w="25" h="11">
                  <a:moveTo>
                    <a:pt x="14" y="10"/>
                  </a:moveTo>
                  <a:cubicBezTo>
                    <a:pt x="12" y="10"/>
                    <a:pt x="13" y="7"/>
                    <a:pt x="14" y="7"/>
                  </a:cubicBezTo>
                  <a:cubicBezTo>
                    <a:pt x="16" y="8"/>
                    <a:pt x="15" y="10"/>
                    <a:pt x="14" y="10"/>
                  </a:cubicBezTo>
                  <a:close/>
                  <a:moveTo>
                    <a:pt x="23" y="3"/>
                  </a:moveTo>
                  <a:cubicBezTo>
                    <a:pt x="22" y="3"/>
                    <a:pt x="22" y="6"/>
                    <a:pt x="20" y="7"/>
                  </a:cubicBezTo>
                  <a:cubicBezTo>
                    <a:pt x="19" y="8"/>
                    <a:pt x="19" y="8"/>
                    <a:pt x="22" y="7"/>
                  </a:cubicBezTo>
                  <a:cubicBezTo>
                    <a:pt x="23" y="7"/>
                    <a:pt x="24" y="4"/>
                    <a:pt x="23" y="3"/>
                  </a:cubicBezTo>
                  <a:close/>
                  <a:moveTo>
                    <a:pt x="24" y="2"/>
                  </a:moveTo>
                  <a:cubicBezTo>
                    <a:pt x="25" y="1"/>
                    <a:pt x="25" y="0"/>
                    <a:pt x="25" y="0"/>
                  </a:cubicBezTo>
                  <a:cubicBezTo>
                    <a:pt x="24" y="1"/>
                    <a:pt x="23" y="0"/>
                    <a:pt x="23" y="2"/>
                  </a:cubicBezTo>
                  <a:cubicBezTo>
                    <a:pt x="23" y="3"/>
                    <a:pt x="24" y="2"/>
                    <a:pt x="24" y="2"/>
                  </a:cubicBezTo>
                  <a:close/>
                  <a:moveTo>
                    <a:pt x="10" y="7"/>
                  </a:moveTo>
                  <a:cubicBezTo>
                    <a:pt x="10" y="5"/>
                    <a:pt x="11" y="5"/>
                    <a:pt x="11" y="4"/>
                  </a:cubicBezTo>
                  <a:cubicBezTo>
                    <a:pt x="11" y="4"/>
                    <a:pt x="9" y="5"/>
                    <a:pt x="7" y="6"/>
                  </a:cubicBezTo>
                  <a:cubicBezTo>
                    <a:pt x="6" y="6"/>
                    <a:pt x="7" y="6"/>
                    <a:pt x="8" y="8"/>
                  </a:cubicBezTo>
                  <a:cubicBezTo>
                    <a:pt x="8" y="9"/>
                    <a:pt x="9" y="8"/>
                    <a:pt x="10" y="7"/>
                  </a:cubicBezTo>
                  <a:close/>
                  <a:moveTo>
                    <a:pt x="2" y="5"/>
                  </a:moveTo>
                  <a:cubicBezTo>
                    <a:pt x="3" y="4"/>
                    <a:pt x="2" y="2"/>
                    <a:pt x="2" y="3"/>
                  </a:cubicBezTo>
                  <a:cubicBezTo>
                    <a:pt x="1" y="3"/>
                    <a:pt x="2" y="6"/>
                    <a:pt x="2" y="5"/>
                  </a:cubicBezTo>
                  <a:close/>
                  <a:moveTo>
                    <a:pt x="6" y="8"/>
                  </a:moveTo>
                  <a:cubicBezTo>
                    <a:pt x="6" y="8"/>
                    <a:pt x="6" y="7"/>
                    <a:pt x="5" y="7"/>
                  </a:cubicBezTo>
                  <a:cubicBezTo>
                    <a:pt x="4" y="7"/>
                    <a:pt x="5" y="8"/>
                    <a:pt x="6" y="8"/>
                  </a:cubicBezTo>
                  <a:close/>
                  <a:moveTo>
                    <a:pt x="2" y="10"/>
                  </a:moveTo>
                  <a:cubicBezTo>
                    <a:pt x="2" y="9"/>
                    <a:pt x="2" y="9"/>
                    <a:pt x="1" y="9"/>
                  </a:cubicBezTo>
                  <a:cubicBezTo>
                    <a:pt x="0" y="10"/>
                    <a:pt x="1" y="11"/>
                    <a:pt x="2" y="10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39" name="Freeform 20299">
              <a:extLst>
                <a:ext uri="{FF2B5EF4-FFF2-40B4-BE49-F238E27FC236}">
                  <a16:creationId xmlns:a16="http://schemas.microsoft.com/office/drawing/2014/main" id="{6B1CBD26-7931-4046-A1C1-61117C6C87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81245" y="3006681"/>
              <a:ext cx="536213" cy="303408"/>
            </a:xfrm>
            <a:custGeom>
              <a:avLst/>
              <a:gdLst/>
              <a:ahLst/>
              <a:cxnLst>
                <a:cxn ang="0">
                  <a:pos x="103" y="2"/>
                </a:cxn>
                <a:cxn ang="0">
                  <a:pos x="107" y="0"/>
                </a:cxn>
                <a:cxn ang="0">
                  <a:pos x="106" y="2"/>
                </a:cxn>
                <a:cxn ang="0">
                  <a:pos x="109" y="2"/>
                </a:cxn>
                <a:cxn ang="0">
                  <a:pos x="113" y="1"/>
                </a:cxn>
                <a:cxn ang="0">
                  <a:pos x="116" y="4"/>
                </a:cxn>
                <a:cxn ang="0">
                  <a:pos x="113" y="9"/>
                </a:cxn>
                <a:cxn ang="0">
                  <a:pos x="113" y="15"/>
                </a:cxn>
                <a:cxn ang="0">
                  <a:pos x="111" y="18"/>
                </a:cxn>
                <a:cxn ang="0">
                  <a:pos x="111" y="21"/>
                </a:cxn>
                <a:cxn ang="0">
                  <a:pos x="112" y="24"/>
                </a:cxn>
                <a:cxn ang="0">
                  <a:pos x="112" y="28"/>
                </a:cxn>
                <a:cxn ang="0">
                  <a:pos x="112" y="30"/>
                </a:cxn>
                <a:cxn ang="0">
                  <a:pos x="110" y="35"/>
                </a:cxn>
                <a:cxn ang="0">
                  <a:pos x="107" y="37"/>
                </a:cxn>
                <a:cxn ang="0">
                  <a:pos x="103" y="37"/>
                </a:cxn>
                <a:cxn ang="0">
                  <a:pos x="103" y="35"/>
                </a:cxn>
                <a:cxn ang="0">
                  <a:pos x="103" y="29"/>
                </a:cxn>
                <a:cxn ang="0">
                  <a:pos x="101" y="27"/>
                </a:cxn>
                <a:cxn ang="0">
                  <a:pos x="101" y="26"/>
                </a:cxn>
                <a:cxn ang="0">
                  <a:pos x="100" y="25"/>
                </a:cxn>
                <a:cxn ang="0">
                  <a:pos x="100" y="21"/>
                </a:cxn>
                <a:cxn ang="0">
                  <a:pos x="102" y="18"/>
                </a:cxn>
                <a:cxn ang="0">
                  <a:pos x="103" y="14"/>
                </a:cxn>
                <a:cxn ang="0">
                  <a:pos x="104" y="7"/>
                </a:cxn>
                <a:cxn ang="0">
                  <a:pos x="103" y="4"/>
                </a:cxn>
                <a:cxn ang="0">
                  <a:pos x="103" y="2"/>
                </a:cxn>
                <a:cxn ang="0">
                  <a:pos x="18" y="31"/>
                </a:cxn>
                <a:cxn ang="0">
                  <a:pos x="14" y="31"/>
                </a:cxn>
                <a:cxn ang="0">
                  <a:pos x="18" y="31"/>
                </a:cxn>
                <a:cxn ang="0">
                  <a:pos x="8" y="25"/>
                </a:cxn>
                <a:cxn ang="0">
                  <a:pos x="6" y="25"/>
                </a:cxn>
                <a:cxn ang="0">
                  <a:pos x="8" y="25"/>
                </a:cxn>
                <a:cxn ang="0">
                  <a:pos x="3" y="27"/>
                </a:cxn>
                <a:cxn ang="0">
                  <a:pos x="0" y="26"/>
                </a:cxn>
                <a:cxn ang="0">
                  <a:pos x="3" y="27"/>
                </a:cxn>
                <a:cxn ang="0">
                  <a:pos x="62" y="66"/>
                </a:cxn>
                <a:cxn ang="0">
                  <a:pos x="61" y="66"/>
                </a:cxn>
                <a:cxn ang="0">
                  <a:pos x="59" y="65"/>
                </a:cxn>
                <a:cxn ang="0">
                  <a:pos x="61" y="67"/>
                </a:cxn>
                <a:cxn ang="0">
                  <a:pos x="62" y="66"/>
                </a:cxn>
              </a:cxnLst>
              <a:rect l="0" t="0" r="r" b="b"/>
              <a:pathLst>
                <a:path w="119" h="67">
                  <a:moveTo>
                    <a:pt x="103" y="2"/>
                  </a:moveTo>
                  <a:cubicBezTo>
                    <a:pt x="106" y="0"/>
                    <a:pt x="106" y="0"/>
                    <a:pt x="107" y="0"/>
                  </a:cubicBezTo>
                  <a:cubicBezTo>
                    <a:pt x="108" y="1"/>
                    <a:pt x="105" y="2"/>
                    <a:pt x="106" y="2"/>
                  </a:cubicBezTo>
                  <a:cubicBezTo>
                    <a:pt x="107" y="3"/>
                    <a:pt x="107" y="1"/>
                    <a:pt x="109" y="2"/>
                  </a:cubicBezTo>
                  <a:cubicBezTo>
                    <a:pt x="112" y="3"/>
                    <a:pt x="110" y="1"/>
                    <a:pt x="113" y="1"/>
                  </a:cubicBezTo>
                  <a:cubicBezTo>
                    <a:pt x="116" y="2"/>
                    <a:pt x="114" y="3"/>
                    <a:pt x="116" y="4"/>
                  </a:cubicBezTo>
                  <a:cubicBezTo>
                    <a:pt x="119" y="4"/>
                    <a:pt x="113" y="8"/>
                    <a:pt x="113" y="9"/>
                  </a:cubicBezTo>
                  <a:cubicBezTo>
                    <a:pt x="114" y="14"/>
                    <a:pt x="112" y="14"/>
                    <a:pt x="113" y="15"/>
                  </a:cubicBezTo>
                  <a:cubicBezTo>
                    <a:pt x="113" y="17"/>
                    <a:pt x="113" y="18"/>
                    <a:pt x="111" y="18"/>
                  </a:cubicBezTo>
                  <a:cubicBezTo>
                    <a:pt x="109" y="18"/>
                    <a:pt x="111" y="18"/>
                    <a:pt x="111" y="21"/>
                  </a:cubicBezTo>
                  <a:cubicBezTo>
                    <a:pt x="112" y="23"/>
                    <a:pt x="114" y="21"/>
                    <a:pt x="112" y="24"/>
                  </a:cubicBezTo>
                  <a:cubicBezTo>
                    <a:pt x="110" y="27"/>
                    <a:pt x="111" y="28"/>
                    <a:pt x="112" y="28"/>
                  </a:cubicBezTo>
                  <a:cubicBezTo>
                    <a:pt x="113" y="28"/>
                    <a:pt x="114" y="28"/>
                    <a:pt x="112" y="30"/>
                  </a:cubicBezTo>
                  <a:cubicBezTo>
                    <a:pt x="110" y="31"/>
                    <a:pt x="110" y="34"/>
                    <a:pt x="110" y="35"/>
                  </a:cubicBezTo>
                  <a:cubicBezTo>
                    <a:pt x="108" y="36"/>
                    <a:pt x="109" y="38"/>
                    <a:pt x="107" y="37"/>
                  </a:cubicBezTo>
                  <a:cubicBezTo>
                    <a:pt x="104" y="36"/>
                    <a:pt x="103" y="36"/>
                    <a:pt x="103" y="37"/>
                  </a:cubicBezTo>
                  <a:cubicBezTo>
                    <a:pt x="102" y="37"/>
                    <a:pt x="102" y="37"/>
                    <a:pt x="103" y="35"/>
                  </a:cubicBezTo>
                  <a:cubicBezTo>
                    <a:pt x="104" y="30"/>
                    <a:pt x="102" y="31"/>
                    <a:pt x="103" y="29"/>
                  </a:cubicBezTo>
                  <a:cubicBezTo>
                    <a:pt x="104" y="26"/>
                    <a:pt x="102" y="26"/>
                    <a:pt x="101" y="27"/>
                  </a:cubicBezTo>
                  <a:cubicBezTo>
                    <a:pt x="101" y="27"/>
                    <a:pt x="101" y="26"/>
                    <a:pt x="101" y="26"/>
                  </a:cubicBezTo>
                  <a:cubicBezTo>
                    <a:pt x="101" y="25"/>
                    <a:pt x="102" y="25"/>
                    <a:pt x="100" y="25"/>
                  </a:cubicBezTo>
                  <a:cubicBezTo>
                    <a:pt x="98" y="25"/>
                    <a:pt x="101" y="22"/>
                    <a:pt x="100" y="21"/>
                  </a:cubicBezTo>
                  <a:cubicBezTo>
                    <a:pt x="100" y="19"/>
                    <a:pt x="101" y="21"/>
                    <a:pt x="102" y="18"/>
                  </a:cubicBezTo>
                  <a:cubicBezTo>
                    <a:pt x="103" y="15"/>
                    <a:pt x="103" y="15"/>
                    <a:pt x="103" y="14"/>
                  </a:cubicBezTo>
                  <a:cubicBezTo>
                    <a:pt x="103" y="13"/>
                    <a:pt x="105" y="9"/>
                    <a:pt x="104" y="7"/>
                  </a:cubicBezTo>
                  <a:cubicBezTo>
                    <a:pt x="103" y="6"/>
                    <a:pt x="103" y="5"/>
                    <a:pt x="103" y="4"/>
                  </a:cubicBezTo>
                  <a:cubicBezTo>
                    <a:pt x="103" y="3"/>
                    <a:pt x="102" y="3"/>
                    <a:pt x="103" y="2"/>
                  </a:cubicBezTo>
                  <a:close/>
                  <a:moveTo>
                    <a:pt x="18" y="31"/>
                  </a:moveTo>
                  <a:cubicBezTo>
                    <a:pt x="19" y="31"/>
                    <a:pt x="15" y="30"/>
                    <a:pt x="14" y="31"/>
                  </a:cubicBezTo>
                  <a:cubicBezTo>
                    <a:pt x="14" y="32"/>
                    <a:pt x="17" y="32"/>
                    <a:pt x="18" y="31"/>
                  </a:cubicBezTo>
                  <a:close/>
                  <a:moveTo>
                    <a:pt x="8" y="25"/>
                  </a:moveTo>
                  <a:cubicBezTo>
                    <a:pt x="9" y="24"/>
                    <a:pt x="6" y="24"/>
                    <a:pt x="6" y="25"/>
                  </a:cubicBezTo>
                  <a:cubicBezTo>
                    <a:pt x="6" y="25"/>
                    <a:pt x="8" y="26"/>
                    <a:pt x="8" y="25"/>
                  </a:cubicBezTo>
                  <a:close/>
                  <a:moveTo>
                    <a:pt x="3" y="27"/>
                  </a:moveTo>
                  <a:cubicBezTo>
                    <a:pt x="4" y="27"/>
                    <a:pt x="1" y="25"/>
                    <a:pt x="0" y="26"/>
                  </a:cubicBezTo>
                  <a:cubicBezTo>
                    <a:pt x="0" y="27"/>
                    <a:pt x="1" y="27"/>
                    <a:pt x="3" y="27"/>
                  </a:cubicBezTo>
                  <a:close/>
                  <a:moveTo>
                    <a:pt x="62" y="66"/>
                  </a:moveTo>
                  <a:cubicBezTo>
                    <a:pt x="63" y="66"/>
                    <a:pt x="61" y="66"/>
                    <a:pt x="61" y="66"/>
                  </a:cubicBezTo>
                  <a:cubicBezTo>
                    <a:pt x="60" y="66"/>
                    <a:pt x="60" y="65"/>
                    <a:pt x="59" y="65"/>
                  </a:cubicBezTo>
                  <a:cubicBezTo>
                    <a:pt x="59" y="66"/>
                    <a:pt x="59" y="66"/>
                    <a:pt x="61" y="67"/>
                  </a:cubicBezTo>
                  <a:cubicBezTo>
                    <a:pt x="61" y="67"/>
                    <a:pt x="62" y="66"/>
                    <a:pt x="62" y="66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40" name="Freeform 20312">
              <a:extLst>
                <a:ext uri="{FF2B5EF4-FFF2-40B4-BE49-F238E27FC236}">
                  <a16:creationId xmlns:a16="http://schemas.microsoft.com/office/drawing/2014/main" id="{858B67DF-B978-3C44-8B54-6853A184D4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31588" y="2953249"/>
              <a:ext cx="326307" cy="25188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1" y="7"/>
                </a:cxn>
                <a:cxn ang="0">
                  <a:pos x="5" y="4"/>
                </a:cxn>
                <a:cxn ang="0">
                  <a:pos x="7" y="1"/>
                </a:cxn>
                <a:cxn ang="0">
                  <a:pos x="14" y="2"/>
                </a:cxn>
                <a:cxn ang="0">
                  <a:pos x="21" y="2"/>
                </a:cxn>
                <a:cxn ang="0">
                  <a:pos x="32" y="3"/>
                </a:cxn>
                <a:cxn ang="0">
                  <a:pos x="37" y="3"/>
                </a:cxn>
                <a:cxn ang="0">
                  <a:pos x="40" y="3"/>
                </a:cxn>
                <a:cxn ang="0">
                  <a:pos x="42" y="5"/>
                </a:cxn>
                <a:cxn ang="0">
                  <a:pos x="46" y="7"/>
                </a:cxn>
                <a:cxn ang="0">
                  <a:pos x="49" y="8"/>
                </a:cxn>
                <a:cxn ang="0">
                  <a:pos x="52" y="8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62" y="10"/>
                </a:cxn>
                <a:cxn ang="0">
                  <a:pos x="65" y="10"/>
                </a:cxn>
                <a:cxn ang="0">
                  <a:pos x="66" y="13"/>
                </a:cxn>
                <a:cxn ang="0">
                  <a:pos x="61" y="18"/>
                </a:cxn>
                <a:cxn ang="0">
                  <a:pos x="53" y="21"/>
                </a:cxn>
                <a:cxn ang="0">
                  <a:pos x="53" y="24"/>
                </a:cxn>
                <a:cxn ang="0">
                  <a:pos x="48" y="33"/>
                </a:cxn>
                <a:cxn ang="0">
                  <a:pos x="50" y="37"/>
                </a:cxn>
                <a:cxn ang="0">
                  <a:pos x="45" y="44"/>
                </a:cxn>
                <a:cxn ang="0">
                  <a:pos x="43" y="45"/>
                </a:cxn>
                <a:cxn ang="0">
                  <a:pos x="37" y="50"/>
                </a:cxn>
                <a:cxn ang="0">
                  <a:pos x="30" y="51"/>
                </a:cxn>
                <a:cxn ang="0">
                  <a:pos x="26" y="52"/>
                </a:cxn>
                <a:cxn ang="0">
                  <a:pos x="22" y="53"/>
                </a:cxn>
                <a:cxn ang="0">
                  <a:pos x="20" y="55"/>
                </a:cxn>
                <a:cxn ang="0">
                  <a:pos x="18" y="55"/>
                </a:cxn>
                <a:cxn ang="0">
                  <a:pos x="15" y="50"/>
                </a:cxn>
                <a:cxn ang="0">
                  <a:pos x="10" y="47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1" y="33"/>
                </a:cxn>
                <a:cxn ang="0">
                  <a:pos x="11" y="30"/>
                </a:cxn>
                <a:cxn ang="0">
                  <a:pos x="13" y="27"/>
                </a:cxn>
                <a:cxn ang="0">
                  <a:pos x="13" y="21"/>
                </a:cxn>
                <a:cxn ang="0">
                  <a:pos x="16" y="16"/>
                </a:cxn>
                <a:cxn ang="0">
                  <a:pos x="13" y="13"/>
                </a:cxn>
                <a:cxn ang="0">
                  <a:pos x="9" y="14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3" y="14"/>
                </a:cxn>
                <a:cxn ang="0">
                  <a:pos x="2" y="10"/>
                </a:cxn>
                <a:cxn ang="0">
                  <a:pos x="63" y="31"/>
                </a:cxn>
                <a:cxn ang="0">
                  <a:pos x="64" y="33"/>
                </a:cxn>
                <a:cxn ang="0">
                  <a:pos x="67" y="30"/>
                </a:cxn>
                <a:cxn ang="0">
                  <a:pos x="66" y="29"/>
                </a:cxn>
                <a:cxn ang="0">
                  <a:pos x="62" y="31"/>
                </a:cxn>
                <a:cxn ang="0">
                  <a:pos x="63" y="31"/>
                </a:cxn>
                <a:cxn ang="0">
                  <a:pos x="71" y="28"/>
                </a:cxn>
                <a:cxn ang="0">
                  <a:pos x="71" y="28"/>
                </a:cxn>
                <a:cxn ang="0">
                  <a:pos x="69" y="28"/>
                </a:cxn>
                <a:cxn ang="0">
                  <a:pos x="71" y="28"/>
                </a:cxn>
                <a:cxn ang="0">
                  <a:pos x="55" y="36"/>
                </a:cxn>
                <a:cxn ang="0">
                  <a:pos x="57" y="34"/>
                </a:cxn>
                <a:cxn ang="0">
                  <a:pos x="55" y="36"/>
                </a:cxn>
                <a:cxn ang="0">
                  <a:pos x="57" y="9"/>
                </a:cxn>
                <a:cxn ang="0">
                  <a:pos x="58" y="10"/>
                </a:cxn>
                <a:cxn ang="0">
                  <a:pos x="57" y="9"/>
                </a:cxn>
              </a:cxnLst>
              <a:rect l="0" t="0" r="r" b="b"/>
              <a:pathLst>
                <a:path w="72" h="56">
                  <a:moveTo>
                    <a:pt x="2" y="10"/>
                  </a:moveTo>
                  <a:cubicBezTo>
                    <a:pt x="1" y="8"/>
                    <a:pt x="2" y="7"/>
                    <a:pt x="1" y="7"/>
                  </a:cubicBezTo>
                  <a:cubicBezTo>
                    <a:pt x="0" y="6"/>
                    <a:pt x="2" y="4"/>
                    <a:pt x="5" y="4"/>
                  </a:cubicBezTo>
                  <a:cubicBezTo>
                    <a:pt x="7" y="4"/>
                    <a:pt x="5" y="2"/>
                    <a:pt x="7" y="1"/>
                  </a:cubicBezTo>
                  <a:cubicBezTo>
                    <a:pt x="10" y="0"/>
                    <a:pt x="10" y="2"/>
                    <a:pt x="14" y="2"/>
                  </a:cubicBezTo>
                  <a:cubicBezTo>
                    <a:pt x="18" y="2"/>
                    <a:pt x="18" y="1"/>
                    <a:pt x="21" y="2"/>
                  </a:cubicBezTo>
                  <a:cubicBezTo>
                    <a:pt x="26" y="4"/>
                    <a:pt x="28" y="2"/>
                    <a:pt x="32" y="3"/>
                  </a:cubicBezTo>
                  <a:cubicBezTo>
                    <a:pt x="35" y="4"/>
                    <a:pt x="34" y="2"/>
                    <a:pt x="37" y="3"/>
                  </a:cubicBezTo>
                  <a:cubicBezTo>
                    <a:pt x="38" y="4"/>
                    <a:pt x="39" y="3"/>
                    <a:pt x="40" y="3"/>
                  </a:cubicBezTo>
                  <a:cubicBezTo>
                    <a:pt x="41" y="4"/>
                    <a:pt x="42" y="3"/>
                    <a:pt x="42" y="5"/>
                  </a:cubicBezTo>
                  <a:cubicBezTo>
                    <a:pt x="42" y="6"/>
                    <a:pt x="45" y="5"/>
                    <a:pt x="46" y="7"/>
                  </a:cubicBezTo>
                  <a:cubicBezTo>
                    <a:pt x="46" y="8"/>
                    <a:pt x="48" y="7"/>
                    <a:pt x="49" y="8"/>
                  </a:cubicBezTo>
                  <a:cubicBezTo>
                    <a:pt x="50" y="9"/>
                    <a:pt x="50" y="7"/>
                    <a:pt x="52" y="8"/>
                  </a:cubicBezTo>
                  <a:cubicBezTo>
                    <a:pt x="54" y="8"/>
                    <a:pt x="51" y="5"/>
                    <a:pt x="57" y="9"/>
                  </a:cubicBezTo>
                  <a:cubicBezTo>
                    <a:pt x="57" y="10"/>
                    <a:pt x="58" y="10"/>
                    <a:pt x="58" y="10"/>
                  </a:cubicBezTo>
                  <a:cubicBezTo>
                    <a:pt x="61" y="11"/>
                    <a:pt x="61" y="10"/>
                    <a:pt x="62" y="10"/>
                  </a:cubicBezTo>
                  <a:cubicBezTo>
                    <a:pt x="64" y="11"/>
                    <a:pt x="63" y="10"/>
                    <a:pt x="65" y="10"/>
                  </a:cubicBezTo>
                  <a:cubicBezTo>
                    <a:pt x="68" y="12"/>
                    <a:pt x="65" y="11"/>
                    <a:pt x="66" y="13"/>
                  </a:cubicBezTo>
                  <a:cubicBezTo>
                    <a:pt x="67" y="15"/>
                    <a:pt x="61" y="16"/>
                    <a:pt x="61" y="18"/>
                  </a:cubicBezTo>
                  <a:cubicBezTo>
                    <a:pt x="60" y="19"/>
                    <a:pt x="54" y="19"/>
                    <a:pt x="53" y="21"/>
                  </a:cubicBezTo>
                  <a:cubicBezTo>
                    <a:pt x="53" y="23"/>
                    <a:pt x="56" y="22"/>
                    <a:pt x="53" y="24"/>
                  </a:cubicBezTo>
                  <a:cubicBezTo>
                    <a:pt x="51" y="24"/>
                    <a:pt x="47" y="30"/>
                    <a:pt x="48" y="33"/>
                  </a:cubicBezTo>
                  <a:cubicBezTo>
                    <a:pt x="48" y="36"/>
                    <a:pt x="50" y="36"/>
                    <a:pt x="50" y="37"/>
                  </a:cubicBezTo>
                  <a:cubicBezTo>
                    <a:pt x="50" y="37"/>
                    <a:pt x="44" y="40"/>
                    <a:pt x="45" y="44"/>
                  </a:cubicBezTo>
                  <a:cubicBezTo>
                    <a:pt x="45" y="45"/>
                    <a:pt x="45" y="45"/>
                    <a:pt x="43" y="45"/>
                  </a:cubicBezTo>
                  <a:cubicBezTo>
                    <a:pt x="39" y="45"/>
                    <a:pt x="39" y="52"/>
                    <a:pt x="37" y="50"/>
                  </a:cubicBezTo>
                  <a:cubicBezTo>
                    <a:pt x="36" y="49"/>
                    <a:pt x="33" y="52"/>
                    <a:pt x="30" y="51"/>
                  </a:cubicBezTo>
                  <a:cubicBezTo>
                    <a:pt x="28" y="50"/>
                    <a:pt x="26" y="51"/>
                    <a:pt x="26" y="52"/>
                  </a:cubicBezTo>
                  <a:cubicBezTo>
                    <a:pt x="25" y="53"/>
                    <a:pt x="23" y="52"/>
                    <a:pt x="22" y="53"/>
                  </a:cubicBezTo>
                  <a:cubicBezTo>
                    <a:pt x="21" y="55"/>
                    <a:pt x="21" y="55"/>
                    <a:pt x="20" y="55"/>
                  </a:cubicBezTo>
                  <a:cubicBezTo>
                    <a:pt x="20" y="56"/>
                    <a:pt x="20" y="56"/>
                    <a:pt x="18" y="55"/>
                  </a:cubicBezTo>
                  <a:cubicBezTo>
                    <a:pt x="16" y="53"/>
                    <a:pt x="15" y="52"/>
                    <a:pt x="15" y="50"/>
                  </a:cubicBezTo>
                  <a:cubicBezTo>
                    <a:pt x="15" y="49"/>
                    <a:pt x="13" y="46"/>
                    <a:pt x="10" y="47"/>
                  </a:cubicBezTo>
                  <a:cubicBezTo>
                    <a:pt x="10" y="46"/>
                    <a:pt x="10" y="43"/>
                    <a:pt x="12" y="42"/>
                  </a:cubicBezTo>
                  <a:cubicBezTo>
                    <a:pt x="14" y="40"/>
                    <a:pt x="13" y="40"/>
                    <a:pt x="12" y="40"/>
                  </a:cubicBezTo>
                  <a:cubicBezTo>
                    <a:pt x="11" y="40"/>
                    <a:pt x="10" y="39"/>
                    <a:pt x="12" y="36"/>
                  </a:cubicBezTo>
                  <a:cubicBezTo>
                    <a:pt x="14" y="33"/>
                    <a:pt x="12" y="35"/>
                    <a:pt x="11" y="33"/>
                  </a:cubicBezTo>
                  <a:cubicBezTo>
                    <a:pt x="11" y="30"/>
                    <a:pt x="9" y="30"/>
                    <a:pt x="11" y="30"/>
                  </a:cubicBezTo>
                  <a:cubicBezTo>
                    <a:pt x="13" y="30"/>
                    <a:pt x="13" y="29"/>
                    <a:pt x="13" y="27"/>
                  </a:cubicBezTo>
                  <a:cubicBezTo>
                    <a:pt x="12" y="26"/>
                    <a:pt x="14" y="26"/>
                    <a:pt x="13" y="21"/>
                  </a:cubicBezTo>
                  <a:cubicBezTo>
                    <a:pt x="13" y="20"/>
                    <a:pt x="19" y="16"/>
                    <a:pt x="16" y="16"/>
                  </a:cubicBezTo>
                  <a:cubicBezTo>
                    <a:pt x="14" y="15"/>
                    <a:pt x="16" y="14"/>
                    <a:pt x="13" y="13"/>
                  </a:cubicBezTo>
                  <a:cubicBezTo>
                    <a:pt x="10" y="13"/>
                    <a:pt x="12" y="15"/>
                    <a:pt x="9" y="14"/>
                  </a:cubicBezTo>
                  <a:cubicBezTo>
                    <a:pt x="7" y="13"/>
                    <a:pt x="7" y="15"/>
                    <a:pt x="6" y="14"/>
                  </a:cubicBezTo>
                  <a:cubicBezTo>
                    <a:pt x="5" y="14"/>
                    <a:pt x="8" y="13"/>
                    <a:pt x="7" y="12"/>
                  </a:cubicBezTo>
                  <a:cubicBezTo>
                    <a:pt x="6" y="12"/>
                    <a:pt x="6" y="12"/>
                    <a:pt x="3" y="14"/>
                  </a:cubicBezTo>
                  <a:cubicBezTo>
                    <a:pt x="2" y="13"/>
                    <a:pt x="3" y="11"/>
                    <a:pt x="2" y="10"/>
                  </a:cubicBezTo>
                  <a:close/>
                  <a:moveTo>
                    <a:pt x="63" y="31"/>
                  </a:moveTo>
                  <a:cubicBezTo>
                    <a:pt x="64" y="31"/>
                    <a:pt x="63" y="32"/>
                    <a:pt x="64" y="33"/>
                  </a:cubicBezTo>
                  <a:cubicBezTo>
                    <a:pt x="66" y="33"/>
                    <a:pt x="66" y="31"/>
                    <a:pt x="67" y="30"/>
                  </a:cubicBezTo>
                  <a:cubicBezTo>
                    <a:pt x="68" y="28"/>
                    <a:pt x="66" y="30"/>
                    <a:pt x="66" y="29"/>
                  </a:cubicBezTo>
                  <a:cubicBezTo>
                    <a:pt x="65" y="27"/>
                    <a:pt x="61" y="30"/>
                    <a:pt x="62" y="31"/>
                  </a:cubicBezTo>
                  <a:cubicBezTo>
                    <a:pt x="62" y="31"/>
                    <a:pt x="61" y="31"/>
                    <a:pt x="63" y="31"/>
                  </a:cubicBezTo>
                  <a:close/>
                  <a:moveTo>
                    <a:pt x="71" y="28"/>
                  </a:moveTo>
                  <a:cubicBezTo>
                    <a:pt x="71" y="29"/>
                    <a:pt x="72" y="29"/>
                    <a:pt x="71" y="28"/>
                  </a:cubicBezTo>
                  <a:cubicBezTo>
                    <a:pt x="71" y="27"/>
                    <a:pt x="69" y="27"/>
                    <a:pt x="69" y="28"/>
                  </a:cubicBezTo>
                  <a:cubicBezTo>
                    <a:pt x="69" y="28"/>
                    <a:pt x="70" y="28"/>
                    <a:pt x="71" y="28"/>
                  </a:cubicBezTo>
                  <a:close/>
                  <a:moveTo>
                    <a:pt x="55" y="36"/>
                  </a:moveTo>
                  <a:cubicBezTo>
                    <a:pt x="56" y="36"/>
                    <a:pt x="58" y="35"/>
                    <a:pt x="57" y="34"/>
                  </a:cubicBezTo>
                  <a:cubicBezTo>
                    <a:pt x="56" y="33"/>
                    <a:pt x="55" y="35"/>
                    <a:pt x="55" y="36"/>
                  </a:cubicBezTo>
                  <a:close/>
                  <a:moveTo>
                    <a:pt x="57" y="9"/>
                  </a:moveTo>
                  <a:cubicBezTo>
                    <a:pt x="57" y="10"/>
                    <a:pt x="58" y="10"/>
                    <a:pt x="58" y="10"/>
                  </a:cubicBezTo>
                  <a:cubicBezTo>
                    <a:pt x="58" y="9"/>
                    <a:pt x="58" y="8"/>
                    <a:pt x="57" y="9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CC6BEF0D-C868-C348-8806-9843F3BCAFA7}"/>
              </a:ext>
            </a:extLst>
          </p:cNvPr>
          <p:cNvGrpSpPr/>
          <p:nvPr userDrawn="1"/>
        </p:nvGrpSpPr>
        <p:grpSpPr>
          <a:xfrm>
            <a:off x="4711307" y="2247450"/>
            <a:ext cx="1028673" cy="754203"/>
            <a:chOff x="4867392" y="2983782"/>
            <a:chExt cx="1146845" cy="923584"/>
          </a:xfrm>
          <a:solidFill>
            <a:schemeClr val="tx2"/>
          </a:solidFill>
        </p:grpSpPr>
        <p:sp>
          <p:nvSpPr>
            <p:cNvPr id="208" name="Freeform 20241">
              <a:extLst>
                <a:ext uri="{FF2B5EF4-FFF2-40B4-BE49-F238E27FC236}">
                  <a16:creationId xmlns:a16="http://schemas.microsoft.com/office/drawing/2014/main" id="{62864D58-600D-5B49-AF62-42DBFA30CE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4377" y="3084917"/>
              <a:ext cx="36257" cy="30531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7" y="4"/>
                </a:cxn>
                <a:cxn ang="0">
                  <a:pos x="8" y="7"/>
                </a:cxn>
                <a:cxn ang="0">
                  <a:pos x="6" y="7"/>
                </a:cxn>
                <a:cxn ang="0">
                  <a:pos x="0" y="1"/>
                </a:cxn>
              </a:cxnLst>
              <a:rect l="0" t="0" r="r" b="b"/>
              <a:pathLst>
                <a:path w="8" h="7">
                  <a:moveTo>
                    <a:pt x="0" y="1"/>
                  </a:moveTo>
                  <a:cubicBezTo>
                    <a:pt x="1" y="1"/>
                    <a:pt x="1" y="0"/>
                    <a:pt x="2" y="0"/>
                  </a:cubicBezTo>
                  <a:cubicBezTo>
                    <a:pt x="3" y="1"/>
                    <a:pt x="2" y="2"/>
                    <a:pt x="3" y="2"/>
                  </a:cubicBezTo>
                  <a:cubicBezTo>
                    <a:pt x="4" y="1"/>
                    <a:pt x="3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2"/>
                    <a:pt x="5" y="3"/>
                    <a:pt x="6" y="3"/>
                  </a:cubicBezTo>
                  <a:cubicBezTo>
                    <a:pt x="6" y="3"/>
                    <a:pt x="7" y="4"/>
                    <a:pt x="7" y="4"/>
                  </a:cubicBezTo>
                  <a:cubicBezTo>
                    <a:pt x="7" y="5"/>
                    <a:pt x="7" y="6"/>
                    <a:pt x="8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3" y="6"/>
                    <a:pt x="2" y="3"/>
                    <a:pt x="0" y="1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E43E0BB7-18E5-5049-8EBA-93D91BF0EA69}"/>
                </a:ext>
              </a:extLst>
            </p:cNvPr>
            <p:cNvGrpSpPr/>
            <p:nvPr userDrawn="1"/>
          </p:nvGrpSpPr>
          <p:grpSpPr>
            <a:xfrm>
              <a:off x="4867392" y="2983782"/>
              <a:ext cx="1146845" cy="923584"/>
              <a:chOff x="4867392" y="2983782"/>
              <a:chExt cx="1146845" cy="923584"/>
            </a:xfrm>
            <a:grpFill/>
          </p:grpSpPr>
          <p:sp>
            <p:nvSpPr>
              <p:cNvPr id="210" name="Freeform 20242">
                <a:extLst>
                  <a:ext uri="{FF2B5EF4-FFF2-40B4-BE49-F238E27FC236}">
                    <a16:creationId xmlns:a16="http://schemas.microsoft.com/office/drawing/2014/main" id="{D9FADB4B-B285-534F-AF82-7D3B996AA3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73844" y="3033397"/>
                <a:ext cx="76329" cy="82053"/>
              </a:xfrm>
              <a:custGeom>
                <a:avLst/>
                <a:gdLst/>
                <a:ahLst/>
                <a:cxnLst>
                  <a:cxn ang="0">
                    <a:pos x="16" y="18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7" y="15"/>
                  </a:cxn>
                  <a:cxn ang="0">
                    <a:pos x="16" y="14"/>
                  </a:cxn>
                  <a:cxn ang="0">
                    <a:pos x="17" y="13"/>
                  </a:cxn>
                  <a:cxn ang="0">
                    <a:pos x="15" y="12"/>
                  </a:cxn>
                  <a:cxn ang="0">
                    <a:pos x="13" y="10"/>
                  </a:cxn>
                  <a:cxn ang="0">
                    <a:pos x="12" y="10"/>
                  </a:cxn>
                  <a:cxn ang="0">
                    <a:pos x="13" y="10"/>
                  </a:cxn>
                  <a:cxn ang="0">
                    <a:pos x="14" y="8"/>
                  </a:cxn>
                  <a:cxn ang="0">
                    <a:pos x="11" y="6"/>
                  </a:cxn>
                  <a:cxn ang="0">
                    <a:pos x="12" y="4"/>
                  </a:cxn>
                  <a:cxn ang="0">
                    <a:pos x="9" y="0"/>
                  </a:cxn>
                  <a:cxn ang="0">
                    <a:pos x="8" y="1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5"/>
                  </a:cxn>
                  <a:cxn ang="0">
                    <a:pos x="1" y="7"/>
                  </a:cxn>
                  <a:cxn ang="0">
                    <a:pos x="2" y="8"/>
                  </a:cxn>
                  <a:cxn ang="0">
                    <a:pos x="1" y="9"/>
                  </a:cxn>
                  <a:cxn ang="0">
                    <a:pos x="6" y="10"/>
                  </a:cxn>
                  <a:cxn ang="0">
                    <a:pos x="7" y="12"/>
                  </a:cxn>
                  <a:cxn ang="0">
                    <a:pos x="9" y="11"/>
                  </a:cxn>
                  <a:cxn ang="0">
                    <a:pos x="10" y="13"/>
                  </a:cxn>
                  <a:cxn ang="0">
                    <a:pos x="11" y="13"/>
                  </a:cxn>
                  <a:cxn ang="0">
                    <a:pos x="12" y="13"/>
                  </a:cxn>
                  <a:cxn ang="0">
                    <a:pos x="13" y="14"/>
                  </a:cxn>
                  <a:cxn ang="0">
                    <a:pos x="14" y="15"/>
                  </a:cxn>
                  <a:cxn ang="0">
                    <a:pos x="15" y="18"/>
                  </a:cxn>
                  <a:cxn ang="0">
                    <a:pos x="16" y="17"/>
                  </a:cxn>
                  <a:cxn ang="0">
                    <a:pos x="16" y="18"/>
                  </a:cxn>
                </a:cxnLst>
                <a:rect l="0" t="0" r="r" b="b"/>
                <a:pathLst>
                  <a:path w="17" h="18">
                    <a:moveTo>
                      <a:pt x="16" y="18"/>
                    </a:moveTo>
                    <a:cubicBezTo>
                      <a:pt x="16" y="17"/>
                      <a:pt x="16" y="17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5"/>
                      <a:pt x="17" y="15"/>
                      <a:pt x="17" y="15"/>
                    </a:cubicBezTo>
                    <a:cubicBezTo>
                      <a:pt x="17" y="15"/>
                      <a:pt x="15" y="14"/>
                      <a:pt x="16" y="14"/>
                    </a:cubicBezTo>
                    <a:cubicBezTo>
                      <a:pt x="16" y="13"/>
                      <a:pt x="17" y="14"/>
                      <a:pt x="17" y="13"/>
                    </a:cubicBezTo>
                    <a:cubicBezTo>
                      <a:pt x="17" y="12"/>
                      <a:pt x="15" y="13"/>
                      <a:pt x="15" y="12"/>
                    </a:cubicBezTo>
                    <a:cubicBezTo>
                      <a:pt x="14" y="12"/>
                      <a:pt x="13" y="11"/>
                      <a:pt x="13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1" y="9"/>
                      <a:pt x="13" y="10"/>
                      <a:pt x="13" y="10"/>
                    </a:cubicBezTo>
                    <a:cubicBezTo>
                      <a:pt x="13" y="9"/>
                      <a:pt x="14" y="8"/>
                      <a:pt x="14" y="8"/>
                    </a:cubicBezTo>
                    <a:cubicBezTo>
                      <a:pt x="14" y="8"/>
                      <a:pt x="11" y="6"/>
                      <a:pt x="11" y="6"/>
                    </a:cubicBezTo>
                    <a:cubicBezTo>
                      <a:pt x="10" y="4"/>
                      <a:pt x="12" y="4"/>
                      <a:pt x="12" y="4"/>
                    </a:cubicBezTo>
                    <a:cubicBezTo>
                      <a:pt x="12" y="3"/>
                      <a:pt x="9" y="1"/>
                      <a:pt x="9" y="0"/>
                    </a:cubicBezTo>
                    <a:cubicBezTo>
                      <a:pt x="8" y="0"/>
                      <a:pt x="8" y="1"/>
                      <a:pt x="8" y="1"/>
                    </a:cubicBezTo>
                    <a:cubicBezTo>
                      <a:pt x="8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1" y="2"/>
                    </a:cubicBezTo>
                    <a:cubicBezTo>
                      <a:pt x="1" y="3"/>
                      <a:pt x="2" y="4"/>
                      <a:pt x="2" y="5"/>
                    </a:cubicBezTo>
                    <a:cubicBezTo>
                      <a:pt x="2" y="6"/>
                      <a:pt x="1" y="6"/>
                      <a:pt x="1" y="7"/>
                    </a:cubicBezTo>
                    <a:cubicBezTo>
                      <a:pt x="1" y="8"/>
                      <a:pt x="2" y="8"/>
                      <a:pt x="2" y="8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3" y="10"/>
                      <a:pt x="5" y="9"/>
                      <a:pt x="6" y="10"/>
                    </a:cubicBezTo>
                    <a:cubicBezTo>
                      <a:pt x="7" y="11"/>
                      <a:pt x="7" y="11"/>
                      <a:pt x="7" y="12"/>
                    </a:cubicBezTo>
                    <a:cubicBezTo>
                      <a:pt x="8" y="12"/>
                      <a:pt x="8" y="11"/>
                      <a:pt x="9" y="11"/>
                    </a:cubicBezTo>
                    <a:cubicBezTo>
                      <a:pt x="10" y="12"/>
                      <a:pt x="9" y="13"/>
                      <a:pt x="10" y="13"/>
                    </a:cubicBezTo>
                    <a:cubicBezTo>
                      <a:pt x="11" y="12"/>
                      <a:pt x="10" y="13"/>
                      <a:pt x="11" y="13"/>
                    </a:cubicBezTo>
                    <a:cubicBezTo>
                      <a:pt x="11" y="13"/>
                      <a:pt x="12" y="13"/>
                      <a:pt x="12" y="13"/>
                    </a:cubicBezTo>
                    <a:cubicBezTo>
                      <a:pt x="13" y="13"/>
                      <a:pt x="12" y="14"/>
                      <a:pt x="13" y="14"/>
                    </a:cubicBezTo>
                    <a:cubicBezTo>
                      <a:pt x="13" y="14"/>
                      <a:pt x="14" y="15"/>
                      <a:pt x="14" y="15"/>
                    </a:cubicBezTo>
                    <a:cubicBezTo>
                      <a:pt x="14" y="16"/>
                      <a:pt x="14" y="17"/>
                      <a:pt x="15" y="18"/>
                    </a:cubicBezTo>
                    <a:cubicBezTo>
                      <a:pt x="15" y="18"/>
                      <a:pt x="15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66D53891-2A26-D047-A113-17CDF97B0F06}"/>
                  </a:ext>
                </a:extLst>
              </p:cNvPr>
              <p:cNvGrpSpPr/>
              <p:nvPr userDrawn="1"/>
            </p:nvGrpSpPr>
            <p:grpSpPr>
              <a:xfrm>
                <a:off x="4867392" y="2983782"/>
                <a:ext cx="1146845" cy="923584"/>
                <a:chOff x="4867392" y="2983782"/>
                <a:chExt cx="1146845" cy="923584"/>
              </a:xfrm>
              <a:grpFill/>
            </p:grpSpPr>
            <p:sp>
              <p:nvSpPr>
                <p:cNvPr id="212" name="Freeform 20139">
                  <a:extLst>
                    <a:ext uri="{FF2B5EF4-FFF2-40B4-BE49-F238E27FC236}">
                      <a16:creationId xmlns:a16="http://schemas.microsoft.com/office/drawing/2014/main" id="{687484A1-D709-5D43-9706-63F5310E979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674573" y="3124992"/>
                  <a:ext cx="339664" cy="293866"/>
                </a:xfrm>
                <a:custGeom>
                  <a:avLst/>
                  <a:gdLst/>
                  <a:ahLst/>
                  <a:cxnLst>
                    <a:cxn ang="0">
                      <a:pos x="4" y="21"/>
                    </a:cxn>
                    <a:cxn ang="0">
                      <a:pos x="0" y="32"/>
                    </a:cxn>
                    <a:cxn ang="0">
                      <a:pos x="2" y="47"/>
                    </a:cxn>
                    <a:cxn ang="0">
                      <a:pos x="7" y="51"/>
                    </a:cxn>
                    <a:cxn ang="0">
                      <a:pos x="2" y="60"/>
                    </a:cxn>
                    <a:cxn ang="0">
                      <a:pos x="19" y="62"/>
                    </a:cxn>
                    <a:cxn ang="0">
                      <a:pos x="31" y="56"/>
                    </a:cxn>
                    <a:cxn ang="0">
                      <a:pos x="39" y="48"/>
                    </a:cxn>
                    <a:cxn ang="0">
                      <a:pos x="45" y="47"/>
                    </a:cxn>
                    <a:cxn ang="0">
                      <a:pos x="46" y="41"/>
                    </a:cxn>
                    <a:cxn ang="0">
                      <a:pos x="50" y="34"/>
                    </a:cxn>
                    <a:cxn ang="0">
                      <a:pos x="56" y="29"/>
                    </a:cxn>
                    <a:cxn ang="0">
                      <a:pos x="57" y="21"/>
                    </a:cxn>
                    <a:cxn ang="0">
                      <a:pos x="63" y="13"/>
                    </a:cxn>
                    <a:cxn ang="0">
                      <a:pos x="73" y="10"/>
                    </a:cxn>
                    <a:cxn ang="0">
                      <a:pos x="74" y="9"/>
                    </a:cxn>
                    <a:cxn ang="0">
                      <a:pos x="71" y="8"/>
                    </a:cxn>
                    <a:cxn ang="0">
                      <a:pos x="69" y="8"/>
                    </a:cxn>
                    <a:cxn ang="0">
                      <a:pos x="66" y="8"/>
                    </a:cxn>
                    <a:cxn ang="0">
                      <a:pos x="64" y="10"/>
                    </a:cxn>
                    <a:cxn ang="0">
                      <a:pos x="60" y="12"/>
                    </a:cxn>
                    <a:cxn ang="0">
                      <a:pos x="58" y="6"/>
                    </a:cxn>
                    <a:cxn ang="0">
                      <a:pos x="56" y="4"/>
                    </a:cxn>
                    <a:cxn ang="0">
                      <a:pos x="55" y="1"/>
                    </a:cxn>
                    <a:cxn ang="0">
                      <a:pos x="51" y="4"/>
                    </a:cxn>
                    <a:cxn ang="0">
                      <a:pos x="51" y="7"/>
                    </a:cxn>
                    <a:cxn ang="0">
                      <a:pos x="47" y="7"/>
                    </a:cxn>
                    <a:cxn ang="0">
                      <a:pos x="46" y="10"/>
                    </a:cxn>
                    <a:cxn ang="0">
                      <a:pos x="44" y="9"/>
                    </a:cxn>
                    <a:cxn ang="0">
                      <a:pos x="40" y="10"/>
                    </a:cxn>
                    <a:cxn ang="0">
                      <a:pos x="38" y="10"/>
                    </a:cxn>
                    <a:cxn ang="0">
                      <a:pos x="36" y="9"/>
                    </a:cxn>
                    <a:cxn ang="0">
                      <a:pos x="32" y="8"/>
                    </a:cxn>
                    <a:cxn ang="0">
                      <a:pos x="27" y="8"/>
                    </a:cxn>
                    <a:cxn ang="0">
                      <a:pos x="22" y="13"/>
                    </a:cxn>
                    <a:cxn ang="0">
                      <a:pos x="16" y="18"/>
                    </a:cxn>
                    <a:cxn ang="0">
                      <a:pos x="11" y="23"/>
                    </a:cxn>
                    <a:cxn ang="0">
                      <a:pos x="7" y="22"/>
                    </a:cxn>
                    <a:cxn ang="0">
                      <a:pos x="4" y="21"/>
                    </a:cxn>
                  </a:cxnLst>
                  <a:rect l="0" t="0" r="r" b="b"/>
                  <a:pathLst>
                    <a:path w="75" h="65">
                      <a:moveTo>
                        <a:pt x="4" y="21"/>
                      </a:moveTo>
                      <a:cubicBezTo>
                        <a:pt x="3" y="30"/>
                        <a:pt x="0" y="27"/>
                        <a:pt x="0" y="32"/>
                      </a:cubicBezTo>
                      <a:cubicBezTo>
                        <a:pt x="1" y="37"/>
                        <a:pt x="2" y="42"/>
                        <a:pt x="2" y="47"/>
                      </a:cubicBezTo>
                      <a:cubicBezTo>
                        <a:pt x="1" y="52"/>
                        <a:pt x="7" y="47"/>
                        <a:pt x="7" y="51"/>
                      </a:cubicBezTo>
                      <a:cubicBezTo>
                        <a:pt x="8" y="55"/>
                        <a:pt x="2" y="57"/>
                        <a:pt x="2" y="60"/>
                      </a:cubicBezTo>
                      <a:cubicBezTo>
                        <a:pt x="5" y="59"/>
                        <a:pt x="9" y="65"/>
                        <a:pt x="19" y="62"/>
                      </a:cubicBezTo>
                      <a:cubicBezTo>
                        <a:pt x="30" y="60"/>
                        <a:pt x="31" y="60"/>
                        <a:pt x="31" y="56"/>
                      </a:cubicBezTo>
                      <a:cubicBezTo>
                        <a:pt x="30" y="51"/>
                        <a:pt x="36" y="50"/>
                        <a:pt x="39" y="48"/>
                      </a:cubicBezTo>
                      <a:cubicBezTo>
                        <a:pt x="42" y="45"/>
                        <a:pt x="44" y="49"/>
                        <a:pt x="45" y="47"/>
                      </a:cubicBezTo>
                      <a:cubicBezTo>
                        <a:pt x="46" y="46"/>
                        <a:pt x="45" y="45"/>
                        <a:pt x="46" y="41"/>
                      </a:cubicBezTo>
                      <a:cubicBezTo>
                        <a:pt x="48" y="36"/>
                        <a:pt x="53" y="39"/>
                        <a:pt x="50" y="34"/>
                      </a:cubicBezTo>
                      <a:cubicBezTo>
                        <a:pt x="46" y="28"/>
                        <a:pt x="56" y="35"/>
                        <a:pt x="56" y="29"/>
                      </a:cubicBezTo>
                      <a:cubicBezTo>
                        <a:pt x="56" y="26"/>
                        <a:pt x="59" y="25"/>
                        <a:pt x="57" y="21"/>
                      </a:cubicBezTo>
                      <a:cubicBezTo>
                        <a:pt x="55" y="17"/>
                        <a:pt x="56" y="15"/>
                        <a:pt x="63" y="13"/>
                      </a:cubicBezTo>
                      <a:cubicBezTo>
                        <a:pt x="69" y="10"/>
                        <a:pt x="71" y="14"/>
                        <a:pt x="73" y="10"/>
                      </a:cubicBezTo>
                      <a:cubicBezTo>
                        <a:pt x="72" y="10"/>
                        <a:pt x="72" y="9"/>
                        <a:pt x="74" y="9"/>
                      </a:cubicBezTo>
                      <a:cubicBezTo>
                        <a:pt x="75" y="8"/>
                        <a:pt x="73" y="7"/>
                        <a:pt x="71" y="8"/>
                      </a:cubicBezTo>
                      <a:cubicBezTo>
                        <a:pt x="69" y="10"/>
                        <a:pt x="68" y="10"/>
                        <a:pt x="69" y="8"/>
                      </a:cubicBezTo>
                      <a:cubicBezTo>
                        <a:pt x="70" y="7"/>
                        <a:pt x="67" y="7"/>
                        <a:pt x="66" y="8"/>
                      </a:cubicBezTo>
                      <a:cubicBezTo>
                        <a:pt x="65" y="9"/>
                        <a:pt x="64" y="9"/>
                        <a:pt x="64" y="10"/>
                      </a:cubicBezTo>
                      <a:cubicBezTo>
                        <a:pt x="64" y="11"/>
                        <a:pt x="62" y="11"/>
                        <a:pt x="60" y="12"/>
                      </a:cubicBezTo>
                      <a:cubicBezTo>
                        <a:pt x="58" y="14"/>
                        <a:pt x="57" y="12"/>
                        <a:pt x="58" y="6"/>
                      </a:cubicBezTo>
                      <a:cubicBezTo>
                        <a:pt x="58" y="2"/>
                        <a:pt x="57" y="5"/>
                        <a:pt x="56" y="4"/>
                      </a:cubicBezTo>
                      <a:cubicBezTo>
                        <a:pt x="56" y="3"/>
                        <a:pt x="58" y="2"/>
                        <a:pt x="55" y="1"/>
                      </a:cubicBezTo>
                      <a:cubicBezTo>
                        <a:pt x="52" y="0"/>
                        <a:pt x="53" y="3"/>
                        <a:pt x="51" y="4"/>
                      </a:cubicBezTo>
                      <a:cubicBezTo>
                        <a:pt x="50" y="5"/>
                        <a:pt x="52" y="6"/>
                        <a:pt x="51" y="7"/>
                      </a:cubicBezTo>
                      <a:cubicBezTo>
                        <a:pt x="50" y="8"/>
                        <a:pt x="49" y="6"/>
                        <a:pt x="47" y="7"/>
                      </a:cubicBezTo>
                      <a:cubicBezTo>
                        <a:pt x="46" y="8"/>
                        <a:pt x="47" y="10"/>
                        <a:pt x="46" y="10"/>
                      </a:cubicBezTo>
                      <a:cubicBezTo>
                        <a:pt x="46" y="10"/>
                        <a:pt x="45" y="8"/>
                        <a:pt x="44" y="9"/>
                      </a:cubicBezTo>
                      <a:cubicBezTo>
                        <a:pt x="42" y="9"/>
                        <a:pt x="41" y="9"/>
                        <a:pt x="40" y="10"/>
                      </a:cubicBezTo>
                      <a:cubicBezTo>
                        <a:pt x="40" y="12"/>
                        <a:pt x="39" y="12"/>
                        <a:pt x="38" y="10"/>
                      </a:cubicBezTo>
                      <a:cubicBezTo>
                        <a:pt x="37" y="9"/>
                        <a:pt x="37" y="9"/>
                        <a:pt x="36" y="9"/>
                      </a:cubicBezTo>
                      <a:cubicBezTo>
                        <a:pt x="35" y="10"/>
                        <a:pt x="35" y="7"/>
                        <a:pt x="32" y="8"/>
                      </a:cubicBezTo>
                      <a:cubicBezTo>
                        <a:pt x="29" y="9"/>
                        <a:pt x="28" y="6"/>
                        <a:pt x="27" y="8"/>
                      </a:cubicBezTo>
                      <a:cubicBezTo>
                        <a:pt x="25" y="10"/>
                        <a:pt x="23" y="8"/>
                        <a:pt x="22" y="13"/>
                      </a:cubicBezTo>
                      <a:cubicBezTo>
                        <a:pt x="21" y="18"/>
                        <a:pt x="18" y="17"/>
                        <a:pt x="16" y="18"/>
                      </a:cubicBezTo>
                      <a:cubicBezTo>
                        <a:pt x="14" y="19"/>
                        <a:pt x="14" y="22"/>
                        <a:pt x="11" y="23"/>
                      </a:cubicBezTo>
                      <a:cubicBezTo>
                        <a:pt x="8" y="24"/>
                        <a:pt x="10" y="21"/>
                        <a:pt x="7" y="22"/>
                      </a:cubicBezTo>
                      <a:cubicBezTo>
                        <a:pt x="5" y="22"/>
                        <a:pt x="6" y="21"/>
                        <a:pt x="4" y="21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3" name="Freeform 20140">
                  <a:extLst>
                    <a:ext uri="{FF2B5EF4-FFF2-40B4-BE49-F238E27FC236}">
                      <a16:creationId xmlns:a16="http://schemas.microsoft.com/office/drawing/2014/main" id="{A6CE22AA-F333-FE4B-8FE8-858EDA6693F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485657" y="2983782"/>
                  <a:ext cx="337756" cy="249979"/>
                </a:xfrm>
                <a:custGeom>
                  <a:avLst/>
                  <a:gdLst/>
                  <a:ahLst/>
                  <a:cxnLst>
                    <a:cxn ang="0">
                      <a:pos x="1" y="10"/>
                    </a:cxn>
                    <a:cxn ang="0">
                      <a:pos x="3" y="9"/>
                    </a:cxn>
                    <a:cxn ang="0">
                      <a:pos x="8" y="7"/>
                    </a:cxn>
                    <a:cxn ang="0">
                      <a:pos x="11" y="15"/>
                    </a:cxn>
                    <a:cxn ang="0">
                      <a:pos x="7" y="15"/>
                    </a:cxn>
                    <a:cxn ang="0">
                      <a:pos x="4" y="15"/>
                    </a:cxn>
                    <a:cxn ang="0">
                      <a:pos x="2" y="19"/>
                    </a:cxn>
                    <a:cxn ang="0">
                      <a:pos x="4" y="21"/>
                    </a:cxn>
                    <a:cxn ang="0">
                      <a:pos x="6" y="23"/>
                    </a:cxn>
                    <a:cxn ang="0">
                      <a:pos x="5" y="23"/>
                    </a:cxn>
                    <a:cxn ang="0">
                      <a:pos x="5" y="25"/>
                    </a:cxn>
                    <a:cxn ang="0">
                      <a:pos x="8" y="29"/>
                    </a:cxn>
                    <a:cxn ang="0">
                      <a:pos x="8" y="39"/>
                    </a:cxn>
                    <a:cxn ang="0">
                      <a:pos x="21" y="34"/>
                    </a:cxn>
                    <a:cxn ang="0">
                      <a:pos x="26" y="34"/>
                    </a:cxn>
                    <a:cxn ang="0">
                      <a:pos x="34" y="37"/>
                    </a:cxn>
                    <a:cxn ang="0">
                      <a:pos x="42" y="44"/>
                    </a:cxn>
                    <a:cxn ang="0">
                      <a:pos x="46" y="47"/>
                    </a:cxn>
                    <a:cxn ang="0">
                      <a:pos x="46" y="52"/>
                    </a:cxn>
                    <a:cxn ang="0">
                      <a:pos x="53" y="54"/>
                    </a:cxn>
                    <a:cxn ang="0">
                      <a:pos x="64" y="44"/>
                    </a:cxn>
                    <a:cxn ang="0">
                      <a:pos x="74" y="39"/>
                    </a:cxn>
                    <a:cxn ang="0">
                      <a:pos x="70" y="33"/>
                    </a:cxn>
                    <a:cxn ang="0">
                      <a:pos x="55" y="22"/>
                    </a:cxn>
                    <a:cxn ang="0">
                      <a:pos x="49" y="12"/>
                    </a:cxn>
                    <a:cxn ang="0">
                      <a:pos x="41" y="11"/>
                    </a:cxn>
                    <a:cxn ang="0">
                      <a:pos x="41" y="7"/>
                    </a:cxn>
                    <a:cxn ang="0">
                      <a:pos x="35" y="3"/>
                    </a:cxn>
                    <a:cxn ang="0">
                      <a:pos x="30" y="2"/>
                    </a:cxn>
                    <a:cxn ang="0">
                      <a:pos x="24" y="7"/>
                    </a:cxn>
                    <a:cxn ang="0">
                      <a:pos x="19" y="11"/>
                    </a:cxn>
                    <a:cxn ang="0">
                      <a:pos x="12" y="6"/>
                    </a:cxn>
                    <a:cxn ang="0">
                      <a:pos x="3" y="6"/>
                    </a:cxn>
                  </a:cxnLst>
                  <a:rect l="0" t="0" r="r" b="b"/>
                  <a:pathLst>
                    <a:path w="75" h="55">
                      <a:moveTo>
                        <a:pt x="0" y="8"/>
                      </a:moveTo>
                      <a:cubicBezTo>
                        <a:pt x="2" y="9"/>
                        <a:pt x="1" y="9"/>
                        <a:pt x="1" y="10"/>
                      </a:cubicBezTo>
                      <a:cubicBezTo>
                        <a:pt x="2" y="11"/>
                        <a:pt x="2" y="13"/>
                        <a:pt x="2" y="11"/>
                      </a:cubicBezTo>
                      <a:cubicBezTo>
                        <a:pt x="2" y="10"/>
                        <a:pt x="3" y="9"/>
                        <a:pt x="3" y="9"/>
                      </a:cubicBezTo>
                      <a:cubicBezTo>
                        <a:pt x="2" y="9"/>
                        <a:pt x="2" y="6"/>
                        <a:pt x="5" y="6"/>
                      </a:cubicBezTo>
                      <a:cubicBezTo>
                        <a:pt x="7" y="5"/>
                        <a:pt x="8" y="5"/>
                        <a:pt x="8" y="7"/>
                      </a:cubicBezTo>
                      <a:cubicBezTo>
                        <a:pt x="8" y="8"/>
                        <a:pt x="8" y="10"/>
                        <a:pt x="11" y="12"/>
                      </a:cubicBezTo>
                      <a:cubicBezTo>
                        <a:pt x="14" y="13"/>
                        <a:pt x="11" y="16"/>
                        <a:pt x="11" y="15"/>
                      </a:cubicBezTo>
                      <a:cubicBezTo>
                        <a:pt x="10" y="14"/>
                        <a:pt x="9" y="14"/>
                        <a:pt x="10" y="15"/>
                      </a:cubicBezTo>
                      <a:cubicBezTo>
                        <a:pt x="10" y="16"/>
                        <a:pt x="7" y="17"/>
                        <a:pt x="7" y="15"/>
                      </a:cubicBezTo>
                      <a:cubicBezTo>
                        <a:pt x="7" y="13"/>
                        <a:pt x="6" y="16"/>
                        <a:pt x="5" y="15"/>
                      </a:cubicBezTo>
                      <a:cubicBezTo>
                        <a:pt x="5" y="14"/>
                        <a:pt x="4" y="16"/>
                        <a:pt x="4" y="15"/>
                      </a:cubicBezTo>
                      <a:cubicBezTo>
                        <a:pt x="4" y="14"/>
                        <a:pt x="2" y="12"/>
                        <a:pt x="3" y="14"/>
                      </a:cubicBezTo>
                      <a:cubicBezTo>
                        <a:pt x="3" y="16"/>
                        <a:pt x="1" y="18"/>
                        <a:pt x="2" y="19"/>
                      </a:cubicBezTo>
                      <a:cubicBezTo>
                        <a:pt x="2" y="20"/>
                        <a:pt x="3" y="23"/>
                        <a:pt x="3" y="22"/>
                      </a:cubicBezTo>
                      <a:cubicBezTo>
                        <a:pt x="4" y="22"/>
                        <a:pt x="3" y="21"/>
                        <a:pt x="4" y="21"/>
                      </a:cubicBezTo>
                      <a:cubicBezTo>
                        <a:pt x="5" y="21"/>
                        <a:pt x="6" y="20"/>
                        <a:pt x="6" y="21"/>
                      </a:cubicBezTo>
                      <a:cubicBezTo>
                        <a:pt x="5" y="23"/>
                        <a:pt x="5" y="23"/>
                        <a:pt x="6" y="23"/>
                      </a:cubicBezTo>
                      <a:cubicBezTo>
                        <a:pt x="7" y="23"/>
                        <a:pt x="7" y="24"/>
                        <a:pt x="6" y="24"/>
                      </a:cubicBezTo>
                      <a:cubicBezTo>
                        <a:pt x="4" y="24"/>
                        <a:pt x="5" y="23"/>
                        <a:pt x="5" y="23"/>
                      </a:cubicBezTo>
                      <a:cubicBezTo>
                        <a:pt x="4" y="23"/>
                        <a:pt x="3" y="26"/>
                        <a:pt x="4" y="26"/>
                      </a:cubicBezTo>
                      <a:cubicBezTo>
                        <a:pt x="5" y="27"/>
                        <a:pt x="4" y="25"/>
                        <a:pt x="5" y="25"/>
                      </a:cubicBezTo>
                      <a:cubicBezTo>
                        <a:pt x="6" y="26"/>
                        <a:pt x="6" y="26"/>
                        <a:pt x="7" y="27"/>
                      </a:cubicBezTo>
                      <a:cubicBezTo>
                        <a:pt x="7" y="28"/>
                        <a:pt x="9" y="28"/>
                        <a:pt x="8" y="29"/>
                      </a:cubicBezTo>
                      <a:cubicBezTo>
                        <a:pt x="7" y="30"/>
                        <a:pt x="7" y="33"/>
                        <a:pt x="8" y="39"/>
                      </a:cubicBezTo>
                      <a:cubicBezTo>
                        <a:pt x="8" y="39"/>
                        <a:pt x="8" y="39"/>
                        <a:pt x="8" y="39"/>
                      </a:cubicBezTo>
                      <a:cubicBezTo>
                        <a:pt x="15" y="39"/>
                        <a:pt x="10" y="37"/>
                        <a:pt x="15" y="35"/>
                      </a:cubicBezTo>
                      <a:cubicBezTo>
                        <a:pt x="18" y="33"/>
                        <a:pt x="20" y="36"/>
                        <a:pt x="21" y="34"/>
                      </a:cubicBezTo>
                      <a:cubicBezTo>
                        <a:pt x="21" y="33"/>
                        <a:pt x="23" y="32"/>
                        <a:pt x="24" y="33"/>
                      </a:cubicBezTo>
                      <a:cubicBezTo>
                        <a:pt x="24" y="34"/>
                        <a:pt x="25" y="32"/>
                        <a:pt x="26" y="34"/>
                      </a:cubicBezTo>
                      <a:cubicBezTo>
                        <a:pt x="26" y="36"/>
                        <a:pt x="30" y="35"/>
                        <a:pt x="30" y="37"/>
                      </a:cubicBezTo>
                      <a:cubicBezTo>
                        <a:pt x="31" y="38"/>
                        <a:pt x="31" y="36"/>
                        <a:pt x="34" y="37"/>
                      </a:cubicBezTo>
                      <a:cubicBezTo>
                        <a:pt x="38" y="38"/>
                        <a:pt x="35" y="40"/>
                        <a:pt x="38" y="41"/>
                      </a:cubicBezTo>
                      <a:cubicBezTo>
                        <a:pt x="41" y="42"/>
                        <a:pt x="40" y="44"/>
                        <a:pt x="42" y="44"/>
                      </a:cubicBezTo>
                      <a:cubicBezTo>
                        <a:pt x="44" y="44"/>
                        <a:pt x="45" y="44"/>
                        <a:pt x="46" y="45"/>
                      </a:cubicBezTo>
                      <a:cubicBezTo>
                        <a:pt x="46" y="46"/>
                        <a:pt x="45" y="45"/>
                        <a:pt x="46" y="47"/>
                      </a:cubicBezTo>
                      <a:cubicBezTo>
                        <a:pt x="46" y="48"/>
                        <a:pt x="45" y="49"/>
                        <a:pt x="46" y="49"/>
                      </a:cubicBezTo>
                      <a:cubicBezTo>
                        <a:pt x="47" y="50"/>
                        <a:pt x="46" y="51"/>
                        <a:pt x="46" y="52"/>
                      </a:cubicBezTo>
                      <a:cubicBezTo>
                        <a:pt x="48" y="52"/>
                        <a:pt x="47" y="53"/>
                        <a:pt x="49" y="53"/>
                      </a:cubicBezTo>
                      <a:cubicBezTo>
                        <a:pt x="52" y="52"/>
                        <a:pt x="50" y="55"/>
                        <a:pt x="53" y="54"/>
                      </a:cubicBezTo>
                      <a:cubicBezTo>
                        <a:pt x="56" y="53"/>
                        <a:pt x="56" y="50"/>
                        <a:pt x="58" y="49"/>
                      </a:cubicBezTo>
                      <a:cubicBezTo>
                        <a:pt x="60" y="48"/>
                        <a:pt x="63" y="49"/>
                        <a:pt x="64" y="44"/>
                      </a:cubicBezTo>
                      <a:cubicBezTo>
                        <a:pt x="65" y="39"/>
                        <a:pt x="67" y="41"/>
                        <a:pt x="69" y="39"/>
                      </a:cubicBezTo>
                      <a:cubicBezTo>
                        <a:pt x="70" y="37"/>
                        <a:pt x="71" y="40"/>
                        <a:pt x="74" y="39"/>
                      </a:cubicBezTo>
                      <a:cubicBezTo>
                        <a:pt x="73" y="35"/>
                        <a:pt x="75" y="35"/>
                        <a:pt x="74" y="35"/>
                      </a:cubicBezTo>
                      <a:cubicBezTo>
                        <a:pt x="72" y="34"/>
                        <a:pt x="71" y="32"/>
                        <a:pt x="70" y="33"/>
                      </a:cubicBezTo>
                      <a:cubicBezTo>
                        <a:pt x="68" y="34"/>
                        <a:pt x="63" y="28"/>
                        <a:pt x="62" y="28"/>
                      </a:cubicBezTo>
                      <a:cubicBezTo>
                        <a:pt x="60" y="28"/>
                        <a:pt x="58" y="25"/>
                        <a:pt x="55" y="22"/>
                      </a:cubicBezTo>
                      <a:cubicBezTo>
                        <a:pt x="52" y="20"/>
                        <a:pt x="53" y="18"/>
                        <a:pt x="51" y="17"/>
                      </a:cubicBezTo>
                      <a:cubicBezTo>
                        <a:pt x="50" y="16"/>
                        <a:pt x="51" y="13"/>
                        <a:pt x="49" y="12"/>
                      </a:cubicBezTo>
                      <a:cubicBezTo>
                        <a:pt x="46" y="11"/>
                        <a:pt x="47" y="13"/>
                        <a:pt x="46" y="12"/>
                      </a:cubicBezTo>
                      <a:cubicBezTo>
                        <a:pt x="44" y="11"/>
                        <a:pt x="43" y="13"/>
                        <a:pt x="41" y="11"/>
                      </a:cubicBezTo>
                      <a:cubicBezTo>
                        <a:pt x="39" y="9"/>
                        <a:pt x="41" y="10"/>
                        <a:pt x="40" y="9"/>
                      </a:cubicBezTo>
                      <a:cubicBezTo>
                        <a:pt x="39" y="8"/>
                        <a:pt x="42" y="8"/>
                        <a:pt x="41" y="7"/>
                      </a:cubicBezTo>
                      <a:cubicBezTo>
                        <a:pt x="38" y="5"/>
                        <a:pt x="42" y="4"/>
                        <a:pt x="39" y="4"/>
                      </a:cubicBezTo>
                      <a:cubicBezTo>
                        <a:pt x="34" y="4"/>
                        <a:pt x="37" y="3"/>
                        <a:pt x="35" y="3"/>
                      </a:cubicBezTo>
                      <a:cubicBezTo>
                        <a:pt x="33" y="2"/>
                        <a:pt x="33" y="0"/>
                        <a:pt x="32" y="1"/>
                      </a:cubicBezTo>
                      <a:cubicBezTo>
                        <a:pt x="31" y="2"/>
                        <a:pt x="29" y="1"/>
                        <a:pt x="30" y="2"/>
                      </a:cubicBezTo>
                      <a:cubicBezTo>
                        <a:pt x="33" y="4"/>
                        <a:pt x="29" y="2"/>
                        <a:pt x="29" y="4"/>
                      </a:cubicBezTo>
                      <a:cubicBezTo>
                        <a:pt x="29" y="6"/>
                        <a:pt x="25" y="4"/>
                        <a:pt x="24" y="7"/>
                      </a:cubicBezTo>
                      <a:cubicBezTo>
                        <a:pt x="23" y="10"/>
                        <a:pt x="25" y="10"/>
                        <a:pt x="25" y="11"/>
                      </a:cubicBezTo>
                      <a:cubicBezTo>
                        <a:pt x="24" y="12"/>
                        <a:pt x="21" y="11"/>
                        <a:pt x="19" y="11"/>
                      </a:cubicBezTo>
                      <a:cubicBezTo>
                        <a:pt x="17" y="11"/>
                        <a:pt x="16" y="12"/>
                        <a:pt x="16" y="11"/>
                      </a:cubicBezTo>
                      <a:cubicBezTo>
                        <a:pt x="13" y="7"/>
                        <a:pt x="14" y="7"/>
                        <a:pt x="12" y="6"/>
                      </a:cubicBezTo>
                      <a:cubicBezTo>
                        <a:pt x="11" y="5"/>
                        <a:pt x="10" y="3"/>
                        <a:pt x="8" y="4"/>
                      </a:cubicBezTo>
                      <a:cubicBezTo>
                        <a:pt x="6" y="4"/>
                        <a:pt x="4" y="5"/>
                        <a:pt x="3" y="6"/>
                      </a:cubicBezTo>
                      <a:cubicBezTo>
                        <a:pt x="1" y="7"/>
                        <a:pt x="0" y="8"/>
                        <a:pt x="0" y="8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4" name="Freeform 20154">
                  <a:extLst>
                    <a:ext uri="{FF2B5EF4-FFF2-40B4-BE49-F238E27FC236}">
                      <a16:creationId xmlns:a16="http://schemas.microsoft.com/office/drawing/2014/main" id="{1C6D39E2-3C07-D44F-9165-315240F3E9B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65847" y="3323446"/>
                  <a:ext cx="496138" cy="492323"/>
                </a:xfrm>
                <a:custGeom>
                  <a:avLst/>
                  <a:gdLst/>
                  <a:ahLst/>
                  <a:cxnLst>
                    <a:cxn ang="0">
                      <a:pos x="83" y="90"/>
                    </a:cxn>
                    <a:cxn ang="0">
                      <a:pos x="71" y="97"/>
                    </a:cxn>
                    <a:cxn ang="0">
                      <a:pos x="61" y="104"/>
                    </a:cxn>
                    <a:cxn ang="0">
                      <a:pos x="50" y="98"/>
                    </a:cxn>
                    <a:cxn ang="0">
                      <a:pos x="49" y="98"/>
                    </a:cxn>
                    <a:cxn ang="0">
                      <a:pos x="48" y="98"/>
                    </a:cxn>
                    <a:cxn ang="0">
                      <a:pos x="45" y="98"/>
                    </a:cxn>
                    <a:cxn ang="0">
                      <a:pos x="45" y="101"/>
                    </a:cxn>
                    <a:cxn ang="0">
                      <a:pos x="43" y="104"/>
                    </a:cxn>
                    <a:cxn ang="0">
                      <a:pos x="36" y="92"/>
                    </a:cxn>
                    <a:cxn ang="0">
                      <a:pos x="33" y="85"/>
                    </a:cxn>
                    <a:cxn ang="0">
                      <a:pos x="24" y="75"/>
                    </a:cxn>
                    <a:cxn ang="0">
                      <a:pos x="23" y="64"/>
                    </a:cxn>
                    <a:cxn ang="0">
                      <a:pos x="14" y="49"/>
                    </a:cxn>
                    <a:cxn ang="0">
                      <a:pos x="10" y="41"/>
                    </a:cxn>
                    <a:cxn ang="0">
                      <a:pos x="1" y="26"/>
                    </a:cxn>
                    <a:cxn ang="0">
                      <a:pos x="8" y="20"/>
                    </a:cxn>
                    <a:cxn ang="0">
                      <a:pos x="16" y="15"/>
                    </a:cxn>
                    <a:cxn ang="0">
                      <a:pos x="18" y="11"/>
                    </a:cxn>
                    <a:cxn ang="0">
                      <a:pos x="16" y="4"/>
                    </a:cxn>
                    <a:cxn ang="0">
                      <a:pos x="31" y="2"/>
                    </a:cxn>
                    <a:cxn ang="0">
                      <a:pos x="39" y="7"/>
                    </a:cxn>
                    <a:cxn ang="0">
                      <a:pos x="53" y="20"/>
                    </a:cxn>
                    <a:cxn ang="0">
                      <a:pos x="67" y="22"/>
                    </a:cxn>
                    <a:cxn ang="0">
                      <a:pos x="72" y="25"/>
                    </a:cxn>
                    <a:cxn ang="0">
                      <a:pos x="77" y="32"/>
                    </a:cxn>
                    <a:cxn ang="0">
                      <a:pos x="81" y="38"/>
                    </a:cxn>
                    <a:cxn ang="0">
                      <a:pos x="82" y="45"/>
                    </a:cxn>
                    <a:cxn ang="0">
                      <a:pos x="86" y="51"/>
                    </a:cxn>
                    <a:cxn ang="0">
                      <a:pos x="90" y="59"/>
                    </a:cxn>
                    <a:cxn ang="0">
                      <a:pos x="108" y="63"/>
                    </a:cxn>
                    <a:cxn ang="0">
                      <a:pos x="109" y="72"/>
                    </a:cxn>
                    <a:cxn ang="0">
                      <a:pos x="99" y="84"/>
                    </a:cxn>
                  </a:cxnLst>
                  <a:rect l="0" t="0" r="r" b="b"/>
                  <a:pathLst>
                    <a:path w="110" h="109">
                      <a:moveTo>
                        <a:pt x="91" y="87"/>
                      </a:moveTo>
                      <a:cubicBezTo>
                        <a:pt x="88" y="88"/>
                        <a:pt x="86" y="89"/>
                        <a:pt x="83" y="90"/>
                      </a:cubicBezTo>
                      <a:cubicBezTo>
                        <a:pt x="81" y="90"/>
                        <a:pt x="76" y="91"/>
                        <a:pt x="74" y="92"/>
                      </a:cubicBezTo>
                      <a:cubicBezTo>
                        <a:pt x="73" y="93"/>
                        <a:pt x="71" y="96"/>
                        <a:pt x="71" y="97"/>
                      </a:cubicBezTo>
                      <a:cubicBezTo>
                        <a:pt x="68" y="101"/>
                        <a:pt x="64" y="105"/>
                        <a:pt x="61" y="109"/>
                      </a:cubicBezTo>
                      <a:cubicBezTo>
                        <a:pt x="61" y="107"/>
                        <a:pt x="61" y="105"/>
                        <a:pt x="61" y="104"/>
                      </a:cubicBezTo>
                      <a:cubicBezTo>
                        <a:pt x="61" y="103"/>
                        <a:pt x="61" y="102"/>
                        <a:pt x="61" y="102"/>
                      </a:cubicBezTo>
                      <a:cubicBezTo>
                        <a:pt x="61" y="102"/>
                        <a:pt x="51" y="97"/>
                        <a:pt x="50" y="98"/>
                      </a:cubicBezTo>
                      <a:cubicBezTo>
                        <a:pt x="50" y="98"/>
                        <a:pt x="50" y="98"/>
                        <a:pt x="49" y="98"/>
                      </a:cubicBezTo>
                      <a:cubicBezTo>
                        <a:pt x="49" y="98"/>
                        <a:pt x="49" y="98"/>
                        <a:pt x="49" y="98"/>
                      </a:cubicBezTo>
                      <a:cubicBezTo>
                        <a:pt x="49" y="98"/>
                        <a:pt x="49" y="98"/>
                        <a:pt x="49" y="98"/>
                      </a:cubicBezTo>
                      <a:cubicBezTo>
                        <a:pt x="49" y="98"/>
                        <a:pt x="48" y="98"/>
                        <a:pt x="48" y="98"/>
                      </a:cubicBezTo>
                      <a:cubicBezTo>
                        <a:pt x="48" y="98"/>
                        <a:pt x="47" y="97"/>
                        <a:pt x="46" y="97"/>
                      </a:cubicBezTo>
                      <a:cubicBezTo>
                        <a:pt x="46" y="97"/>
                        <a:pt x="45" y="98"/>
                        <a:pt x="45" y="98"/>
                      </a:cubicBezTo>
                      <a:cubicBezTo>
                        <a:pt x="45" y="98"/>
                        <a:pt x="46" y="98"/>
                        <a:pt x="45" y="98"/>
                      </a:cubicBezTo>
                      <a:cubicBezTo>
                        <a:pt x="45" y="99"/>
                        <a:pt x="45" y="100"/>
                        <a:pt x="45" y="101"/>
                      </a:cubicBezTo>
                      <a:cubicBezTo>
                        <a:pt x="45" y="101"/>
                        <a:pt x="45" y="101"/>
                        <a:pt x="45" y="102"/>
                      </a:cubicBezTo>
                      <a:cubicBezTo>
                        <a:pt x="45" y="102"/>
                        <a:pt x="44" y="103"/>
                        <a:pt x="43" y="104"/>
                      </a:cubicBezTo>
                      <a:cubicBezTo>
                        <a:pt x="41" y="97"/>
                        <a:pt x="41" y="102"/>
                        <a:pt x="40" y="99"/>
                      </a:cubicBezTo>
                      <a:cubicBezTo>
                        <a:pt x="40" y="96"/>
                        <a:pt x="36" y="94"/>
                        <a:pt x="36" y="92"/>
                      </a:cubicBezTo>
                      <a:cubicBezTo>
                        <a:pt x="36" y="90"/>
                        <a:pt x="35" y="90"/>
                        <a:pt x="35" y="88"/>
                      </a:cubicBezTo>
                      <a:cubicBezTo>
                        <a:pt x="35" y="86"/>
                        <a:pt x="34" y="87"/>
                        <a:pt x="33" y="85"/>
                      </a:cubicBezTo>
                      <a:cubicBezTo>
                        <a:pt x="32" y="83"/>
                        <a:pt x="31" y="80"/>
                        <a:pt x="29" y="79"/>
                      </a:cubicBezTo>
                      <a:cubicBezTo>
                        <a:pt x="26" y="79"/>
                        <a:pt x="27" y="78"/>
                        <a:pt x="24" y="75"/>
                      </a:cubicBezTo>
                      <a:cubicBezTo>
                        <a:pt x="22" y="71"/>
                        <a:pt x="25" y="73"/>
                        <a:pt x="23" y="70"/>
                      </a:cubicBezTo>
                      <a:cubicBezTo>
                        <a:pt x="22" y="67"/>
                        <a:pt x="25" y="68"/>
                        <a:pt x="23" y="64"/>
                      </a:cubicBezTo>
                      <a:cubicBezTo>
                        <a:pt x="22" y="61"/>
                        <a:pt x="20" y="54"/>
                        <a:pt x="18" y="54"/>
                      </a:cubicBezTo>
                      <a:cubicBezTo>
                        <a:pt x="15" y="53"/>
                        <a:pt x="13" y="50"/>
                        <a:pt x="14" y="49"/>
                      </a:cubicBezTo>
                      <a:cubicBezTo>
                        <a:pt x="15" y="47"/>
                        <a:pt x="14" y="45"/>
                        <a:pt x="12" y="44"/>
                      </a:cubicBezTo>
                      <a:cubicBezTo>
                        <a:pt x="11" y="42"/>
                        <a:pt x="12" y="42"/>
                        <a:pt x="10" y="41"/>
                      </a:cubicBezTo>
                      <a:cubicBezTo>
                        <a:pt x="8" y="38"/>
                        <a:pt x="5" y="28"/>
                        <a:pt x="3" y="28"/>
                      </a:cubicBezTo>
                      <a:cubicBezTo>
                        <a:pt x="0" y="27"/>
                        <a:pt x="0" y="30"/>
                        <a:pt x="1" y="26"/>
                      </a:cubicBezTo>
                      <a:cubicBezTo>
                        <a:pt x="2" y="23"/>
                        <a:pt x="1" y="25"/>
                        <a:pt x="2" y="19"/>
                      </a:cubicBezTo>
                      <a:cubicBezTo>
                        <a:pt x="3" y="19"/>
                        <a:pt x="7" y="20"/>
                        <a:pt x="8" y="20"/>
                      </a:cubicBezTo>
                      <a:cubicBezTo>
                        <a:pt x="10" y="20"/>
                        <a:pt x="10" y="17"/>
                        <a:pt x="12" y="16"/>
                      </a:cubicBezTo>
                      <a:cubicBezTo>
                        <a:pt x="12" y="15"/>
                        <a:pt x="15" y="16"/>
                        <a:pt x="16" y="15"/>
                      </a:cubicBezTo>
                      <a:cubicBezTo>
                        <a:pt x="16" y="14"/>
                        <a:pt x="16" y="13"/>
                        <a:pt x="16" y="13"/>
                      </a:cubicBezTo>
                      <a:cubicBezTo>
                        <a:pt x="17" y="12"/>
                        <a:pt x="18" y="12"/>
                        <a:pt x="18" y="11"/>
                      </a:cubicBezTo>
                      <a:cubicBezTo>
                        <a:pt x="18" y="11"/>
                        <a:pt x="13" y="5"/>
                        <a:pt x="13" y="5"/>
                      </a:cubicBezTo>
                      <a:cubicBezTo>
                        <a:pt x="13" y="4"/>
                        <a:pt x="15" y="4"/>
                        <a:pt x="16" y="4"/>
                      </a:cubicBezTo>
                      <a:cubicBezTo>
                        <a:pt x="17" y="3"/>
                        <a:pt x="23" y="2"/>
                        <a:pt x="24" y="0"/>
                      </a:cubicBezTo>
                      <a:cubicBezTo>
                        <a:pt x="26" y="1"/>
                        <a:pt x="29" y="1"/>
                        <a:pt x="31" y="2"/>
                      </a:cubicBezTo>
                      <a:cubicBezTo>
                        <a:pt x="33" y="2"/>
                        <a:pt x="34" y="4"/>
                        <a:pt x="36" y="6"/>
                      </a:cubicBezTo>
                      <a:cubicBezTo>
                        <a:pt x="37" y="6"/>
                        <a:pt x="38" y="7"/>
                        <a:pt x="39" y="7"/>
                      </a:cubicBezTo>
                      <a:cubicBezTo>
                        <a:pt x="41" y="9"/>
                        <a:pt x="43" y="10"/>
                        <a:pt x="44" y="12"/>
                      </a:cubicBezTo>
                      <a:cubicBezTo>
                        <a:pt x="46" y="13"/>
                        <a:pt x="52" y="20"/>
                        <a:pt x="53" y="20"/>
                      </a:cubicBezTo>
                      <a:cubicBezTo>
                        <a:pt x="54" y="21"/>
                        <a:pt x="62" y="21"/>
                        <a:pt x="63" y="21"/>
                      </a:cubicBezTo>
                      <a:cubicBezTo>
                        <a:pt x="63" y="21"/>
                        <a:pt x="67" y="21"/>
                        <a:pt x="67" y="22"/>
                      </a:cubicBezTo>
                      <a:cubicBezTo>
                        <a:pt x="68" y="22"/>
                        <a:pt x="68" y="24"/>
                        <a:pt x="68" y="24"/>
                      </a:cubicBezTo>
                      <a:cubicBezTo>
                        <a:pt x="69" y="25"/>
                        <a:pt x="72" y="25"/>
                        <a:pt x="72" y="25"/>
                      </a:cubicBezTo>
                      <a:cubicBezTo>
                        <a:pt x="74" y="28"/>
                        <a:pt x="75" y="29"/>
                        <a:pt x="75" y="30"/>
                      </a:cubicBezTo>
                      <a:cubicBezTo>
                        <a:pt x="75" y="31"/>
                        <a:pt x="77" y="30"/>
                        <a:pt x="77" y="32"/>
                      </a:cubicBezTo>
                      <a:cubicBezTo>
                        <a:pt x="77" y="34"/>
                        <a:pt x="81" y="36"/>
                        <a:pt x="81" y="37"/>
                      </a:cubicBezTo>
                      <a:cubicBezTo>
                        <a:pt x="82" y="38"/>
                        <a:pt x="80" y="36"/>
                        <a:pt x="81" y="38"/>
                      </a:cubicBezTo>
                      <a:cubicBezTo>
                        <a:pt x="82" y="40"/>
                        <a:pt x="80" y="41"/>
                        <a:pt x="81" y="43"/>
                      </a:cubicBezTo>
                      <a:cubicBezTo>
                        <a:pt x="82" y="44"/>
                        <a:pt x="81" y="44"/>
                        <a:pt x="82" y="45"/>
                      </a:cubicBezTo>
                      <a:cubicBezTo>
                        <a:pt x="84" y="46"/>
                        <a:pt x="83" y="48"/>
                        <a:pt x="85" y="50"/>
                      </a:cubicBezTo>
                      <a:cubicBezTo>
                        <a:pt x="85" y="51"/>
                        <a:pt x="86" y="51"/>
                        <a:pt x="86" y="51"/>
                      </a:cubicBezTo>
                      <a:cubicBezTo>
                        <a:pt x="86" y="53"/>
                        <a:pt x="86" y="53"/>
                        <a:pt x="88" y="54"/>
                      </a:cubicBezTo>
                      <a:cubicBezTo>
                        <a:pt x="90" y="56"/>
                        <a:pt x="90" y="56"/>
                        <a:pt x="90" y="59"/>
                      </a:cubicBezTo>
                      <a:cubicBezTo>
                        <a:pt x="91" y="61"/>
                        <a:pt x="90" y="61"/>
                        <a:pt x="96" y="62"/>
                      </a:cubicBezTo>
                      <a:cubicBezTo>
                        <a:pt x="102" y="63"/>
                        <a:pt x="107" y="66"/>
                        <a:pt x="108" y="63"/>
                      </a:cubicBezTo>
                      <a:cubicBezTo>
                        <a:pt x="108" y="64"/>
                        <a:pt x="110" y="67"/>
                        <a:pt x="110" y="68"/>
                      </a:cubicBezTo>
                      <a:cubicBezTo>
                        <a:pt x="110" y="69"/>
                        <a:pt x="109" y="71"/>
                        <a:pt x="109" y="72"/>
                      </a:cubicBezTo>
                      <a:cubicBezTo>
                        <a:pt x="109" y="73"/>
                        <a:pt x="107" y="80"/>
                        <a:pt x="107" y="81"/>
                      </a:cubicBezTo>
                      <a:cubicBezTo>
                        <a:pt x="106" y="82"/>
                        <a:pt x="101" y="83"/>
                        <a:pt x="99" y="84"/>
                      </a:cubicBezTo>
                      <a:cubicBezTo>
                        <a:pt x="96" y="85"/>
                        <a:pt x="94" y="86"/>
                        <a:pt x="91" y="87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5" name="Freeform 20155">
                  <a:extLst>
                    <a:ext uri="{FF2B5EF4-FFF2-40B4-BE49-F238E27FC236}">
                      <a16:creationId xmlns:a16="http://schemas.microsoft.com/office/drawing/2014/main" id="{20B48994-59FF-7342-A9F2-CF0E1E2BE11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165075" y="3161245"/>
                  <a:ext cx="230896" cy="257610"/>
                </a:xfrm>
                <a:custGeom>
                  <a:avLst/>
                  <a:gdLst/>
                  <a:ahLst/>
                  <a:cxnLst>
                    <a:cxn ang="0">
                      <a:pos x="31" y="2"/>
                    </a:cxn>
                    <a:cxn ang="0">
                      <a:pos x="34" y="9"/>
                    </a:cxn>
                    <a:cxn ang="0">
                      <a:pos x="40" y="11"/>
                    </a:cxn>
                    <a:cxn ang="0">
                      <a:pos x="38" y="14"/>
                    </a:cxn>
                    <a:cxn ang="0">
                      <a:pos x="35" y="22"/>
                    </a:cxn>
                    <a:cxn ang="0">
                      <a:pos x="39" y="29"/>
                    </a:cxn>
                    <a:cxn ang="0">
                      <a:pos x="46" y="36"/>
                    </a:cxn>
                    <a:cxn ang="0">
                      <a:pos x="47" y="44"/>
                    </a:cxn>
                    <a:cxn ang="0">
                      <a:pos x="49" y="48"/>
                    </a:cxn>
                    <a:cxn ang="0">
                      <a:pos x="51" y="51"/>
                    </a:cxn>
                    <a:cxn ang="0">
                      <a:pos x="48" y="51"/>
                    </a:cxn>
                    <a:cxn ang="0">
                      <a:pos x="44" y="51"/>
                    </a:cxn>
                    <a:cxn ang="0">
                      <a:pos x="41" y="57"/>
                    </a:cxn>
                    <a:cxn ang="0">
                      <a:pos x="31" y="56"/>
                    </a:cxn>
                    <a:cxn ang="0">
                      <a:pos x="22" y="48"/>
                    </a:cxn>
                    <a:cxn ang="0">
                      <a:pos x="17" y="43"/>
                    </a:cxn>
                    <a:cxn ang="0">
                      <a:pos x="14" y="42"/>
                    </a:cxn>
                    <a:cxn ang="0">
                      <a:pos x="9" y="38"/>
                    </a:cxn>
                    <a:cxn ang="0">
                      <a:pos x="2" y="36"/>
                    </a:cxn>
                    <a:cxn ang="0">
                      <a:pos x="3" y="36"/>
                    </a:cxn>
                    <a:cxn ang="0">
                      <a:pos x="1" y="35"/>
                    </a:cxn>
                    <a:cxn ang="0">
                      <a:pos x="1" y="34"/>
                    </a:cxn>
                    <a:cxn ang="0">
                      <a:pos x="2" y="34"/>
                    </a:cxn>
                    <a:cxn ang="0">
                      <a:pos x="2" y="33"/>
                    </a:cxn>
                    <a:cxn ang="0">
                      <a:pos x="0" y="28"/>
                    </a:cxn>
                    <a:cxn ang="0">
                      <a:pos x="7" y="24"/>
                    </a:cxn>
                    <a:cxn ang="0">
                      <a:pos x="12" y="21"/>
                    </a:cxn>
                    <a:cxn ang="0">
                      <a:pos x="13" y="18"/>
                    </a:cxn>
                    <a:cxn ang="0">
                      <a:pos x="13" y="18"/>
                    </a:cxn>
                    <a:cxn ang="0">
                      <a:pos x="13" y="17"/>
                    </a:cxn>
                    <a:cxn ang="0">
                      <a:pos x="13" y="15"/>
                    </a:cxn>
                    <a:cxn ang="0">
                      <a:pos x="14" y="11"/>
                    </a:cxn>
                    <a:cxn ang="0">
                      <a:pos x="13" y="7"/>
                    </a:cxn>
                    <a:cxn ang="0">
                      <a:pos x="16" y="6"/>
                    </a:cxn>
                    <a:cxn ang="0">
                      <a:pos x="19" y="2"/>
                    </a:cxn>
                    <a:cxn ang="0">
                      <a:pos x="21" y="0"/>
                    </a:cxn>
                    <a:cxn ang="0">
                      <a:pos x="21" y="0"/>
                    </a:cxn>
                    <a:cxn ang="0">
                      <a:pos x="21" y="0"/>
                    </a:cxn>
                    <a:cxn ang="0">
                      <a:pos x="22" y="1"/>
                    </a:cxn>
                    <a:cxn ang="0">
                      <a:pos x="22" y="0"/>
                    </a:cxn>
                    <a:cxn ang="0">
                      <a:pos x="23" y="0"/>
                    </a:cxn>
                    <a:cxn ang="0">
                      <a:pos x="25" y="1"/>
                    </a:cxn>
                    <a:cxn ang="0">
                      <a:pos x="28" y="1"/>
                    </a:cxn>
                    <a:cxn ang="0">
                      <a:pos x="29" y="3"/>
                    </a:cxn>
                    <a:cxn ang="0">
                      <a:pos x="30" y="2"/>
                    </a:cxn>
                    <a:cxn ang="0">
                      <a:pos x="31" y="2"/>
                    </a:cxn>
                  </a:cxnLst>
                  <a:rect l="0" t="0" r="r" b="b"/>
                  <a:pathLst>
                    <a:path w="51" h="57">
                      <a:moveTo>
                        <a:pt x="31" y="2"/>
                      </a:moveTo>
                      <a:cubicBezTo>
                        <a:pt x="32" y="5"/>
                        <a:pt x="34" y="7"/>
                        <a:pt x="34" y="9"/>
                      </a:cubicBezTo>
                      <a:cubicBezTo>
                        <a:pt x="34" y="11"/>
                        <a:pt x="39" y="10"/>
                        <a:pt x="40" y="11"/>
                      </a:cubicBezTo>
                      <a:cubicBezTo>
                        <a:pt x="40" y="12"/>
                        <a:pt x="37" y="11"/>
                        <a:pt x="38" y="14"/>
                      </a:cubicBezTo>
                      <a:cubicBezTo>
                        <a:pt x="40" y="17"/>
                        <a:pt x="35" y="18"/>
                        <a:pt x="35" y="22"/>
                      </a:cubicBezTo>
                      <a:cubicBezTo>
                        <a:pt x="34" y="26"/>
                        <a:pt x="38" y="25"/>
                        <a:pt x="39" y="29"/>
                      </a:cubicBezTo>
                      <a:cubicBezTo>
                        <a:pt x="39" y="32"/>
                        <a:pt x="44" y="33"/>
                        <a:pt x="46" y="36"/>
                      </a:cubicBezTo>
                      <a:cubicBezTo>
                        <a:pt x="48" y="40"/>
                        <a:pt x="46" y="42"/>
                        <a:pt x="47" y="44"/>
                      </a:cubicBezTo>
                      <a:cubicBezTo>
                        <a:pt x="48" y="46"/>
                        <a:pt x="48" y="48"/>
                        <a:pt x="49" y="48"/>
                      </a:cubicBezTo>
                      <a:cubicBezTo>
                        <a:pt x="50" y="49"/>
                        <a:pt x="51" y="49"/>
                        <a:pt x="51" y="51"/>
                      </a:cubicBezTo>
                      <a:cubicBezTo>
                        <a:pt x="50" y="52"/>
                        <a:pt x="47" y="49"/>
                        <a:pt x="48" y="51"/>
                      </a:cubicBezTo>
                      <a:cubicBezTo>
                        <a:pt x="47" y="51"/>
                        <a:pt x="45" y="50"/>
                        <a:pt x="44" y="51"/>
                      </a:cubicBezTo>
                      <a:cubicBezTo>
                        <a:pt x="43" y="52"/>
                        <a:pt x="42" y="56"/>
                        <a:pt x="41" y="57"/>
                      </a:cubicBezTo>
                      <a:cubicBezTo>
                        <a:pt x="40" y="57"/>
                        <a:pt x="32" y="57"/>
                        <a:pt x="31" y="56"/>
                      </a:cubicBezTo>
                      <a:cubicBezTo>
                        <a:pt x="30" y="56"/>
                        <a:pt x="24" y="49"/>
                        <a:pt x="22" y="48"/>
                      </a:cubicBezTo>
                      <a:cubicBezTo>
                        <a:pt x="21" y="46"/>
                        <a:pt x="19" y="45"/>
                        <a:pt x="17" y="43"/>
                      </a:cubicBezTo>
                      <a:cubicBezTo>
                        <a:pt x="16" y="43"/>
                        <a:pt x="15" y="42"/>
                        <a:pt x="14" y="42"/>
                      </a:cubicBezTo>
                      <a:cubicBezTo>
                        <a:pt x="12" y="40"/>
                        <a:pt x="11" y="38"/>
                        <a:pt x="9" y="38"/>
                      </a:cubicBezTo>
                      <a:cubicBezTo>
                        <a:pt x="7" y="37"/>
                        <a:pt x="4" y="37"/>
                        <a:pt x="2" y="3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3" y="34"/>
                        <a:pt x="2" y="35"/>
                        <a:pt x="1" y="35"/>
                      </a:cubicBezTo>
                      <a:cubicBezTo>
                        <a:pt x="1" y="35"/>
                        <a:pt x="1" y="34"/>
                        <a:pt x="1" y="34"/>
                      </a:cubicBezTo>
                      <a:cubicBezTo>
                        <a:pt x="1" y="34"/>
                        <a:pt x="2" y="34"/>
                        <a:pt x="2" y="34"/>
                      </a:cubicBezTo>
                      <a:cubicBezTo>
                        <a:pt x="2" y="34"/>
                        <a:pt x="2" y="34"/>
                        <a:pt x="2" y="33"/>
                      </a:cubicBezTo>
                      <a:cubicBezTo>
                        <a:pt x="1" y="32"/>
                        <a:pt x="1" y="30"/>
                        <a:pt x="0" y="28"/>
                      </a:cubicBezTo>
                      <a:cubicBezTo>
                        <a:pt x="2" y="26"/>
                        <a:pt x="5" y="25"/>
                        <a:pt x="7" y="24"/>
                      </a:cubicBezTo>
                      <a:cubicBezTo>
                        <a:pt x="8" y="23"/>
                        <a:pt x="10" y="22"/>
                        <a:pt x="12" y="21"/>
                      </a:cubicBezTo>
                      <a:cubicBezTo>
                        <a:pt x="12" y="20"/>
                        <a:pt x="13" y="19"/>
                        <a:pt x="13" y="18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8"/>
                        <a:pt x="13" y="18"/>
                        <a:pt x="13" y="17"/>
                      </a:cubicBezTo>
                      <a:cubicBezTo>
                        <a:pt x="13" y="17"/>
                        <a:pt x="13" y="16"/>
                        <a:pt x="13" y="15"/>
                      </a:cubicBezTo>
                      <a:cubicBezTo>
                        <a:pt x="13" y="14"/>
                        <a:pt x="14" y="12"/>
                        <a:pt x="14" y="11"/>
                      </a:cubicBezTo>
                      <a:cubicBezTo>
                        <a:pt x="13" y="10"/>
                        <a:pt x="13" y="9"/>
                        <a:pt x="13" y="7"/>
                      </a:cubicBezTo>
                      <a:cubicBezTo>
                        <a:pt x="14" y="6"/>
                        <a:pt x="15" y="6"/>
                        <a:pt x="16" y="6"/>
                      </a:cubicBezTo>
                      <a:cubicBezTo>
                        <a:pt x="17" y="5"/>
                        <a:pt x="18" y="3"/>
                        <a:pt x="19" y="2"/>
                      </a:cubicBezTo>
                      <a:cubicBezTo>
                        <a:pt x="20" y="2"/>
                        <a:pt x="20" y="1"/>
                        <a:pt x="21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2" y="0"/>
                        <a:pt x="22" y="1"/>
                        <a:pt x="22" y="1"/>
                      </a:cubicBezTo>
                      <a:cubicBezTo>
                        <a:pt x="22" y="1"/>
                        <a:pt x="22" y="0"/>
                        <a:pt x="22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4" y="0"/>
                        <a:pt x="24" y="1"/>
                        <a:pt x="25" y="1"/>
                      </a:cubicBezTo>
                      <a:cubicBezTo>
                        <a:pt x="27" y="2"/>
                        <a:pt x="27" y="0"/>
                        <a:pt x="28" y="1"/>
                      </a:cubicBezTo>
                      <a:cubicBezTo>
                        <a:pt x="29" y="1"/>
                        <a:pt x="28" y="2"/>
                        <a:pt x="29" y="3"/>
                      </a:cubicBezTo>
                      <a:cubicBezTo>
                        <a:pt x="29" y="3"/>
                        <a:pt x="30" y="2"/>
                        <a:pt x="30" y="2"/>
                      </a:cubicBezTo>
                      <a:cubicBezTo>
                        <a:pt x="31" y="2"/>
                        <a:pt x="31" y="2"/>
                        <a:pt x="31" y="2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Freeform 20156">
                  <a:extLst>
                    <a:ext uri="{FF2B5EF4-FFF2-40B4-BE49-F238E27FC236}">
                      <a16:creationId xmlns:a16="http://schemas.microsoft.com/office/drawing/2014/main" id="{0A8E03BC-026D-B046-A0FA-DF5F25E7E66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250945" y="3716543"/>
                  <a:ext cx="251886" cy="190823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49" y="3"/>
                    </a:cxn>
                    <a:cxn ang="0">
                      <a:pos x="53" y="10"/>
                    </a:cxn>
                    <a:cxn ang="0">
                      <a:pos x="54" y="13"/>
                    </a:cxn>
                    <a:cxn ang="0">
                      <a:pos x="56" y="15"/>
                    </a:cxn>
                    <a:cxn ang="0">
                      <a:pos x="50" y="23"/>
                    </a:cxn>
                    <a:cxn ang="0">
                      <a:pos x="45" y="25"/>
                    </a:cxn>
                    <a:cxn ang="0">
                      <a:pos x="40" y="27"/>
                    </a:cxn>
                    <a:cxn ang="0">
                      <a:pos x="30" y="32"/>
                    </a:cxn>
                    <a:cxn ang="0">
                      <a:pos x="20" y="36"/>
                    </a:cxn>
                    <a:cxn ang="0">
                      <a:pos x="15" y="39"/>
                    </a:cxn>
                    <a:cxn ang="0">
                      <a:pos x="12" y="40"/>
                    </a:cxn>
                    <a:cxn ang="0">
                      <a:pos x="10" y="41"/>
                    </a:cxn>
                    <a:cxn ang="0">
                      <a:pos x="8" y="41"/>
                    </a:cxn>
                    <a:cxn ang="0">
                      <a:pos x="5" y="40"/>
                    </a:cxn>
                    <a:cxn ang="0">
                      <a:pos x="4" y="36"/>
                    </a:cxn>
                    <a:cxn ang="0">
                      <a:pos x="3" y="30"/>
                    </a:cxn>
                    <a:cxn ang="0">
                      <a:pos x="2" y="26"/>
                    </a:cxn>
                    <a:cxn ang="0">
                      <a:pos x="1" y="24"/>
                    </a:cxn>
                    <a:cxn ang="0">
                      <a:pos x="1" y="21"/>
                    </a:cxn>
                    <a:cxn ang="0">
                      <a:pos x="2" y="17"/>
                    </a:cxn>
                    <a:cxn ang="0">
                      <a:pos x="4" y="15"/>
                    </a:cxn>
                    <a:cxn ang="0">
                      <a:pos x="4" y="14"/>
                    </a:cxn>
                    <a:cxn ang="0">
                      <a:pos x="4" y="11"/>
                    </a:cxn>
                    <a:cxn ang="0">
                      <a:pos x="4" y="11"/>
                    </a:cxn>
                    <a:cxn ang="0">
                      <a:pos x="5" y="10"/>
                    </a:cxn>
                    <a:cxn ang="0">
                      <a:pos x="7" y="11"/>
                    </a:cxn>
                    <a:cxn ang="0">
                      <a:pos x="8" y="11"/>
                    </a:cxn>
                    <a:cxn ang="0">
                      <a:pos x="8" y="11"/>
                    </a:cxn>
                    <a:cxn ang="0">
                      <a:pos x="8" y="11"/>
                    </a:cxn>
                    <a:cxn ang="0">
                      <a:pos x="9" y="11"/>
                    </a:cxn>
                    <a:cxn ang="0">
                      <a:pos x="20" y="15"/>
                    </a:cxn>
                    <a:cxn ang="0">
                      <a:pos x="20" y="17"/>
                    </a:cxn>
                    <a:cxn ang="0">
                      <a:pos x="20" y="22"/>
                    </a:cxn>
                    <a:cxn ang="0">
                      <a:pos x="30" y="10"/>
                    </a:cxn>
                    <a:cxn ang="0">
                      <a:pos x="33" y="5"/>
                    </a:cxn>
                    <a:cxn ang="0">
                      <a:pos x="42" y="3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6" h="42">
                      <a:moveTo>
                        <a:pt x="50" y="0"/>
                      </a:moveTo>
                      <a:cubicBezTo>
                        <a:pt x="50" y="1"/>
                        <a:pt x="49" y="2"/>
                        <a:pt x="49" y="3"/>
                      </a:cubicBezTo>
                      <a:cubicBezTo>
                        <a:pt x="50" y="5"/>
                        <a:pt x="52" y="8"/>
                        <a:pt x="53" y="10"/>
                      </a:cubicBezTo>
                      <a:cubicBezTo>
                        <a:pt x="54" y="11"/>
                        <a:pt x="53" y="11"/>
                        <a:pt x="54" y="13"/>
                      </a:cubicBezTo>
                      <a:cubicBezTo>
                        <a:pt x="54" y="14"/>
                        <a:pt x="55" y="15"/>
                        <a:pt x="56" y="15"/>
                      </a:cubicBezTo>
                      <a:cubicBezTo>
                        <a:pt x="48" y="19"/>
                        <a:pt x="54" y="22"/>
                        <a:pt x="50" y="23"/>
                      </a:cubicBezTo>
                      <a:cubicBezTo>
                        <a:pt x="48" y="23"/>
                        <a:pt x="50" y="24"/>
                        <a:pt x="45" y="25"/>
                      </a:cubicBezTo>
                      <a:cubicBezTo>
                        <a:pt x="41" y="26"/>
                        <a:pt x="41" y="28"/>
                        <a:pt x="40" y="27"/>
                      </a:cubicBezTo>
                      <a:cubicBezTo>
                        <a:pt x="35" y="27"/>
                        <a:pt x="34" y="34"/>
                        <a:pt x="30" y="32"/>
                      </a:cubicBezTo>
                      <a:cubicBezTo>
                        <a:pt x="27" y="31"/>
                        <a:pt x="26" y="37"/>
                        <a:pt x="20" y="36"/>
                      </a:cubicBezTo>
                      <a:cubicBezTo>
                        <a:pt x="16" y="36"/>
                        <a:pt x="17" y="39"/>
                        <a:pt x="15" y="39"/>
                      </a:cubicBezTo>
                      <a:cubicBezTo>
                        <a:pt x="13" y="39"/>
                        <a:pt x="15" y="41"/>
                        <a:pt x="12" y="40"/>
                      </a:cubicBezTo>
                      <a:cubicBezTo>
                        <a:pt x="10" y="40"/>
                        <a:pt x="11" y="41"/>
                        <a:pt x="10" y="41"/>
                      </a:cubicBezTo>
                      <a:cubicBezTo>
                        <a:pt x="9" y="41"/>
                        <a:pt x="9" y="42"/>
                        <a:pt x="8" y="41"/>
                      </a:cubicBezTo>
                      <a:cubicBezTo>
                        <a:pt x="6" y="40"/>
                        <a:pt x="6" y="42"/>
                        <a:pt x="5" y="40"/>
                      </a:cubicBezTo>
                      <a:cubicBezTo>
                        <a:pt x="5" y="37"/>
                        <a:pt x="4" y="38"/>
                        <a:pt x="4" y="36"/>
                      </a:cubicBezTo>
                      <a:cubicBezTo>
                        <a:pt x="5" y="34"/>
                        <a:pt x="3" y="33"/>
                        <a:pt x="3" y="30"/>
                      </a:cubicBezTo>
                      <a:cubicBezTo>
                        <a:pt x="3" y="28"/>
                        <a:pt x="2" y="28"/>
                        <a:pt x="2" y="26"/>
                      </a:cubicBezTo>
                      <a:cubicBezTo>
                        <a:pt x="2" y="25"/>
                        <a:pt x="0" y="25"/>
                        <a:pt x="1" y="24"/>
                      </a:cubicBezTo>
                      <a:cubicBezTo>
                        <a:pt x="3" y="23"/>
                        <a:pt x="1" y="23"/>
                        <a:pt x="1" y="21"/>
                      </a:cubicBezTo>
                      <a:cubicBezTo>
                        <a:pt x="2" y="20"/>
                        <a:pt x="2" y="19"/>
                        <a:pt x="2" y="17"/>
                      </a:cubicBezTo>
                      <a:cubicBezTo>
                        <a:pt x="3" y="16"/>
                        <a:pt x="4" y="15"/>
                        <a:pt x="4" y="15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4" y="13"/>
                        <a:pt x="4" y="12"/>
                        <a:pt x="4" y="11"/>
                      </a:cubicBezTo>
                      <a:cubicBezTo>
                        <a:pt x="5" y="11"/>
                        <a:pt x="4" y="11"/>
                        <a:pt x="4" y="11"/>
                      </a:cubicBezTo>
                      <a:cubicBezTo>
                        <a:pt x="4" y="11"/>
                        <a:pt x="5" y="10"/>
                        <a:pt x="5" y="10"/>
                      </a:cubicBezTo>
                      <a:cubicBezTo>
                        <a:pt x="6" y="10"/>
                        <a:pt x="7" y="11"/>
                        <a:pt x="7" y="11"/>
                      </a:cubicBezTo>
                      <a:cubicBezTo>
                        <a:pt x="7" y="11"/>
                        <a:pt x="8" y="11"/>
                        <a:pt x="8" y="11"/>
                      </a:cubicBez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10" y="10"/>
                        <a:pt x="20" y="15"/>
                        <a:pt x="20" y="15"/>
                      </a:cubicBezTo>
                      <a:cubicBezTo>
                        <a:pt x="20" y="15"/>
                        <a:pt x="20" y="16"/>
                        <a:pt x="20" y="17"/>
                      </a:cubicBezTo>
                      <a:cubicBezTo>
                        <a:pt x="20" y="18"/>
                        <a:pt x="20" y="20"/>
                        <a:pt x="20" y="22"/>
                      </a:cubicBezTo>
                      <a:cubicBezTo>
                        <a:pt x="23" y="18"/>
                        <a:pt x="27" y="14"/>
                        <a:pt x="30" y="10"/>
                      </a:cubicBezTo>
                      <a:cubicBezTo>
                        <a:pt x="30" y="9"/>
                        <a:pt x="32" y="6"/>
                        <a:pt x="33" y="5"/>
                      </a:cubicBezTo>
                      <a:cubicBezTo>
                        <a:pt x="35" y="4"/>
                        <a:pt x="40" y="3"/>
                        <a:pt x="42" y="3"/>
                      </a:cubicBezTo>
                      <a:cubicBezTo>
                        <a:pt x="45" y="2"/>
                        <a:pt x="47" y="1"/>
                        <a:pt x="50" y="0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Freeform 20158">
                  <a:extLst>
                    <a:ext uri="{FF2B5EF4-FFF2-40B4-BE49-F238E27FC236}">
                      <a16:creationId xmlns:a16="http://schemas.microsoft.com/office/drawing/2014/main" id="{BC079C91-FF20-9843-98A7-D587AFC0BFA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12418" y="3214678"/>
                  <a:ext cx="53429" cy="36257"/>
                </a:xfrm>
                <a:custGeom>
                  <a:avLst/>
                  <a:gdLst/>
                  <a:ahLst/>
                  <a:cxnLst>
                    <a:cxn ang="0">
                      <a:pos x="1" y="6"/>
                    </a:cxn>
                    <a:cxn ang="0">
                      <a:pos x="0" y="4"/>
                    </a:cxn>
                    <a:cxn ang="0">
                      <a:pos x="3" y="4"/>
                    </a:cxn>
                    <a:cxn ang="0">
                      <a:pos x="5" y="2"/>
                    </a:cxn>
                    <a:cxn ang="0">
                      <a:pos x="11" y="0"/>
                    </a:cxn>
                    <a:cxn ang="0">
                      <a:pos x="11" y="1"/>
                    </a:cxn>
                    <a:cxn ang="0">
                      <a:pos x="9" y="4"/>
                    </a:cxn>
                    <a:cxn ang="0">
                      <a:pos x="7" y="5"/>
                    </a:cxn>
                    <a:cxn ang="0">
                      <a:pos x="4" y="7"/>
                    </a:cxn>
                    <a:cxn ang="0">
                      <a:pos x="3" y="7"/>
                    </a:cxn>
                    <a:cxn ang="0">
                      <a:pos x="1" y="6"/>
                    </a:cxn>
                  </a:cxnLst>
                  <a:rect l="0" t="0" r="r" b="b"/>
                  <a:pathLst>
                    <a:path w="12" h="8">
                      <a:moveTo>
                        <a:pt x="1" y="6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5"/>
                        <a:pt x="1" y="3"/>
                        <a:pt x="3" y="4"/>
                      </a:cubicBezTo>
                      <a:cubicBezTo>
                        <a:pt x="4" y="4"/>
                        <a:pt x="2" y="2"/>
                        <a:pt x="5" y="2"/>
                      </a:cubicBezTo>
                      <a:cubicBezTo>
                        <a:pt x="8" y="3"/>
                        <a:pt x="10" y="1"/>
                        <a:pt x="11" y="0"/>
                      </a:cubicBezTo>
                      <a:cubicBezTo>
                        <a:pt x="12" y="0"/>
                        <a:pt x="12" y="0"/>
                        <a:pt x="11" y="1"/>
                      </a:cubicBezTo>
                      <a:cubicBezTo>
                        <a:pt x="9" y="3"/>
                        <a:pt x="8" y="3"/>
                        <a:pt x="9" y="4"/>
                      </a:cubicBezTo>
                      <a:cubicBezTo>
                        <a:pt x="10" y="5"/>
                        <a:pt x="8" y="4"/>
                        <a:pt x="7" y="5"/>
                      </a:cubicBezTo>
                      <a:cubicBezTo>
                        <a:pt x="6" y="7"/>
                        <a:pt x="4" y="7"/>
                        <a:pt x="4" y="7"/>
                      </a:cubicBezTo>
                      <a:cubicBezTo>
                        <a:pt x="4" y="8"/>
                        <a:pt x="4" y="7"/>
                        <a:pt x="3" y="7"/>
                      </a:cubicBezTo>
                      <a:cubicBezTo>
                        <a:pt x="2" y="7"/>
                        <a:pt x="1" y="7"/>
                        <a:pt x="1" y="6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Freeform 20163">
                  <a:extLst>
                    <a:ext uri="{FF2B5EF4-FFF2-40B4-BE49-F238E27FC236}">
                      <a16:creationId xmlns:a16="http://schemas.microsoft.com/office/drawing/2014/main" id="{3F463C31-324A-CB4D-BC55-B803C49000B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92562" y="3161246"/>
                  <a:ext cx="158383" cy="158383"/>
                </a:xfrm>
                <a:custGeom>
                  <a:avLst/>
                  <a:gdLst/>
                  <a:ahLst/>
                  <a:cxnLst>
                    <a:cxn ang="0">
                      <a:pos x="1" y="19"/>
                    </a:cxn>
                    <a:cxn ang="0">
                      <a:pos x="3" y="19"/>
                    </a:cxn>
                    <a:cxn ang="0">
                      <a:pos x="3" y="19"/>
                    </a:cxn>
                    <a:cxn ang="0">
                      <a:pos x="3" y="20"/>
                    </a:cxn>
                    <a:cxn ang="0">
                      <a:pos x="5" y="22"/>
                    </a:cxn>
                    <a:cxn ang="0">
                      <a:pos x="3" y="24"/>
                    </a:cxn>
                    <a:cxn ang="0">
                      <a:pos x="4" y="25"/>
                    </a:cxn>
                    <a:cxn ang="0">
                      <a:pos x="2" y="25"/>
                    </a:cxn>
                    <a:cxn ang="0">
                      <a:pos x="1" y="26"/>
                    </a:cxn>
                    <a:cxn ang="0">
                      <a:pos x="2" y="26"/>
                    </a:cxn>
                    <a:cxn ang="0">
                      <a:pos x="0" y="29"/>
                    </a:cxn>
                    <a:cxn ang="0">
                      <a:pos x="0" y="29"/>
                    </a:cxn>
                    <a:cxn ang="0">
                      <a:pos x="0" y="29"/>
                    </a:cxn>
                    <a:cxn ang="0">
                      <a:pos x="0" y="31"/>
                    </a:cxn>
                    <a:cxn ang="0">
                      <a:pos x="0" y="32"/>
                    </a:cxn>
                    <a:cxn ang="0">
                      <a:pos x="1" y="32"/>
                    </a:cxn>
                    <a:cxn ang="0">
                      <a:pos x="2" y="34"/>
                    </a:cxn>
                    <a:cxn ang="0">
                      <a:pos x="6" y="35"/>
                    </a:cxn>
                    <a:cxn ang="0">
                      <a:pos x="12" y="31"/>
                    </a:cxn>
                    <a:cxn ang="0">
                      <a:pos x="16" y="28"/>
                    </a:cxn>
                    <a:cxn ang="0">
                      <a:pos x="23" y="24"/>
                    </a:cxn>
                    <a:cxn ang="0">
                      <a:pos x="28" y="21"/>
                    </a:cxn>
                    <a:cxn ang="0">
                      <a:pos x="29" y="18"/>
                    </a:cxn>
                    <a:cxn ang="0">
                      <a:pos x="29" y="18"/>
                    </a:cxn>
                    <a:cxn ang="0">
                      <a:pos x="29" y="17"/>
                    </a:cxn>
                    <a:cxn ang="0">
                      <a:pos x="29" y="15"/>
                    </a:cxn>
                    <a:cxn ang="0">
                      <a:pos x="30" y="11"/>
                    </a:cxn>
                    <a:cxn ang="0">
                      <a:pos x="29" y="7"/>
                    </a:cxn>
                    <a:cxn ang="0">
                      <a:pos x="32" y="6"/>
                    </a:cxn>
                    <a:cxn ang="0">
                      <a:pos x="35" y="2"/>
                    </a:cxn>
                    <a:cxn ang="0">
                      <a:pos x="35" y="1"/>
                    </a:cxn>
                    <a:cxn ang="0">
                      <a:pos x="34" y="1"/>
                    </a:cxn>
                    <a:cxn ang="0">
                      <a:pos x="31" y="2"/>
                    </a:cxn>
                    <a:cxn ang="0">
                      <a:pos x="27" y="2"/>
                    </a:cxn>
                    <a:cxn ang="0">
                      <a:pos x="18" y="5"/>
                    </a:cxn>
                    <a:cxn ang="0">
                      <a:pos x="14" y="3"/>
                    </a:cxn>
                    <a:cxn ang="0">
                      <a:pos x="9" y="5"/>
                    </a:cxn>
                    <a:cxn ang="0">
                      <a:pos x="8" y="5"/>
                    </a:cxn>
                    <a:cxn ang="0">
                      <a:pos x="5" y="4"/>
                    </a:cxn>
                    <a:cxn ang="0">
                      <a:pos x="5" y="7"/>
                    </a:cxn>
                    <a:cxn ang="0">
                      <a:pos x="5" y="8"/>
                    </a:cxn>
                    <a:cxn ang="0">
                      <a:pos x="4" y="8"/>
                    </a:cxn>
                    <a:cxn ang="0">
                      <a:pos x="2" y="11"/>
                    </a:cxn>
                    <a:cxn ang="0">
                      <a:pos x="1" y="10"/>
                    </a:cxn>
                    <a:cxn ang="0">
                      <a:pos x="1" y="14"/>
                    </a:cxn>
                    <a:cxn ang="0">
                      <a:pos x="1" y="19"/>
                    </a:cxn>
                  </a:cxnLst>
                  <a:rect l="0" t="0" r="r" b="b"/>
                  <a:pathLst>
                    <a:path w="35" h="35">
                      <a:moveTo>
                        <a:pt x="1" y="19"/>
                      </a:moveTo>
                      <a:cubicBezTo>
                        <a:pt x="2" y="19"/>
                        <a:pt x="2" y="19"/>
                        <a:pt x="3" y="19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4" y="20"/>
                        <a:pt x="3" y="20"/>
                        <a:pt x="3" y="20"/>
                      </a:cubicBezTo>
                      <a:cubicBezTo>
                        <a:pt x="4" y="20"/>
                        <a:pt x="5" y="21"/>
                        <a:pt x="5" y="22"/>
                      </a:cubicBezTo>
                      <a:cubicBezTo>
                        <a:pt x="5" y="23"/>
                        <a:pt x="3" y="23"/>
                        <a:pt x="3" y="24"/>
                      </a:cubicBezTo>
                      <a:cubicBezTo>
                        <a:pt x="3" y="24"/>
                        <a:pt x="4" y="24"/>
                        <a:pt x="4" y="25"/>
                      </a:cubicBezTo>
                      <a:cubicBezTo>
                        <a:pt x="4" y="25"/>
                        <a:pt x="2" y="25"/>
                        <a:pt x="2" y="25"/>
                      </a:cubicBezTo>
                      <a:cubicBezTo>
                        <a:pt x="2" y="25"/>
                        <a:pt x="2" y="25"/>
                        <a:pt x="1" y="26"/>
                      </a:cubicBezTo>
                      <a:cubicBezTo>
                        <a:pt x="1" y="26"/>
                        <a:pt x="2" y="26"/>
                        <a:pt x="2" y="26"/>
                      </a:cubicBezTo>
                      <a:cubicBezTo>
                        <a:pt x="2" y="27"/>
                        <a:pt x="0" y="29"/>
                        <a:pt x="0" y="29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30"/>
                        <a:pt x="0" y="31"/>
                        <a:pt x="0" y="31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3"/>
                        <a:pt x="0" y="32"/>
                        <a:pt x="1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4"/>
                        <a:pt x="5" y="35"/>
                        <a:pt x="6" y="35"/>
                      </a:cubicBezTo>
                      <a:cubicBezTo>
                        <a:pt x="7" y="35"/>
                        <a:pt x="10" y="32"/>
                        <a:pt x="12" y="31"/>
                      </a:cubicBezTo>
                      <a:cubicBezTo>
                        <a:pt x="13" y="30"/>
                        <a:pt x="15" y="29"/>
                        <a:pt x="16" y="28"/>
                      </a:cubicBezTo>
                      <a:cubicBezTo>
                        <a:pt x="18" y="26"/>
                        <a:pt x="21" y="25"/>
                        <a:pt x="23" y="24"/>
                      </a:cubicBezTo>
                      <a:cubicBezTo>
                        <a:pt x="24" y="23"/>
                        <a:pt x="26" y="22"/>
                        <a:pt x="28" y="21"/>
                      </a:cubicBezTo>
                      <a:cubicBezTo>
                        <a:pt x="28" y="20"/>
                        <a:pt x="29" y="19"/>
                        <a:pt x="29" y="18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29" y="18"/>
                        <a:pt x="29" y="18"/>
                        <a:pt x="29" y="17"/>
                      </a:cubicBezTo>
                      <a:cubicBezTo>
                        <a:pt x="29" y="17"/>
                        <a:pt x="29" y="16"/>
                        <a:pt x="29" y="15"/>
                      </a:cubicBezTo>
                      <a:cubicBezTo>
                        <a:pt x="29" y="14"/>
                        <a:pt x="30" y="12"/>
                        <a:pt x="30" y="11"/>
                      </a:cubicBezTo>
                      <a:cubicBezTo>
                        <a:pt x="29" y="10"/>
                        <a:pt x="29" y="9"/>
                        <a:pt x="29" y="7"/>
                      </a:cubicBezTo>
                      <a:cubicBezTo>
                        <a:pt x="30" y="6"/>
                        <a:pt x="31" y="6"/>
                        <a:pt x="32" y="6"/>
                      </a:cubicBezTo>
                      <a:cubicBezTo>
                        <a:pt x="33" y="5"/>
                        <a:pt x="34" y="3"/>
                        <a:pt x="35" y="2"/>
                      </a:cubicBezTo>
                      <a:cubicBezTo>
                        <a:pt x="35" y="2"/>
                        <a:pt x="35" y="1"/>
                        <a:pt x="35" y="1"/>
                      </a:cubicBezTo>
                      <a:cubicBezTo>
                        <a:pt x="35" y="1"/>
                        <a:pt x="34" y="0"/>
                        <a:pt x="34" y="1"/>
                      </a:cubicBezTo>
                      <a:cubicBezTo>
                        <a:pt x="33" y="2"/>
                        <a:pt x="32" y="2"/>
                        <a:pt x="31" y="2"/>
                      </a:cubicBezTo>
                      <a:cubicBezTo>
                        <a:pt x="29" y="2"/>
                        <a:pt x="28" y="2"/>
                        <a:pt x="27" y="2"/>
                      </a:cubicBezTo>
                      <a:cubicBezTo>
                        <a:pt x="24" y="3"/>
                        <a:pt x="22" y="5"/>
                        <a:pt x="18" y="5"/>
                      </a:cubicBezTo>
                      <a:cubicBezTo>
                        <a:pt x="16" y="5"/>
                        <a:pt x="16" y="4"/>
                        <a:pt x="14" y="3"/>
                      </a:cubicBezTo>
                      <a:cubicBezTo>
                        <a:pt x="12" y="3"/>
                        <a:pt x="11" y="5"/>
                        <a:pt x="9" y="5"/>
                      </a:cubicBezTo>
                      <a:cubicBezTo>
                        <a:pt x="9" y="5"/>
                        <a:pt x="8" y="5"/>
                        <a:pt x="8" y="5"/>
                      </a:cubicBezTo>
                      <a:cubicBezTo>
                        <a:pt x="7" y="5"/>
                        <a:pt x="5" y="4"/>
                        <a:pt x="5" y="4"/>
                      </a:cubicBezTo>
                      <a:cubicBezTo>
                        <a:pt x="5" y="4"/>
                        <a:pt x="4" y="6"/>
                        <a:pt x="5" y="7"/>
                      </a:cubicBezTo>
                      <a:cubicBezTo>
                        <a:pt x="5" y="7"/>
                        <a:pt x="5" y="8"/>
                        <a:pt x="5" y="8"/>
                      </a:cubicBezTo>
                      <a:cubicBezTo>
                        <a:pt x="5" y="8"/>
                        <a:pt x="4" y="8"/>
                        <a:pt x="4" y="8"/>
                      </a:cubicBezTo>
                      <a:cubicBezTo>
                        <a:pt x="3" y="8"/>
                        <a:pt x="3" y="11"/>
                        <a:pt x="2" y="11"/>
                      </a:cubicBezTo>
                      <a:cubicBezTo>
                        <a:pt x="2" y="11"/>
                        <a:pt x="2" y="10"/>
                        <a:pt x="1" y="10"/>
                      </a:cubicBezTo>
                      <a:cubicBezTo>
                        <a:pt x="1" y="11"/>
                        <a:pt x="0" y="12"/>
                        <a:pt x="1" y="14"/>
                      </a:cubicBezTo>
                      <a:cubicBezTo>
                        <a:pt x="2" y="15"/>
                        <a:pt x="1" y="16"/>
                        <a:pt x="1" y="19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Freeform 20164">
                  <a:extLst>
                    <a:ext uri="{FF2B5EF4-FFF2-40B4-BE49-F238E27FC236}">
                      <a16:creationId xmlns:a16="http://schemas.microsoft.com/office/drawing/2014/main" id="{5BFDEDA1-7280-FF46-9C35-BB10E75C0B0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79204" y="3247119"/>
                  <a:ext cx="36257" cy="49613"/>
                </a:xfrm>
                <a:custGeom>
                  <a:avLst/>
                  <a:gdLst/>
                  <a:ahLst/>
                  <a:cxnLst>
                    <a:cxn ang="0">
                      <a:pos x="3" y="10"/>
                    </a:cxn>
                    <a:cxn ang="0">
                      <a:pos x="2" y="10"/>
                    </a:cxn>
                    <a:cxn ang="0">
                      <a:pos x="2" y="11"/>
                    </a:cxn>
                    <a:cxn ang="0">
                      <a:pos x="0" y="11"/>
                    </a:cxn>
                    <a:cxn ang="0">
                      <a:pos x="2" y="7"/>
                    </a:cxn>
                    <a:cxn ang="0">
                      <a:pos x="3" y="4"/>
                    </a:cxn>
                    <a:cxn ang="0">
                      <a:pos x="4" y="0"/>
                    </a:cxn>
                    <a:cxn ang="0">
                      <a:pos x="6" y="0"/>
                    </a:cxn>
                    <a:cxn ang="0">
                      <a:pos x="6" y="0"/>
                    </a:cxn>
                    <a:cxn ang="0">
                      <a:pos x="6" y="1"/>
                    </a:cxn>
                    <a:cxn ang="0">
                      <a:pos x="8" y="3"/>
                    </a:cxn>
                    <a:cxn ang="0">
                      <a:pos x="6" y="5"/>
                    </a:cxn>
                    <a:cxn ang="0">
                      <a:pos x="7" y="6"/>
                    </a:cxn>
                    <a:cxn ang="0">
                      <a:pos x="5" y="6"/>
                    </a:cxn>
                    <a:cxn ang="0">
                      <a:pos x="4" y="7"/>
                    </a:cxn>
                    <a:cxn ang="0">
                      <a:pos x="5" y="7"/>
                    </a:cxn>
                    <a:cxn ang="0">
                      <a:pos x="3" y="10"/>
                    </a:cxn>
                  </a:cxnLst>
                  <a:rect l="0" t="0" r="r" b="b"/>
                  <a:pathLst>
                    <a:path w="8" h="11">
                      <a:moveTo>
                        <a:pt x="3" y="10"/>
                      </a:moveTo>
                      <a:cubicBezTo>
                        <a:pt x="2" y="10"/>
                        <a:pt x="2" y="9"/>
                        <a:pt x="2" y="10"/>
                      </a:cubicBezTo>
                      <a:cubicBezTo>
                        <a:pt x="2" y="10"/>
                        <a:pt x="2" y="11"/>
                        <a:pt x="2" y="11"/>
                      </a:cubicBezTo>
                      <a:cubicBezTo>
                        <a:pt x="2" y="11"/>
                        <a:pt x="1" y="11"/>
                        <a:pt x="0" y="11"/>
                      </a:cubicBezTo>
                      <a:cubicBezTo>
                        <a:pt x="1" y="8"/>
                        <a:pt x="1" y="9"/>
                        <a:pt x="2" y="7"/>
                      </a:cubicBezTo>
                      <a:cubicBezTo>
                        <a:pt x="2" y="4"/>
                        <a:pt x="3" y="6"/>
                        <a:pt x="3" y="4"/>
                      </a:cubicBezTo>
                      <a:cubicBezTo>
                        <a:pt x="2" y="1"/>
                        <a:pt x="5" y="2"/>
                        <a:pt x="4" y="0"/>
                      </a:cubicBezTo>
                      <a:cubicBezTo>
                        <a:pt x="5" y="0"/>
                        <a:pt x="5" y="0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1"/>
                        <a:pt x="6" y="1"/>
                        <a:pt x="6" y="1"/>
                      </a:cubicBezTo>
                      <a:cubicBezTo>
                        <a:pt x="7" y="1"/>
                        <a:pt x="8" y="2"/>
                        <a:pt x="8" y="3"/>
                      </a:cubicBezTo>
                      <a:cubicBezTo>
                        <a:pt x="8" y="4"/>
                        <a:pt x="6" y="4"/>
                        <a:pt x="6" y="5"/>
                      </a:cubicBezTo>
                      <a:cubicBezTo>
                        <a:pt x="6" y="5"/>
                        <a:pt x="7" y="5"/>
                        <a:pt x="7" y="6"/>
                      </a:cubicBezTo>
                      <a:cubicBezTo>
                        <a:pt x="7" y="6"/>
                        <a:pt x="5" y="6"/>
                        <a:pt x="5" y="6"/>
                      </a:cubicBezTo>
                      <a:cubicBezTo>
                        <a:pt x="5" y="6"/>
                        <a:pt x="5" y="6"/>
                        <a:pt x="4" y="7"/>
                      </a:cubicBezTo>
                      <a:cubicBezTo>
                        <a:pt x="4" y="7"/>
                        <a:pt x="5" y="7"/>
                        <a:pt x="5" y="7"/>
                      </a:cubicBezTo>
                      <a:cubicBezTo>
                        <a:pt x="5" y="8"/>
                        <a:pt x="3" y="10"/>
                        <a:pt x="3" y="10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Freeform 20165">
                  <a:extLst>
                    <a:ext uri="{FF2B5EF4-FFF2-40B4-BE49-F238E27FC236}">
                      <a16:creationId xmlns:a16="http://schemas.microsoft.com/office/drawing/2014/main" id="{395ACFB1-3E85-B043-8F35-9ACA83A3173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75389" y="3287191"/>
                  <a:ext cx="103044" cy="125943"/>
                </a:xfrm>
                <a:custGeom>
                  <a:avLst/>
                  <a:gdLst/>
                  <a:ahLst/>
                  <a:cxnLst>
                    <a:cxn ang="0">
                      <a:pos x="4" y="4"/>
                    </a:cxn>
                    <a:cxn ang="0">
                      <a:pos x="3" y="6"/>
                    </a:cxn>
                    <a:cxn ang="0">
                      <a:pos x="3" y="7"/>
                    </a:cxn>
                    <a:cxn ang="0">
                      <a:pos x="3" y="12"/>
                    </a:cxn>
                    <a:cxn ang="0">
                      <a:pos x="3" y="15"/>
                    </a:cxn>
                    <a:cxn ang="0">
                      <a:pos x="1" y="22"/>
                    </a:cxn>
                    <a:cxn ang="0">
                      <a:pos x="0" y="26"/>
                    </a:cxn>
                    <a:cxn ang="0">
                      <a:pos x="0" y="27"/>
                    </a:cxn>
                    <a:cxn ang="0">
                      <a:pos x="6" y="28"/>
                    </a:cxn>
                    <a:cxn ang="0">
                      <a:pos x="10" y="24"/>
                    </a:cxn>
                    <a:cxn ang="0">
                      <a:pos x="14" y="23"/>
                    </a:cxn>
                    <a:cxn ang="0">
                      <a:pos x="14" y="21"/>
                    </a:cxn>
                    <a:cxn ang="0">
                      <a:pos x="16" y="19"/>
                    </a:cxn>
                    <a:cxn ang="0">
                      <a:pos x="11" y="13"/>
                    </a:cxn>
                    <a:cxn ang="0">
                      <a:pos x="14" y="12"/>
                    </a:cxn>
                    <a:cxn ang="0">
                      <a:pos x="22" y="8"/>
                    </a:cxn>
                    <a:cxn ang="0">
                      <a:pos x="23" y="8"/>
                    </a:cxn>
                    <a:cxn ang="0">
                      <a:pos x="21" y="7"/>
                    </a:cxn>
                    <a:cxn ang="0">
                      <a:pos x="21" y="6"/>
                    </a:cxn>
                    <a:cxn ang="0">
                      <a:pos x="22" y="6"/>
                    </a:cxn>
                    <a:cxn ang="0">
                      <a:pos x="22" y="5"/>
                    </a:cxn>
                    <a:cxn ang="0">
                      <a:pos x="20" y="0"/>
                    </a:cxn>
                    <a:cxn ang="0">
                      <a:pos x="16" y="3"/>
                    </a:cxn>
                    <a:cxn ang="0">
                      <a:pos x="10" y="7"/>
                    </a:cxn>
                    <a:cxn ang="0">
                      <a:pos x="6" y="6"/>
                    </a:cxn>
                    <a:cxn ang="0">
                      <a:pos x="5" y="4"/>
                    </a:cxn>
                    <a:cxn ang="0">
                      <a:pos x="4" y="4"/>
                    </a:cxn>
                  </a:cxnLst>
                  <a:rect l="0" t="0" r="r" b="b"/>
                  <a:pathLst>
                    <a:path w="23" h="28">
                      <a:moveTo>
                        <a:pt x="4" y="4"/>
                      </a:moveTo>
                      <a:cubicBezTo>
                        <a:pt x="3" y="4"/>
                        <a:pt x="3" y="5"/>
                        <a:pt x="3" y="6"/>
                      </a:cubicBezTo>
                      <a:cubicBezTo>
                        <a:pt x="3" y="6"/>
                        <a:pt x="3" y="7"/>
                        <a:pt x="3" y="7"/>
                      </a:cubicBezTo>
                      <a:cubicBezTo>
                        <a:pt x="3" y="8"/>
                        <a:pt x="4" y="11"/>
                        <a:pt x="3" y="12"/>
                      </a:cubicBezTo>
                      <a:cubicBezTo>
                        <a:pt x="3" y="13"/>
                        <a:pt x="3" y="14"/>
                        <a:pt x="3" y="15"/>
                      </a:cubicBezTo>
                      <a:cubicBezTo>
                        <a:pt x="3" y="16"/>
                        <a:pt x="1" y="19"/>
                        <a:pt x="1" y="22"/>
                      </a:cubicBezTo>
                      <a:cubicBezTo>
                        <a:pt x="1" y="23"/>
                        <a:pt x="0" y="26"/>
                        <a:pt x="0" y="26"/>
                      </a:cubicBezTo>
                      <a:cubicBezTo>
                        <a:pt x="0" y="26"/>
                        <a:pt x="0" y="26"/>
                        <a:pt x="0" y="27"/>
                      </a:cubicBezTo>
                      <a:cubicBezTo>
                        <a:pt x="1" y="27"/>
                        <a:pt x="5" y="28"/>
                        <a:pt x="6" y="28"/>
                      </a:cubicBezTo>
                      <a:cubicBezTo>
                        <a:pt x="8" y="28"/>
                        <a:pt x="8" y="25"/>
                        <a:pt x="10" y="24"/>
                      </a:cubicBezTo>
                      <a:cubicBezTo>
                        <a:pt x="10" y="23"/>
                        <a:pt x="13" y="24"/>
                        <a:pt x="14" y="23"/>
                      </a:cubicBezTo>
                      <a:cubicBezTo>
                        <a:pt x="14" y="22"/>
                        <a:pt x="14" y="21"/>
                        <a:pt x="14" y="21"/>
                      </a:cubicBezTo>
                      <a:cubicBezTo>
                        <a:pt x="15" y="20"/>
                        <a:pt x="16" y="20"/>
                        <a:pt x="16" y="19"/>
                      </a:cubicBezTo>
                      <a:cubicBezTo>
                        <a:pt x="16" y="19"/>
                        <a:pt x="11" y="13"/>
                        <a:pt x="11" y="13"/>
                      </a:cubicBezTo>
                      <a:cubicBezTo>
                        <a:pt x="11" y="12"/>
                        <a:pt x="13" y="12"/>
                        <a:pt x="14" y="12"/>
                      </a:cubicBezTo>
                      <a:cubicBezTo>
                        <a:pt x="15" y="11"/>
                        <a:pt x="21" y="10"/>
                        <a:pt x="22" y="8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23" y="6"/>
                        <a:pt x="22" y="7"/>
                        <a:pt x="21" y="7"/>
                      </a:cubicBezTo>
                      <a:cubicBezTo>
                        <a:pt x="21" y="7"/>
                        <a:pt x="21" y="6"/>
                        <a:pt x="21" y="6"/>
                      </a:cubicBezTo>
                      <a:cubicBezTo>
                        <a:pt x="21" y="6"/>
                        <a:pt x="22" y="6"/>
                        <a:pt x="22" y="6"/>
                      </a:cubicBezTo>
                      <a:cubicBezTo>
                        <a:pt x="22" y="6"/>
                        <a:pt x="22" y="6"/>
                        <a:pt x="22" y="5"/>
                      </a:cubicBezTo>
                      <a:cubicBezTo>
                        <a:pt x="21" y="4"/>
                        <a:pt x="21" y="2"/>
                        <a:pt x="20" y="0"/>
                      </a:cubicBezTo>
                      <a:cubicBezTo>
                        <a:pt x="19" y="1"/>
                        <a:pt x="17" y="2"/>
                        <a:pt x="16" y="3"/>
                      </a:cubicBezTo>
                      <a:cubicBezTo>
                        <a:pt x="14" y="4"/>
                        <a:pt x="11" y="7"/>
                        <a:pt x="10" y="7"/>
                      </a:cubicBezTo>
                      <a:cubicBezTo>
                        <a:pt x="9" y="7"/>
                        <a:pt x="7" y="6"/>
                        <a:pt x="6" y="6"/>
                      </a:cubicBezTo>
                      <a:cubicBezTo>
                        <a:pt x="6" y="5"/>
                        <a:pt x="6" y="5"/>
                        <a:pt x="5" y="4"/>
                      </a:cubicBezTo>
                      <a:cubicBezTo>
                        <a:pt x="4" y="4"/>
                        <a:pt x="4" y="5"/>
                        <a:pt x="4" y="4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Freeform 20215">
                  <a:extLst>
                    <a:ext uri="{FF2B5EF4-FFF2-40B4-BE49-F238E27FC236}">
                      <a16:creationId xmlns:a16="http://schemas.microsoft.com/office/drawing/2014/main" id="{B7425BF2-8C3C-0B49-922A-7F192E50491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4867392" y="3002863"/>
                  <a:ext cx="436985" cy="207996"/>
                </a:xfrm>
                <a:custGeom>
                  <a:avLst/>
                  <a:gdLst/>
                  <a:ahLst/>
                  <a:cxnLst>
                    <a:cxn ang="0">
                      <a:pos x="91" y="9"/>
                    </a:cxn>
                    <a:cxn ang="0">
                      <a:pos x="92" y="12"/>
                    </a:cxn>
                    <a:cxn ang="0">
                      <a:pos x="92" y="15"/>
                    </a:cxn>
                    <a:cxn ang="0">
                      <a:pos x="96" y="17"/>
                    </a:cxn>
                    <a:cxn ang="0">
                      <a:pos x="97" y="19"/>
                    </a:cxn>
                    <a:cxn ang="0">
                      <a:pos x="93" y="21"/>
                    </a:cxn>
                    <a:cxn ang="0">
                      <a:pos x="94" y="24"/>
                    </a:cxn>
                    <a:cxn ang="0">
                      <a:pos x="95" y="28"/>
                    </a:cxn>
                    <a:cxn ang="0">
                      <a:pos x="94" y="31"/>
                    </a:cxn>
                    <a:cxn ang="0">
                      <a:pos x="97" y="37"/>
                    </a:cxn>
                    <a:cxn ang="0">
                      <a:pos x="95" y="38"/>
                    </a:cxn>
                    <a:cxn ang="0">
                      <a:pos x="91" y="36"/>
                    </a:cxn>
                    <a:cxn ang="0">
                      <a:pos x="88" y="35"/>
                    </a:cxn>
                    <a:cxn ang="0">
                      <a:pos x="87" y="35"/>
                    </a:cxn>
                    <a:cxn ang="0">
                      <a:pos x="87" y="35"/>
                    </a:cxn>
                    <a:cxn ang="0">
                      <a:pos x="85" y="36"/>
                    </a:cxn>
                    <a:cxn ang="0">
                      <a:pos x="81" y="37"/>
                    </a:cxn>
                    <a:cxn ang="0">
                      <a:pos x="68" y="40"/>
                    </a:cxn>
                    <a:cxn ang="0">
                      <a:pos x="59" y="40"/>
                    </a:cxn>
                    <a:cxn ang="0">
                      <a:pos x="55" y="39"/>
                    </a:cxn>
                    <a:cxn ang="0">
                      <a:pos x="55" y="43"/>
                    </a:cxn>
                    <a:cxn ang="0">
                      <a:pos x="52" y="46"/>
                    </a:cxn>
                    <a:cxn ang="0">
                      <a:pos x="51" y="43"/>
                    </a:cxn>
                    <a:cxn ang="0">
                      <a:pos x="49" y="40"/>
                    </a:cxn>
                    <a:cxn ang="0">
                      <a:pos x="36" y="45"/>
                    </a:cxn>
                    <a:cxn ang="0">
                      <a:pos x="23" y="43"/>
                    </a:cxn>
                    <a:cxn ang="0">
                      <a:pos x="16" y="41"/>
                    </a:cxn>
                    <a:cxn ang="0">
                      <a:pos x="10" y="40"/>
                    </a:cxn>
                    <a:cxn ang="0">
                      <a:pos x="10" y="38"/>
                    </a:cxn>
                    <a:cxn ang="0">
                      <a:pos x="7" y="36"/>
                    </a:cxn>
                    <a:cxn ang="0">
                      <a:pos x="6" y="32"/>
                    </a:cxn>
                    <a:cxn ang="0">
                      <a:pos x="2" y="29"/>
                    </a:cxn>
                    <a:cxn ang="0">
                      <a:pos x="4" y="27"/>
                    </a:cxn>
                    <a:cxn ang="0">
                      <a:pos x="3" y="22"/>
                    </a:cxn>
                    <a:cxn ang="0">
                      <a:pos x="0" y="18"/>
                    </a:cxn>
                    <a:cxn ang="0">
                      <a:pos x="7" y="14"/>
                    </a:cxn>
                    <a:cxn ang="0">
                      <a:pos x="10" y="13"/>
                    </a:cxn>
                    <a:cxn ang="0">
                      <a:pos x="17" y="12"/>
                    </a:cxn>
                    <a:cxn ang="0">
                      <a:pos x="16" y="9"/>
                    </a:cxn>
                    <a:cxn ang="0">
                      <a:pos x="24" y="8"/>
                    </a:cxn>
                    <a:cxn ang="0">
                      <a:pos x="36" y="3"/>
                    </a:cxn>
                    <a:cxn ang="0">
                      <a:pos x="50" y="4"/>
                    </a:cxn>
                    <a:cxn ang="0">
                      <a:pos x="58" y="9"/>
                    </a:cxn>
                    <a:cxn ang="0">
                      <a:pos x="71" y="9"/>
                    </a:cxn>
                    <a:cxn ang="0">
                      <a:pos x="83" y="6"/>
                    </a:cxn>
                    <a:cxn ang="0">
                      <a:pos x="86" y="5"/>
                    </a:cxn>
                    <a:cxn ang="0">
                      <a:pos x="89" y="7"/>
                    </a:cxn>
                    <a:cxn ang="0">
                      <a:pos x="91" y="8"/>
                    </a:cxn>
                    <a:cxn ang="0">
                      <a:pos x="1" y="4"/>
                    </a:cxn>
                    <a:cxn ang="0">
                      <a:pos x="0" y="11"/>
                    </a:cxn>
                    <a:cxn ang="0">
                      <a:pos x="1" y="15"/>
                    </a:cxn>
                    <a:cxn ang="0">
                      <a:pos x="7" y="11"/>
                    </a:cxn>
                    <a:cxn ang="0">
                      <a:pos x="15" y="9"/>
                    </a:cxn>
                    <a:cxn ang="0">
                      <a:pos x="10" y="2"/>
                    </a:cxn>
                    <a:cxn ang="0">
                      <a:pos x="5" y="2"/>
                    </a:cxn>
                    <a:cxn ang="0">
                      <a:pos x="1" y="4"/>
                    </a:cxn>
                  </a:cxnLst>
                  <a:rect l="0" t="0" r="r" b="b"/>
                  <a:pathLst>
                    <a:path w="97" h="46">
                      <a:moveTo>
                        <a:pt x="91" y="9"/>
                      </a:moveTo>
                      <a:cubicBezTo>
                        <a:pt x="91" y="9"/>
                        <a:pt x="91" y="9"/>
                        <a:pt x="91" y="9"/>
                      </a:cubicBezTo>
                      <a:cubicBezTo>
                        <a:pt x="91" y="9"/>
                        <a:pt x="90" y="9"/>
                        <a:pt x="91" y="9"/>
                      </a:cubicBezTo>
                      <a:cubicBezTo>
                        <a:pt x="91" y="10"/>
                        <a:pt x="92" y="11"/>
                        <a:pt x="92" y="12"/>
                      </a:cubicBezTo>
                      <a:cubicBezTo>
                        <a:pt x="92" y="13"/>
                        <a:pt x="91" y="13"/>
                        <a:pt x="91" y="14"/>
                      </a:cubicBezTo>
                      <a:cubicBezTo>
                        <a:pt x="91" y="15"/>
                        <a:pt x="92" y="15"/>
                        <a:pt x="92" y="15"/>
                      </a:cubicBezTo>
                      <a:cubicBezTo>
                        <a:pt x="92" y="16"/>
                        <a:pt x="91" y="16"/>
                        <a:pt x="91" y="16"/>
                      </a:cubicBezTo>
                      <a:cubicBezTo>
                        <a:pt x="93" y="17"/>
                        <a:pt x="95" y="16"/>
                        <a:pt x="96" y="17"/>
                      </a:cubicBezTo>
                      <a:cubicBezTo>
                        <a:pt x="97" y="18"/>
                        <a:pt x="97" y="18"/>
                        <a:pt x="97" y="19"/>
                      </a:cubicBezTo>
                      <a:cubicBezTo>
                        <a:pt x="97" y="19"/>
                        <a:pt x="97" y="19"/>
                        <a:pt x="97" y="19"/>
                      </a:cubicBezTo>
                      <a:cubicBezTo>
                        <a:pt x="95" y="17"/>
                        <a:pt x="96" y="20"/>
                        <a:pt x="95" y="21"/>
                      </a:cubicBezTo>
                      <a:cubicBezTo>
                        <a:pt x="95" y="21"/>
                        <a:pt x="93" y="20"/>
                        <a:pt x="93" y="21"/>
                      </a:cubicBezTo>
                      <a:cubicBezTo>
                        <a:pt x="93" y="22"/>
                        <a:pt x="94" y="22"/>
                        <a:pt x="94" y="23"/>
                      </a:cubicBezTo>
                      <a:cubicBezTo>
                        <a:pt x="94" y="24"/>
                        <a:pt x="94" y="24"/>
                        <a:pt x="94" y="24"/>
                      </a:cubicBezTo>
                      <a:cubicBezTo>
                        <a:pt x="94" y="24"/>
                        <a:pt x="95" y="24"/>
                        <a:pt x="95" y="25"/>
                      </a:cubicBezTo>
                      <a:cubicBezTo>
                        <a:pt x="95" y="26"/>
                        <a:pt x="95" y="27"/>
                        <a:pt x="95" y="28"/>
                      </a:cubicBezTo>
                      <a:cubicBezTo>
                        <a:pt x="95" y="28"/>
                        <a:pt x="96" y="28"/>
                        <a:pt x="96" y="29"/>
                      </a:cubicBezTo>
                      <a:cubicBezTo>
                        <a:pt x="96" y="30"/>
                        <a:pt x="94" y="30"/>
                        <a:pt x="94" y="31"/>
                      </a:cubicBezTo>
                      <a:cubicBezTo>
                        <a:pt x="94" y="32"/>
                        <a:pt x="97" y="32"/>
                        <a:pt x="96" y="33"/>
                      </a:cubicBezTo>
                      <a:cubicBezTo>
                        <a:pt x="96" y="35"/>
                        <a:pt x="97" y="35"/>
                        <a:pt x="97" y="37"/>
                      </a:cubicBezTo>
                      <a:cubicBezTo>
                        <a:pt x="97" y="37"/>
                        <a:pt x="97" y="37"/>
                        <a:pt x="96" y="37"/>
                      </a:cubicBezTo>
                      <a:cubicBezTo>
                        <a:pt x="96" y="37"/>
                        <a:pt x="95" y="38"/>
                        <a:pt x="95" y="38"/>
                      </a:cubicBezTo>
                      <a:cubicBezTo>
                        <a:pt x="94" y="37"/>
                        <a:pt x="95" y="36"/>
                        <a:pt x="94" y="36"/>
                      </a:cubicBezTo>
                      <a:cubicBezTo>
                        <a:pt x="93" y="35"/>
                        <a:pt x="93" y="37"/>
                        <a:pt x="91" y="36"/>
                      </a:cubicBezTo>
                      <a:cubicBezTo>
                        <a:pt x="90" y="36"/>
                        <a:pt x="90" y="35"/>
                        <a:pt x="89" y="35"/>
                      </a:cubicBezTo>
                      <a:cubicBezTo>
                        <a:pt x="89" y="35"/>
                        <a:pt x="89" y="35"/>
                        <a:pt x="88" y="35"/>
                      </a:cubicBezTo>
                      <a:cubicBezTo>
                        <a:pt x="88" y="35"/>
                        <a:pt x="88" y="36"/>
                        <a:pt x="88" y="36"/>
                      </a:cubicBezTo>
                      <a:cubicBezTo>
                        <a:pt x="88" y="36"/>
                        <a:pt x="88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6" y="36"/>
                        <a:pt x="86" y="37"/>
                        <a:pt x="85" y="37"/>
                      </a:cubicBezTo>
                      <a:cubicBezTo>
                        <a:pt x="85" y="37"/>
                        <a:pt x="85" y="36"/>
                        <a:pt x="85" y="36"/>
                      </a:cubicBezTo>
                      <a:cubicBezTo>
                        <a:pt x="85" y="36"/>
                        <a:pt x="84" y="35"/>
                        <a:pt x="84" y="36"/>
                      </a:cubicBezTo>
                      <a:cubicBezTo>
                        <a:pt x="83" y="37"/>
                        <a:pt x="82" y="37"/>
                        <a:pt x="81" y="37"/>
                      </a:cubicBezTo>
                      <a:cubicBezTo>
                        <a:pt x="79" y="37"/>
                        <a:pt x="78" y="37"/>
                        <a:pt x="77" y="37"/>
                      </a:cubicBezTo>
                      <a:cubicBezTo>
                        <a:pt x="74" y="38"/>
                        <a:pt x="72" y="40"/>
                        <a:pt x="68" y="40"/>
                      </a:cubicBezTo>
                      <a:cubicBezTo>
                        <a:pt x="66" y="40"/>
                        <a:pt x="66" y="39"/>
                        <a:pt x="64" y="38"/>
                      </a:cubicBezTo>
                      <a:cubicBezTo>
                        <a:pt x="62" y="38"/>
                        <a:pt x="61" y="40"/>
                        <a:pt x="59" y="40"/>
                      </a:cubicBezTo>
                      <a:cubicBezTo>
                        <a:pt x="59" y="40"/>
                        <a:pt x="58" y="40"/>
                        <a:pt x="58" y="40"/>
                      </a:cubicBezTo>
                      <a:cubicBezTo>
                        <a:pt x="57" y="40"/>
                        <a:pt x="55" y="39"/>
                        <a:pt x="55" y="39"/>
                      </a:cubicBezTo>
                      <a:cubicBezTo>
                        <a:pt x="55" y="39"/>
                        <a:pt x="54" y="41"/>
                        <a:pt x="55" y="42"/>
                      </a:cubicBezTo>
                      <a:cubicBezTo>
                        <a:pt x="55" y="42"/>
                        <a:pt x="55" y="43"/>
                        <a:pt x="55" y="43"/>
                      </a:cubicBezTo>
                      <a:cubicBezTo>
                        <a:pt x="55" y="43"/>
                        <a:pt x="54" y="43"/>
                        <a:pt x="54" y="43"/>
                      </a:cubicBezTo>
                      <a:cubicBezTo>
                        <a:pt x="53" y="43"/>
                        <a:pt x="53" y="46"/>
                        <a:pt x="52" y="46"/>
                      </a:cubicBezTo>
                      <a:cubicBezTo>
                        <a:pt x="52" y="46"/>
                        <a:pt x="52" y="45"/>
                        <a:pt x="51" y="45"/>
                      </a:cubicBezTo>
                      <a:cubicBezTo>
                        <a:pt x="52" y="44"/>
                        <a:pt x="51" y="44"/>
                        <a:pt x="51" y="43"/>
                      </a:cubicBezTo>
                      <a:cubicBezTo>
                        <a:pt x="50" y="42"/>
                        <a:pt x="53" y="41"/>
                        <a:pt x="53" y="39"/>
                      </a:cubicBezTo>
                      <a:cubicBezTo>
                        <a:pt x="52" y="38"/>
                        <a:pt x="52" y="38"/>
                        <a:pt x="49" y="40"/>
                      </a:cubicBezTo>
                      <a:cubicBezTo>
                        <a:pt x="47" y="43"/>
                        <a:pt x="47" y="36"/>
                        <a:pt x="42" y="41"/>
                      </a:cubicBezTo>
                      <a:cubicBezTo>
                        <a:pt x="39" y="45"/>
                        <a:pt x="39" y="43"/>
                        <a:pt x="36" y="45"/>
                      </a:cubicBezTo>
                      <a:cubicBezTo>
                        <a:pt x="33" y="46"/>
                        <a:pt x="33" y="41"/>
                        <a:pt x="27" y="39"/>
                      </a:cubicBezTo>
                      <a:cubicBezTo>
                        <a:pt x="21" y="37"/>
                        <a:pt x="24" y="42"/>
                        <a:pt x="23" y="43"/>
                      </a:cubicBezTo>
                      <a:cubicBezTo>
                        <a:pt x="22" y="44"/>
                        <a:pt x="22" y="42"/>
                        <a:pt x="20" y="44"/>
                      </a:cubicBezTo>
                      <a:cubicBezTo>
                        <a:pt x="19" y="45"/>
                        <a:pt x="16" y="43"/>
                        <a:pt x="16" y="41"/>
                      </a:cubicBezTo>
                      <a:cubicBezTo>
                        <a:pt x="15" y="38"/>
                        <a:pt x="15" y="41"/>
                        <a:pt x="13" y="40"/>
                      </a:cubicBezTo>
                      <a:cubicBezTo>
                        <a:pt x="12" y="38"/>
                        <a:pt x="10" y="42"/>
                        <a:pt x="10" y="40"/>
                      </a:cubicBezTo>
                      <a:cubicBezTo>
                        <a:pt x="10" y="39"/>
                        <a:pt x="7" y="41"/>
                        <a:pt x="7" y="40"/>
                      </a:cubicBezTo>
                      <a:cubicBezTo>
                        <a:pt x="6" y="39"/>
                        <a:pt x="9" y="40"/>
                        <a:pt x="10" y="38"/>
                      </a:cubicBezTo>
                      <a:cubicBezTo>
                        <a:pt x="11" y="37"/>
                        <a:pt x="7" y="39"/>
                        <a:pt x="6" y="38"/>
                      </a:cubicBezTo>
                      <a:cubicBezTo>
                        <a:pt x="5" y="36"/>
                        <a:pt x="8" y="38"/>
                        <a:pt x="7" y="36"/>
                      </a:cubicBezTo>
                      <a:cubicBezTo>
                        <a:pt x="7" y="35"/>
                        <a:pt x="6" y="36"/>
                        <a:pt x="6" y="35"/>
                      </a:cubicBezTo>
                      <a:cubicBezTo>
                        <a:pt x="6" y="33"/>
                        <a:pt x="5" y="34"/>
                        <a:pt x="6" y="32"/>
                      </a:cubicBezTo>
                      <a:cubicBezTo>
                        <a:pt x="7" y="30"/>
                        <a:pt x="5" y="31"/>
                        <a:pt x="4" y="30"/>
                      </a:cubicBezTo>
                      <a:cubicBezTo>
                        <a:pt x="3" y="29"/>
                        <a:pt x="3" y="31"/>
                        <a:pt x="2" y="29"/>
                      </a:cubicBezTo>
                      <a:cubicBezTo>
                        <a:pt x="1" y="28"/>
                        <a:pt x="2" y="25"/>
                        <a:pt x="3" y="27"/>
                      </a:cubicBezTo>
                      <a:cubicBezTo>
                        <a:pt x="3" y="30"/>
                        <a:pt x="6" y="28"/>
                        <a:pt x="4" y="27"/>
                      </a:cubicBezTo>
                      <a:cubicBezTo>
                        <a:pt x="2" y="26"/>
                        <a:pt x="6" y="25"/>
                        <a:pt x="4" y="24"/>
                      </a:cubicBezTo>
                      <a:cubicBezTo>
                        <a:pt x="3" y="24"/>
                        <a:pt x="5" y="23"/>
                        <a:pt x="3" y="22"/>
                      </a:cubicBezTo>
                      <a:cubicBezTo>
                        <a:pt x="2" y="21"/>
                        <a:pt x="6" y="19"/>
                        <a:pt x="3" y="20"/>
                      </a:cubicBezTo>
                      <a:cubicBezTo>
                        <a:pt x="0" y="21"/>
                        <a:pt x="0" y="21"/>
                        <a:pt x="0" y="18"/>
                      </a:cubicBezTo>
                      <a:cubicBezTo>
                        <a:pt x="1" y="16"/>
                        <a:pt x="1" y="17"/>
                        <a:pt x="2" y="16"/>
                      </a:cubicBezTo>
                      <a:cubicBezTo>
                        <a:pt x="4" y="13"/>
                        <a:pt x="6" y="13"/>
                        <a:pt x="7" y="14"/>
                      </a:cubicBezTo>
                      <a:cubicBezTo>
                        <a:pt x="7" y="15"/>
                        <a:pt x="9" y="15"/>
                        <a:pt x="8" y="14"/>
                      </a:cubicBezTo>
                      <a:cubicBezTo>
                        <a:pt x="7" y="13"/>
                        <a:pt x="11" y="12"/>
                        <a:pt x="10" y="13"/>
                      </a:cubicBezTo>
                      <a:cubicBezTo>
                        <a:pt x="10" y="14"/>
                        <a:pt x="15" y="14"/>
                        <a:pt x="15" y="14"/>
                      </a:cubicBezTo>
                      <a:cubicBezTo>
                        <a:pt x="16" y="13"/>
                        <a:pt x="11" y="13"/>
                        <a:pt x="17" y="12"/>
                      </a:cubicBezTo>
                      <a:cubicBezTo>
                        <a:pt x="22" y="11"/>
                        <a:pt x="18" y="12"/>
                        <a:pt x="17" y="11"/>
                      </a:cubicBezTo>
                      <a:cubicBezTo>
                        <a:pt x="16" y="10"/>
                        <a:pt x="15" y="10"/>
                        <a:pt x="16" y="9"/>
                      </a:cubicBezTo>
                      <a:cubicBezTo>
                        <a:pt x="16" y="8"/>
                        <a:pt x="16" y="8"/>
                        <a:pt x="19" y="8"/>
                      </a:cubicBezTo>
                      <a:cubicBezTo>
                        <a:pt x="21" y="9"/>
                        <a:pt x="21" y="7"/>
                        <a:pt x="24" y="8"/>
                      </a:cubicBezTo>
                      <a:cubicBezTo>
                        <a:pt x="26" y="9"/>
                        <a:pt x="27" y="9"/>
                        <a:pt x="28" y="8"/>
                      </a:cubicBezTo>
                      <a:cubicBezTo>
                        <a:pt x="28" y="7"/>
                        <a:pt x="30" y="5"/>
                        <a:pt x="36" y="3"/>
                      </a:cubicBezTo>
                      <a:cubicBezTo>
                        <a:pt x="41" y="1"/>
                        <a:pt x="43" y="4"/>
                        <a:pt x="46" y="2"/>
                      </a:cubicBezTo>
                      <a:cubicBezTo>
                        <a:pt x="49" y="0"/>
                        <a:pt x="46" y="6"/>
                        <a:pt x="50" y="4"/>
                      </a:cubicBezTo>
                      <a:cubicBezTo>
                        <a:pt x="54" y="3"/>
                        <a:pt x="52" y="8"/>
                        <a:pt x="55" y="7"/>
                      </a:cubicBezTo>
                      <a:cubicBezTo>
                        <a:pt x="57" y="6"/>
                        <a:pt x="55" y="7"/>
                        <a:pt x="58" y="9"/>
                      </a:cubicBezTo>
                      <a:cubicBezTo>
                        <a:pt x="61" y="10"/>
                        <a:pt x="59" y="7"/>
                        <a:pt x="62" y="9"/>
                      </a:cubicBezTo>
                      <a:cubicBezTo>
                        <a:pt x="64" y="12"/>
                        <a:pt x="68" y="7"/>
                        <a:pt x="71" y="9"/>
                      </a:cubicBezTo>
                      <a:cubicBezTo>
                        <a:pt x="74" y="12"/>
                        <a:pt x="80" y="7"/>
                        <a:pt x="80" y="6"/>
                      </a:cubicBezTo>
                      <a:cubicBezTo>
                        <a:pt x="82" y="7"/>
                        <a:pt x="81" y="6"/>
                        <a:pt x="83" y="6"/>
                      </a:cubicBezTo>
                      <a:cubicBezTo>
                        <a:pt x="83" y="6"/>
                        <a:pt x="85" y="7"/>
                        <a:pt x="85" y="6"/>
                      </a:cubicBezTo>
                      <a:cubicBezTo>
                        <a:pt x="85" y="6"/>
                        <a:pt x="86" y="5"/>
                        <a:pt x="86" y="5"/>
                      </a:cubicBezTo>
                      <a:cubicBezTo>
                        <a:pt x="86" y="5"/>
                        <a:pt x="87" y="5"/>
                        <a:pt x="89" y="7"/>
                      </a:cubicBezTo>
                      <a:cubicBezTo>
                        <a:pt x="89" y="7"/>
                        <a:pt x="89" y="7"/>
                        <a:pt x="89" y="7"/>
                      </a:cubicBezTo>
                      <a:cubicBezTo>
                        <a:pt x="89" y="8"/>
                        <a:pt x="89" y="8"/>
                        <a:pt x="89" y="8"/>
                      </a:cubicBezTo>
                      <a:cubicBezTo>
                        <a:pt x="90" y="9"/>
                        <a:pt x="90" y="8"/>
                        <a:pt x="91" y="8"/>
                      </a:cubicBezTo>
                      <a:cubicBezTo>
                        <a:pt x="91" y="8"/>
                        <a:pt x="91" y="9"/>
                        <a:pt x="91" y="9"/>
                      </a:cubicBezTo>
                      <a:close/>
                      <a:moveTo>
                        <a:pt x="1" y="4"/>
                      </a:moveTo>
                      <a:cubicBezTo>
                        <a:pt x="3" y="6"/>
                        <a:pt x="3" y="7"/>
                        <a:pt x="2" y="8"/>
                      </a:cubicBezTo>
                      <a:cubicBezTo>
                        <a:pt x="1" y="8"/>
                        <a:pt x="2" y="10"/>
                        <a:pt x="0" y="11"/>
                      </a:cubicBezTo>
                      <a:cubicBezTo>
                        <a:pt x="0" y="14"/>
                        <a:pt x="6" y="11"/>
                        <a:pt x="3" y="12"/>
                      </a:cubicBezTo>
                      <a:cubicBezTo>
                        <a:pt x="1" y="14"/>
                        <a:pt x="1" y="13"/>
                        <a:pt x="1" y="15"/>
                      </a:cubicBezTo>
                      <a:cubicBezTo>
                        <a:pt x="0" y="17"/>
                        <a:pt x="1" y="15"/>
                        <a:pt x="3" y="14"/>
                      </a:cubicBezTo>
                      <a:cubicBezTo>
                        <a:pt x="5" y="12"/>
                        <a:pt x="6" y="13"/>
                        <a:pt x="7" y="11"/>
                      </a:cubicBezTo>
                      <a:cubicBezTo>
                        <a:pt x="9" y="7"/>
                        <a:pt x="9" y="11"/>
                        <a:pt x="10" y="10"/>
                      </a:cubicBezTo>
                      <a:cubicBezTo>
                        <a:pt x="12" y="8"/>
                        <a:pt x="14" y="11"/>
                        <a:pt x="15" y="9"/>
                      </a:cubicBezTo>
                      <a:cubicBezTo>
                        <a:pt x="16" y="7"/>
                        <a:pt x="15" y="8"/>
                        <a:pt x="13" y="7"/>
                      </a:cubicBezTo>
                      <a:cubicBezTo>
                        <a:pt x="10" y="5"/>
                        <a:pt x="10" y="4"/>
                        <a:pt x="10" y="2"/>
                      </a:cubicBezTo>
                      <a:cubicBezTo>
                        <a:pt x="9" y="2"/>
                        <a:pt x="9" y="3"/>
                        <a:pt x="8" y="3"/>
                      </a:cubicBezTo>
                      <a:cubicBezTo>
                        <a:pt x="7" y="3"/>
                        <a:pt x="6" y="1"/>
                        <a:pt x="5" y="2"/>
                      </a:cubicBezTo>
                      <a:cubicBezTo>
                        <a:pt x="4" y="3"/>
                        <a:pt x="3" y="1"/>
                        <a:pt x="3" y="3"/>
                      </a:cubicBezTo>
                      <a:cubicBezTo>
                        <a:pt x="2" y="4"/>
                        <a:pt x="1" y="3"/>
                        <a:pt x="1" y="4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Freeform 20240">
                  <a:extLst>
                    <a:ext uri="{FF2B5EF4-FFF2-40B4-BE49-F238E27FC236}">
                      <a16:creationId xmlns:a16="http://schemas.microsoft.com/office/drawing/2014/main" id="{F3637EB2-EE62-FB46-8F5F-A80433067D2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313916" y="3012406"/>
                  <a:ext cx="125943" cy="122127"/>
                </a:xfrm>
                <a:custGeom>
                  <a:avLst/>
                  <a:gdLst/>
                  <a:ahLst/>
                  <a:cxnLst>
                    <a:cxn ang="0">
                      <a:pos x="20" y="26"/>
                    </a:cxn>
                    <a:cxn ang="0">
                      <a:pos x="17" y="24"/>
                    </a:cxn>
                    <a:cxn ang="0">
                      <a:pos x="17" y="25"/>
                    </a:cxn>
                    <a:cxn ang="0">
                      <a:pos x="16" y="24"/>
                    </a:cxn>
                    <a:cxn ang="0">
                      <a:pos x="15" y="23"/>
                    </a:cxn>
                    <a:cxn ang="0">
                      <a:pos x="15" y="22"/>
                    </a:cxn>
                    <a:cxn ang="0">
                      <a:pos x="17" y="21"/>
                    </a:cxn>
                    <a:cxn ang="0">
                      <a:pos x="16" y="20"/>
                    </a:cxn>
                    <a:cxn ang="0">
                      <a:pos x="17" y="19"/>
                    </a:cxn>
                    <a:cxn ang="0">
                      <a:pos x="15" y="17"/>
                    </a:cxn>
                    <a:cxn ang="0">
                      <a:pos x="12" y="19"/>
                    </a:cxn>
                    <a:cxn ang="0">
                      <a:pos x="10" y="20"/>
                    </a:cxn>
                    <a:cxn ang="0">
                      <a:pos x="9" y="21"/>
                    </a:cxn>
                    <a:cxn ang="0">
                      <a:pos x="8" y="22"/>
                    </a:cxn>
                    <a:cxn ang="0">
                      <a:pos x="7" y="23"/>
                    </a:cxn>
                    <a:cxn ang="0">
                      <a:pos x="7" y="21"/>
                    </a:cxn>
                    <a:cxn ang="0">
                      <a:pos x="7" y="21"/>
                    </a:cxn>
                    <a:cxn ang="0">
                      <a:pos x="8" y="20"/>
                    </a:cxn>
                    <a:cxn ang="0">
                      <a:pos x="7" y="19"/>
                    </a:cxn>
                    <a:cxn ang="0">
                      <a:pos x="8" y="18"/>
                    </a:cxn>
                    <a:cxn ang="0">
                      <a:pos x="6" y="17"/>
                    </a:cxn>
                    <a:cxn ang="0">
                      <a:pos x="4" y="15"/>
                    </a:cxn>
                    <a:cxn ang="0">
                      <a:pos x="3" y="15"/>
                    </a:cxn>
                    <a:cxn ang="0">
                      <a:pos x="4" y="15"/>
                    </a:cxn>
                    <a:cxn ang="0">
                      <a:pos x="5" y="13"/>
                    </a:cxn>
                    <a:cxn ang="0">
                      <a:pos x="2" y="11"/>
                    </a:cxn>
                    <a:cxn ang="0">
                      <a:pos x="3" y="9"/>
                    </a:cxn>
                    <a:cxn ang="0">
                      <a:pos x="0" y="5"/>
                    </a:cxn>
                    <a:cxn ang="0">
                      <a:pos x="1" y="4"/>
                    </a:cxn>
                    <a:cxn ang="0">
                      <a:pos x="3" y="5"/>
                    </a:cxn>
                    <a:cxn ang="0">
                      <a:pos x="4" y="6"/>
                    </a:cxn>
                    <a:cxn ang="0">
                      <a:pos x="6" y="6"/>
                    </a:cxn>
                    <a:cxn ang="0">
                      <a:pos x="8" y="6"/>
                    </a:cxn>
                    <a:cxn ang="0">
                      <a:pos x="6" y="4"/>
                    </a:cxn>
                    <a:cxn ang="0">
                      <a:pos x="6" y="3"/>
                    </a:cxn>
                    <a:cxn ang="0">
                      <a:pos x="7" y="1"/>
                    </a:cxn>
                    <a:cxn ang="0">
                      <a:pos x="9" y="2"/>
                    </a:cxn>
                    <a:cxn ang="0">
                      <a:pos x="11" y="4"/>
                    </a:cxn>
                    <a:cxn ang="0">
                      <a:pos x="15" y="5"/>
                    </a:cxn>
                    <a:cxn ang="0">
                      <a:pos x="18" y="2"/>
                    </a:cxn>
                    <a:cxn ang="0">
                      <a:pos x="21" y="7"/>
                    </a:cxn>
                    <a:cxn ang="0">
                      <a:pos x="23" y="10"/>
                    </a:cxn>
                    <a:cxn ang="0">
                      <a:pos x="28" y="12"/>
                    </a:cxn>
                    <a:cxn ang="0">
                      <a:pos x="24" y="12"/>
                    </a:cxn>
                    <a:cxn ang="0">
                      <a:pos x="22" y="17"/>
                    </a:cxn>
                    <a:cxn ang="0">
                      <a:pos x="22" y="20"/>
                    </a:cxn>
                    <a:cxn ang="0">
                      <a:pos x="21" y="22"/>
                    </a:cxn>
                    <a:cxn ang="0">
                      <a:pos x="20" y="22"/>
                    </a:cxn>
                    <a:cxn ang="0">
                      <a:pos x="20" y="26"/>
                    </a:cxn>
                  </a:cxnLst>
                  <a:rect l="0" t="0" r="r" b="b"/>
                  <a:pathLst>
                    <a:path w="28" h="27">
                      <a:moveTo>
                        <a:pt x="20" y="26"/>
                      </a:moveTo>
                      <a:cubicBezTo>
                        <a:pt x="17" y="27"/>
                        <a:pt x="18" y="25"/>
                        <a:pt x="17" y="24"/>
                      </a:cubicBezTo>
                      <a:cubicBezTo>
                        <a:pt x="17" y="24"/>
                        <a:pt x="17" y="25"/>
                        <a:pt x="17" y="25"/>
                      </a:cubicBezTo>
                      <a:cubicBezTo>
                        <a:pt x="16" y="25"/>
                        <a:pt x="16" y="24"/>
                        <a:pt x="16" y="24"/>
                      </a:cubicBezTo>
                      <a:cubicBezTo>
                        <a:pt x="16" y="23"/>
                        <a:pt x="16" y="23"/>
                        <a:pt x="15" y="23"/>
                      </a:cubicBezTo>
                      <a:cubicBezTo>
                        <a:pt x="15" y="23"/>
                        <a:pt x="15" y="23"/>
                        <a:pt x="15" y="22"/>
                      </a:cubicBezTo>
                      <a:cubicBezTo>
                        <a:pt x="15" y="22"/>
                        <a:pt x="17" y="22"/>
                        <a:pt x="17" y="21"/>
                      </a:cubicBezTo>
                      <a:cubicBezTo>
                        <a:pt x="17" y="21"/>
                        <a:pt x="16" y="21"/>
                        <a:pt x="16" y="20"/>
                      </a:cubicBezTo>
                      <a:cubicBezTo>
                        <a:pt x="16" y="19"/>
                        <a:pt x="17" y="19"/>
                        <a:pt x="17" y="19"/>
                      </a:cubicBezTo>
                      <a:cubicBezTo>
                        <a:pt x="17" y="19"/>
                        <a:pt x="15" y="17"/>
                        <a:pt x="15" y="17"/>
                      </a:cubicBezTo>
                      <a:cubicBezTo>
                        <a:pt x="14" y="16"/>
                        <a:pt x="12" y="18"/>
                        <a:pt x="12" y="19"/>
                      </a:cubicBezTo>
                      <a:cubicBezTo>
                        <a:pt x="11" y="19"/>
                        <a:pt x="10" y="20"/>
                        <a:pt x="10" y="20"/>
                      </a:cubicBezTo>
                      <a:cubicBezTo>
                        <a:pt x="9" y="21"/>
                        <a:pt x="9" y="21"/>
                        <a:pt x="9" y="21"/>
                      </a:cubicBezTo>
                      <a:cubicBezTo>
                        <a:pt x="9" y="21"/>
                        <a:pt x="8" y="22"/>
                        <a:pt x="8" y="22"/>
                      </a:cubicBezTo>
                      <a:cubicBezTo>
                        <a:pt x="8" y="23"/>
                        <a:pt x="8" y="23"/>
                        <a:pt x="7" y="23"/>
                      </a:cubicBezTo>
                      <a:cubicBezTo>
                        <a:pt x="7" y="22"/>
                        <a:pt x="7" y="22"/>
                        <a:pt x="7" y="21"/>
                      </a:cubicBezTo>
                      <a:cubicBezTo>
                        <a:pt x="7" y="21"/>
                        <a:pt x="7" y="21"/>
                        <a:pt x="7" y="21"/>
                      </a:cubicBezTo>
                      <a:cubicBezTo>
                        <a:pt x="6" y="20"/>
                        <a:pt x="8" y="20"/>
                        <a:pt x="8" y="20"/>
                      </a:cubicBezTo>
                      <a:cubicBezTo>
                        <a:pt x="8" y="20"/>
                        <a:pt x="6" y="19"/>
                        <a:pt x="7" y="19"/>
                      </a:cubicBezTo>
                      <a:cubicBezTo>
                        <a:pt x="7" y="18"/>
                        <a:pt x="8" y="19"/>
                        <a:pt x="8" y="18"/>
                      </a:cubicBezTo>
                      <a:cubicBezTo>
                        <a:pt x="8" y="17"/>
                        <a:pt x="6" y="18"/>
                        <a:pt x="6" y="17"/>
                      </a:cubicBezTo>
                      <a:cubicBezTo>
                        <a:pt x="5" y="17"/>
                        <a:pt x="4" y="16"/>
                        <a:pt x="4" y="15"/>
                      </a:cubicBez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2" y="14"/>
                        <a:pt x="4" y="15"/>
                        <a:pt x="4" y="15"/>
                      </a:cubicBezTo>
                      <a:cubicBezTo>
                        <a:pt x="4" y="14"/>
                        <a:pt x="5" y="13"/>
                        <a:pt x="5" y="13"/>
                      </a:cubicBezTo>
                      <a:cubicBezTo>
                        <a:pt x="5" y="13"/>
                        <a:pt x="2" y="11"/>
                        <a:pt x="2" y="11"/>
                      </a:cubicBezTo>
                      <a:cubicBezTo>
                        <a:pt x="1" y="9"/>
                        <a:pt x="3" y="9"/>
                        <a:pt x="3" y="9"/>
                      </a:cubicBezTo>
                      <a:cubicBezTo>
                        <a:pt x="3" y="8"/>
                        <a:pt x="0" y="6"/>
                        <a:pt x="0" y="5"/>
                      </a:cubicBezTo>
                      <a:cubicBezTo>
                        <a:pt x="0" y="5"/>
                        <a:pt x="1" y="4"/>
                        <a:pt x="1" y="4"/>
                      </a:cubicBezTo>
                      <a:cubicBezTo>
                        <a:pt x="1" y="4"/>
                        <a:pt x="3" y="5"/>
                        <a:pt x="3" y="5"/>
                      </a:cubicBezTo>
                      <a:cubicBezTo>
                        <a:pt x="4" y="5"/>
                        <a:pt x="3" y="6"/>
                        <a:pt x="4" y="6"/>
                      </a:cubicBezTo>
                      <a:cubicBezTo>
                        <a:pt x="5" y="6"/>
                        <a:pt x="5" y="6"/>
                        <a:pt x="6" y="6"/>
                      </a:cubicBezTo>
                      <a:cubicBezTo>
                        <a:pt x="7" y="6"/>
                        <a:pt x="7" y="8"/>
                        <a:pt x="8" y="6"/>
                      </a:cubicBezTo>
                      <a:cubicBezTo>
                        <a:pt x="9" y="5"/>
                        <a:pt x="6" y="4"/>
                        <a:pt x="6" y="4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2"/>
                        <a:pt x="7" y="1"/>
                        <a:pt x="7" y="1"/>
                      </a:cubicBezTo>
                      <a:cubicBezTo>
                        <a:pt x="8" y="3"/>
                        <a:pt x="9" y="0"/>
                        <a:pt x="9" y="2"/>
                      </a:cubicBezTo>
                      <a:cubicBezTo>
                        <a:pt x="10" y="4"/>
                        <a:pt x="11" y="2"/>
                        <a:pt x="11" y="4"/>
                      </a:cubicBezTo>
                      <a:cubicBezTo>
                        <a:pt x="12" y="7"/>
                        <a:pt x="15" y="6"/>
                        <a:pt x="15" y="5"/>
                      </a:cubicBezTo>
                      <a:cubicBezTo>
                        <a:pt x="16" y="4"/>
                        <a:pt x="17" y="3"/>
                        <a:pt x="18" y="2"/>
                      </a:cubicBezTo>
                      <a:cubicBezTo>
                        <a:pt x="19" y="2"/>
                        <a:pt x="21" y="6"/>
                        <a:pt x="21" y="7"/>
                      </a:cubicBezTo>
                      <a:cubicBezTo>
                        <a:pt x="22" y="8"/>
                        <a:pt x="23" y="8"/>
                        <a:pt x="23" y="10"/>
                      </a:cubicBezTo>
                      <a:cubicBezTo>
                        <a:pt x="23" y="11"/>
                        <a:pt x="27" y="10"/>
                        <a:pt x="28" y="12"/>
                      </a:cubicBezTo>
                      <a:cubicBezTo>
                        <a:pt x="28" y="14"/>
                        <a:pt x="27" y="11"/>
                        <a:pt x="24" y="12"/>
                      </a:cubicBezTo>
                      <a:cubicBezTo>
                        <a:pt x="22" y="14"/>
                        <a:pt x="24" y="16"/>
                        <a:pt x="22" y="17"/>
                      </a:cubicBezTo>
                      <a:cubicBezTo>
                        <a:pt x="21" y="18"/>
                        <a:pt x="23" y="19"/>
                        <a:pt x="22" y="20"/>
                      </a:cubicBezTo>
                      <a:cubicBezTo>
                        <a:pt x="21" y="20"/>
                        <a:pt x="22" y="21"/>
                        <a:pt x="21" y="22"/>
                      </a:cubicBezTo>
                      <a:cubicBezTo>
                        <a:pt x="21" y="22"/>
                        <a:pt x="21" y="18"/>
                        <a:pt x="20" y="22"/>
                      </a:cubicBezTo>
                      <a:cubicBezTo>
                        <a:pt x="19" y="24"/>
                        <a:pt x="19" y="25"/>
                        <a:pt x="20" y="26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Freeform 20258">
                  <a:extLst>
                    <a:ext uri="{FF2B5EF4-FFF2-40B4-BE49-F238E27FC236}">
                      <a16:creationId xmlns:a16="http://schemas.microsoft.com/office/drawing/2014/main" id="{F91AA61C-8068-F143-881F-CF169F8B6B4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445585" y="3504728"/>
                  <a:ext cx="20991" cy="49613"/>
                </a:xfrm>
                <a:custGeom>
                  <a:avLst/>
                  <a:gdLst/>
                  <a:ahLst/>
                  <a:cxnLst>
                    <a:cxn ang="0">
                      <a:pos x="3" y="11"/>
                    </a:cxn>
                    <a:cxn ang="0">
                      <a:pos x="2" y="11"/>
                    </a:cxn>
                    <a:cxn ang="0">
                      <a:pos x="1" y="10"/>
                    </a:cxn>
                    <a:cxn ang="0">
                      <a:pos x="1" y="3"/>
                    </a:cxn>
                    <a:cxn ang="0">
                      <a:pos x="3" y="1"/>
                    </a:cxn>
                    <a:cxn ang="0">
                      <a:pos x="4" y="4"/>
                    </a:cxn>
                    <a:cxn ang="0">
                      <a:pos x="5" y="7"/>
                    </a:cxn>
                    <a:cxn ang="0">
                      <a:pos x="3" y="11"/>
                    </a:cxn>
                    <a:cxn ang="0">
                      <a:pos x="3" y="11"/>
                    </a:cxn>
                  </a:cxnLst>
                  <a:rect l="0" t="0" r="r" b="b"/>
                  <a:pathLst>
                    <a:path w="5" h="11">
                      <a:moveTo>
                        <a:pt x="3" y="11"/>
                      </a:moveTo>
                      <a:cubicBezTo>
                        <a:pt x="3" y="11"/>
                        <a:pt x="3" y="11"/>
                        <a:pt x="2" y="11"/>
                      </a:cubicBezTo>
                      <a:cubicBezTo>
                        <a:pt x="2" y="11"/>
                        <a:pt x="1" y="11"/>
                        <a:pt x="1" y="10"/>
                      </a:cubicBezTo>
                      <a:cubicBezTo>
                        <a:pt x="1" y="5"/>
                        <a:pt x="0" y="6"/>
                        <a:pt x="1" y="3"/>
                      </a:cubicBezTo>
                      <a:cubicBezTo>
                        <a:pt x="2" y="2"/>
                        <a:pt x="2" y="0"/>
                        <a:pt x="3" y="1"/>
                      </a:cubicBezTo>
                      <a:cubicBezTo>
                        <a:pt x="4" y="2"/>
                        <a:pt x="5" y="3"/>
                        <a:pt x="4" y="4"/>
                      </a:cubicBezTo>
                      <a:cubicBezTo>
                        <a:pt x="4" y="6"/>
                        <a:pt x="5" y="6"/>
                        <a:pt x="5" y="7"/>
                      </a:cubicBezTo>
                      <a:cubicBezTo>
                        <a:pt x="5" y="9"/>
                        <a:pt x="4" y="11"/>
                        <a:pt x="3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Freeform 20259">
                  <a:extLst>
                    <a:ext uri="{FF2B5EF4-FFF2-40B4-BE49-F238E27FC236}">
                      <a16:creationId xmlns:a16="http://schemas.microsoft.com/office/drawing/2014/main" id="{E683D2FC-51F0-1C47-A6C1-09FF0363962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472299" y="3499004"/>
                  <a:ext cx="188914" cy="286234"/>
                </a:xfrm>
                <a:custGeom>
                  <a:avLst/>
                  <a:gdLst/>
                  <a:ahLst/>
                  <a:cxnLst>
                    <a:cxn ang="0">
                      <a:pos x="9" y="45"/>
                    </a:cxn>
                    <a:cxn ang="0">
                      <a:pos x="17" y="42"/>
                    </a:cxn>
                    <a:cxn ang="0">
                      <a:pos x="19" y="33"/>
                    </a:cxn>
                    <a:cxn ang="0">
                      <a:pos x="20" y="29"/>
                    </a:cxn>
                    <a:cxn ang="0">
                      <a:pos x="18" y="24"/>
                    </a:cxn>
                    <a:cxn ang="0">
                      <a:pos x="19" y="19"/>
                    </a:cxn>
                    <a:cxn ang="0">
                      <a:pos x="19" y="16"/>
                    </a:cxn>
                    <a:cxn ang="0">
                      <a:pos x="21" y="15"/>
                    </a:cxn>
                    <a:cxn ang="0">
                      <a:pos x="21" y="14"/>
                    </a:cxn>
                    <a:cxn ang="0">
                      <a:pos x="21" y="12"/>
                    </a:cxn>
                    <a:cxn ang="0">
                      <a:pos x="22" y="10"/>
                    </a:cxn>
                    <a:cxn ang="0">
                      <a:pos x="24" y="9"/>
                    </a:cxn>
                    <a:cxn ang="0">
                      <a:pos x="30" y="17"/>
                    </a:cxn>
                    <a:cxn ang="0">
                      <a:pos x="35" y="18"/>
                    </a:cxn>
                    <a:cxn ang="0">
                      <a:pos x="40" y="25"/>
                    </a:cxn>
                    <a:cxn ang="0">
                      <a:pos x="41" y="30"/>
                    </a:cxn>
                    <a:cxn ang="0">
                      <a:pos x="35" y="37"/>
                    </a:cxn>
                    <a:cxn ang="0">
                      <a:pos x="31" y="41"/>
                    </a:cxn>
                    <a:cxn ang="0">
                      <a:pos x="29" y="49"/>
                    </a:cxn>
                    <a:cxn ang="0">
                      <a:pos x="21" y="55"/>
                    </a:cxn>
                    <a:cxn ang="0">
                      <a:pos x="15" y="61"/>
                    </a:cxn>
                    <a:cxn ang="0">
                      <a:pos x="9" y="63"/>
                    </a:cxn>
                    <a:cxn ang="0">
                      <a:pos x="7" y="63"/>
                    </a:cxn>
                    <a:cxn ang="0">
                      <a:pos x="5" y="61"/>
                    </a:cxn>
                    <a:cxn ang="0">
                      <a:pos x="4" y="58"/>
                    </a:cxn>
                    <a:cxn ang="0">
                      <a:pos x="0" y="51"/>
                    </a:cxn>
                    <a:cxn ang="0">
                      <a:pos x="1" y="48"/>
                    </a:cxn>
                    <a:cxn ang="0">
                      <a:pos x="9" y="45"/>
                    </a:cxn>
                    <a:cxn ang="0">
                      <a:pos x="24" y="3"/>
                    </a:cxn>
                    <a:cxn ang="0">
                      <a:pos x="24" y="0"/>
                    </a:cxn>
                    <a:cxn ang="0">
                      <a:pos x="23" y="1"/>
                    </a:cxn>
                    <a:cxn ang="0">
                      <a:pos x="22" y="2"/>
                    </a:cxn>
                    <a:cxn ang="0">
                      <a:pos x="23" y="5"/>
                    </a:cxn>
                    <a:cxn ang="0">
                      <a:pos x="24" y="3"/>
                    </a:cxn>
                  </a:cxnLst>
                  <a:rect l="0" t="0" r="r" b="b"/>
                  <a:pathLst>
                    <a:path w="42" h="63">
                      <a:moveTo>
                        <a:pt x="9" y="45"/>
                      </a:moveTo>
                      <a:cubicBezTo>
                        <a:pt x="11" y="44"/>
                        <a:pt x="16" y="43"/>
                        <a:pt x="17" y="42"/>
                      </a:cubicBezTo>
                      <a:cubicBezTo>
                        <a:pt x="17" y="41"/>
                        <a:pt x="19" y="34"/>
                        <a:pt x="19" y="33"/>
                      </a:cubicBezTo>
                      <a:cubicBezTo>
                        <a:pt x="19" y="32"/>
                        <a:pt x="20" y="30"/>
                        <a:pt x="20" y="29"/>
                      </a:cubicBezTo>
                      <a:cubicBezTo>
                        <a:pt x="20" y="28"/>
                        <a:pt x="18" y="25"/>
                        <a:pt x="18" y="24"/>
                      </a:cubicBezTo>
                      <a:cubicBezTo>
                        <a:pt x="18" y="23"/>
                        <a:pt x="17" y="22"/>
                        <a:pt x="19" y="19"/>
                      </a:cubicBezTo>
                      <a:cubicBezTo>
                        <a:pt x="20" y="16"/>
                        <a:pt x="20" y="17"/>
                        <a:pt x="19" y="16"/>
                      </a:cubicBezTo>
                      <a:cubicBezTo>
                        <a:pt x="19" y="16"/>
                        <a:pt x="20" y="16"/>
                        <a:pt x="21" y="15"/>
                      </a:cubicBezTo>
                      <a:cubicBezTo>
                        <a:pt x="23" y="15"/>
                        <a:pt x="22" y="14"/>
                        <a:pt x="21" y="14"/>
                      </a:cubicBezTo>
                      <a:cubicBezTo>
                        <a:pt x="20" y="14"/>
                        <a:pt x="21" y="14"/>
                        <a:pt x="21" y="12"/>
                      </a:cubicBezTo>
                      <a:cubicBezTo>
                        <a:pt x="21" y="10"/>
                        <a:pt x="21" y="8"/>
                        <a:pt x="22" y="10"/>
                      </a:cubicBezTo>
                      <a:cubicBezTo>
                        <a:pt x="23" y="12"/>
                        <a:pt x="22" y="10"/>
                        <a:pt x="24" y="9"/>
                      </a:cubicBezTo>
                      <a:cubicBezTo>
                        <a:pt x="24" y="12"/>
                        <a:pt x="27" y="17"/>
                        <a:pt x="30" y="17"/>
                      </a:cubicBezTo>
                      <a:cubicBezTo>
                        <a:pt x="34" y="17"/>
                        <a:pt x="33" y="19"/>
                        <a:pt x="35" y="18"/>
                      </a:cubicBezTo>
                      <a:cubicBezTo>
                        <a:pt x="37" y="18"/>
                        <a:pt x="39" y="24"/>
                        <a:pt x="40" y="25"/>
                      </a:cubicBezTo>
                      <a:cubicBezTo>
                        <a:pt x="42" y="26"/>
                        <a:pt x="42" y="26"/>
                        <a:pt x="41" y="30"/>
                      </a:cubicBezTo>
                      <a:cubicBezTo>
                        <a:pt x="39" y="35"/>
                        <a:pt x="37" y="33"/>
                        <a:pt x="35" y="37"/>
                      </a:cubicBezTo>
                      <a:cubicBezTo>
                        <a:pt x="33" y="43"/>
                        <a:pt x="34" y="34"/>
                        <a:pt x="31" y="41"/>
                      </a:cubicBezTo>
                      <a:cubicBezTo>
                        <a:pt x="29" y="47"/>
                        <a:pt x="34" y="48"/>
                        <a:pt x="29" y="49"/>
                      </a:cubicBezTo>
                      <a:cubicBezTo>
                        <a:pt x="23" y="50"/>
                        <a:pt x="27" y="55"/>
                        <a:pt x="21" y="55"/>
                      </a:cubicBezTo>
                      <a:cubicBezTo>
                        <a:pt x="17" y="55"/>
                        <a:pt x="19" y="62"/>
                        <a:pt x="15" y="61"/>
                      </a:cubicBezTo>
                      <a:cubicBezTo>
                        <a:pt x="11" y="61"/>
                        <a:pt x="10" y="63"/>
                        <a:pt x="9" y="63"/>
                      </a:cubicBezTo>
                      <a:cubicBezTo>
                        <a:pt x="8" y="63"/>
                        <a:pt x="7" y="63"/>
                        <a:pt x="7" y="63"/>
                      </a:cubicBezTo>
                      <a:cubicBezTo>
                        <a:pt x="6" y="63"/>
                        <a:pt x="5" y="62"/>
                        <a:pt x="5" y="61"/>
                      </a:cubicBezTo>
                      <a:cubicBezTo>
                        <a:pt x="4" y="59"/>
                        <a:pt x="5" y="59"/>
                        <a:pt x="4" y="58"/>
                      </a:cubicBezTo>
                      <a:cubicBezTo>
                        <a:pt x="3" y="56"/>
                        <a:pt x="1" y="53"/>
                        <a:pt x="0" y="51"/>
                      </a:cubicBezTo>
                      <a:cubicBezTo>
                        <a:pt x="0" y="50"/>
                        <a:pt x="1" y="49"/>
                        <a:pt x="1" y="48"/>
                      </a:cubicBezTo>
                      <a:cubicBezTo>
                        <a:pt x="4" y="47"/>
                        <a:pt x="6" y="46"/>
                        <a:pt x="9" y="45"/>
                      </a:cubicBezTo>
                      <a:close/>
                      <a:moveTo>
                        <a:pt x="24" y="3"/>
                      </a:moveTo>
                      <a:cubicBezTo>
                        <a:pt x="24" y="2"/>
                        <a:pt x="25" y="0"/>
                        <a:pt x="24" y="0"/>
                      </a:cubicBezTo>
                      <a:cubicBezTo>
                        <a:pt x="23" y="0"/>
                        <a:pt x="24" y="2"/>
                        <a:pt x="23" y="1"/>
                      </a:cubicBezTo>
                      <a:cubicBezTo>
                        <a:pt x="22" y="1"/>
                        <a:pt x="23" y="1"/>
                        <a:pt x="22" y="2"/>
                      </a:cubicBezTo>
                      <a:cubicBezTo>
                        <a:pt x="23" y="2"/>
                        <a:pt x="22" y="5"/>
                        <a:pt x="23" y="5"/>
                      </a:cubicBezTo>
                      <a:cubicBezTo>
                        <a:pt x="23" y="4"/>
                        <a:pt x="24" y="3"/>
                        <a:pt x="24" y="3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Freeform 20260">
                  <a:extLst>
                    <a:ext uri="{FF2B5EF4-FFF2-40B4-BE49-F238E27FC236}">
                      <a16:creationId xmlns:a16="http://schemas.microsoft.com/office/drawing/2014/main" id="{E5EDBC56-6F78-B74F-9238-1232622D9FE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453219" y="3508544"/>
                  <a:ext cx="127851" cy="112586"/>
                </a:xfrm>
                <a:custGeom>
                  <a:avLst/>
                  <a:gdLst/>
                  <a:ahLst/>
                  <a:cxnLst>
                    <a:cxn ang="0">
                      <a:pos x="27" y="3"/>
                    </a:cxn>
                    <a:cxn ang="0">
                      <a:pos x="26" y="0"/>
                    </a:cxn>
                    <a:cxn ang="0">
                      <a:pos x="25" y="3"/>
                    </a:cxn>
                    <a:cxn ang="0">
                      <a:pos x="22" y="6"/>
                    </a:cxn>
                    <a:cxn ang="0">
                      <a:pos x="17" y="10"/>
                    </a:cxn>
                    <a:cxn ang="0">
                      <a:pos x="17" y="12"/>
                    </a:cxn>
                    <a:cxn ang="0">
                      <a:pos x="7" y="13"/>
                    </a:cxn>
                    <a:cxn ang="0">
                      <a:pos x="4" y="13"/>
                    </a:cxn>
                    <a:cxn ang="0">
                      <a:pos x="2" y="12"/>
                    </a:cxn>
                    <a:cxn ang="0">
                      <a:pos x="2" y="10"/>
                    </a:cxn>
                    <a:cxn ang="0">
                      <a:pos x="1" y="10"/>
                    </a:cxn>
                    <a:cxn ang="0">
                      <a:pos x="0" y="10"/>
                    </a:cxn>
                    <a:cxn ang="0">
                      <a:pos x="2" y="13"/>
                    </a:cxn>
                    <a:cxn ang="0">
                      <a:pos x="4" y="18"/>
                    </a:cxn>
                    <a:cxn ang="0">
                      <a:pos x="10" y="21"/>
                    </a:cxn>
                    <a:cxn ang="0">
                      <a:pos x="22" y="22"/>
                    </a:cxn>
                    <a:cxn ang="0">
                      <a:pos x="23" y="17"/>
                    </a:cxn>
                    <a:cxn ang="0">
                      <a:pos x="23" y="14"/>
                    </a:cxn>
                    <a:cxn ang="0">
                      <a:pos x="25" y="13"/>
                    </a:cxn>
                    <a:cxn ang="0">
                      <a:pos x="25" y="12"/>
                    </a:cxn>
                    <a:cxn ang="0">
                      <a:pos x="25" y="10"/>
                    </a:cxn>
                    <a:cxn ang="0">
                      <a:pos x="26" y="8"/>
                    </a:cxn>
                    <a:cxn ang="0">
                      <a:pos x="28" y="7"/>
                    </a:cxn>
                    <a:cxn ang="0">
                      <a:pos x="27" y="3"/>
                    </a:cxn>
                  </a:cxnLst>
                  <a:rect l="0" t="0" r="r" b="b"/>
                  <a:pathLst>
                    <a:path w="28" h="25">
                      <a:moveTo>
                        <a:pt x="27" y="3"/>
                      </a:moveTo>
                      <a:cubicBezTo>
                        <a:pt x="26" y="3"/>
                        <a:pt x="27" y="0"/>
                        <a:pt x="26" y="0"/>
                      </a:cubicBezTo>
                      <a:cubicBezTo>
                        <a:pt x="25" y="4"/>
                        <a:pt x="26" y="0"/>
                        <a:pt x="25" y="3"/>
                      </a:cubicBezTo>
                      <a:cubicBezTo>
                        <a:pt x="24" y="4"/>
                        <a:pt x="23" y="4"/>
                        <a:pt x="22" y="6"/>
                      </a:cubicBezTo>
                      <a:cubicBezTo>
                        <a:pt x="20" y="8"/>
                        <a:pt x="18" y="10"/>
                        <a:pt x="17" y="10"/>
                      </a:cubicBezTo>
                      <a:cubicBezTo>
                        <a:pt x="17" y="11"/>
                        <a:pt x="19" y="10"/>
                        <a:pt x="17" y="12"/>
                      </a:cubicBezTo>
                      <a:cubicBezTo>
                        <a:pt x="15" y="15"/>
                        <a:pt x="11" y="12"/>
                        <a:pt x="7" y="13"/>
                      </a:cubicBezTo>
                      <a:cubicBezTo>
                        <a:pt x="4" y="14"/>
                        <a:pt x="4" y="14"/>
                        <a:pt x="4" y="13"/>
                      </a:cubicBezTo>
                      <a:cubicBezTo>
                        <a:pt x="4" y="11"/>
                        <a:pt x="3" y="12"/>
                        <a:pt x="2" y="12"/>
                      </a:cubicBezTo>
                      <a:cubicBezTo>
                        <a:pt x="0" y="12"/>
                        <a:pt x="2" y="10"/>
                        <a:pt x="2" y="10"/>
                      </a:cubicBezTo>
                      <a:cubicBezTo>
                        <a:pt x="2" y="9"/>
                        <a:pt x="1" y="10"/>
                        <a:pt x="1" y="10"/>
                      </a:cubicBezTo>
                      <a:cubicBezTo>
                        <a:pt x="1" y="10"/>
                        <a:pt x="1" y="10"/>
                        <a:pt x="0" y="10"/>
                      </a:cubicBezTo>
                      <a:cubicBezTo>
                        <a:pt x="0" y="12"/>
                        <a:pt x="0" y="12"/>
                        <a:pt x="2" y="13"/>
                      </a:cubicBezTo>
                      <a:cubicBezTo>
                        <a:pt x="4" y="15"/>
                        <a:pt x="4" y="15"/>
                        <a:pt x="4" y="18"/>
                      </a:cubicBezTo>
                      <a:cubicBezTo>
                        <a:pt x="5" y="20"/>
                        <a:pt x="4" y="20"/>
                        <a:pt x="10" y="21"/>
                      </a:cubicBezTo>
                      <a:cubicBezTo>
                        <a:pt x="16" y="22"/>
                        <a:pt x="21" y="25"/>
                        <a:pt x="22" y="22"/>
                      </a:cubicBezTo>
                      <a:cubicBezTo>
                        <a:pt x="22" y="21"/>
                        <a:pt x="21" y="20"/>
                        <a:pt x="23" y="17"/>
                      </a:cubicBezTo>
                      <a:cubicBezTo>
                        <a:pt x="24" y="14"/>
                        <a:pt x="24" y="15"/>
                        <a:pt x="23" y="14"/>
                      </a:cubicBezTo>
                      <a:cubicBezTo>
                        <a:pt x="23" y="14"/>
                        <a:pt x="24" y="14"/>
                        <a:pt x="25" y="13"/>
                      </a:cubicBezTo>
                      <a:cubicBezTo>
                        <a:pt x="27" y="13"/>
                        <a:pt x="26" y="12"/>
                        <a:pt x="25" y="12"/>
                      </a:cubicBezTo>
                      <a:cubicBezTo>
                        <a:pt x="24" y="12"/>
                        <a:pt x="25" y="12"/>
                        <a:pt x="25" y="10"/>
                      </a:cubicBezTo>
                      <a:cubicBezTo>
                        <a:pt x="25" y="8"/>
                        <a:pt x="25" y="6"/>
                        <a:pt x="26" y="8"/>
                      </a:cubicBezTo>
                      <a:cubicBezTo>
                        <a:pt x="27" y="10"/>
                        <a:pt x="26" y="8"/>
                        <a:pt x="28" y="7"/>
                      </a:cubicBezTo>
                      <a:cubicBezTo>
                        <a:pt x="28" y="5"/>
                        <a:pt x="28" y="4"/>
                        <a:pt x="27" y="3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Freeform 20261">
                  <a:extLst>
                    <a:ext uri="{FF2B5EF4-FFF2-40B4-BE49-F238E27FC236}">
                      <a16:creationId xmlns:a16="http://schemas.microsoft.com/office/drawing/2014/main" id="{C35DE81C-EE1F-3844-8B15-22715ACE933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287202" y="3079194"/>
                  <a:ext cx="456066" cy="461790"/>
                </a:xfrm>
                <a:custGeom>
                  <a:avLst/>
                  <a:gdLst/>
                  <a:ahLst/>
                  <a:cxnLst>
                    <a:cxn ang="0">
                      <a:pos x="33" y="19"/>
                    </a:cxn>
                    <a:cxn ang="0">
                      <a:pos x="52" y="21"/>
                    </a:cxn>
                    <a:cxn ang="0">
                      <a:pos x="52" y="18"/>
                    </a:cxn>
                    <a:cxn ang="0">
                      <a:pos x="65" y="13"/>
                    </a:cxn>
                    <a:cxn ang="0">
                      <a:pos x="70" y="13"/>
                    </a:cxn>
                    <a:cxn ang="0">
                      <a:pos x="78" y="16"/>
                    </a:cxn>
                    <a:cxn ang="0">
                      <a:pos x="86" y="23"/>
                    </a:cxn>
                    <a:cxn ang="0">
                      <a:pos x="90" y="26"/>
                    </a:cxn>
                    <a:cxn ang="0">
                      <a:pos x="90" y="31"/>
                    </a:cxn>
                    <a:cxn ang="0">
                      <a:pos x="88" y="57"/>
                    </a:cxn>
                    <a:cxn ang="0">
                      <a:pos x="88" y="70"/>
                    </a:cxn>
                    <a:cxn ang="0">
                      <a:pos x="97" y="80"/>
                    </a:cxn>
                    <a:cxn ang="0">
                      <a:pos x="98" y="86"/>
                    </a:cxn>
                    <a:cxn ang="0">
                      <a:pos x="100" y="91"/>
                    </a:cxn>
                    <a:cxn ang="0">
                      <a:pos x="93" y="95"/>
                    </a:cxn>
                    <a:cxn ang="0">
                      <a:pos x="90" y="101"/>
                    </a:cxn>
                    <a:cxn ang="0">
                      <a:pos x="86" y="100"/>
                    </a:cxn>
                    <a:cxn ang="0">
                      <a:pos x="76" y="98"/>
                    </a:cxn>
                    <a:cxn ang="0">
                      <a:pos x="69" y="96"/>
                    </a:cxn>
                    <a:cxn ang="0">
                      <a:pos x="62" y="89"/>
                    </a:cxn>
                    <a:cxn ang="0">
                      <a:pos x="55" y="92"/>
                    </a:cxn>
                    <a:cxn ang="0">
                      <a:pos x="45" y="86"/>
                    </a:cxn>
                    <a:cxn ang="0">
                      <a:pos x="36" y="77"/>
                    </a:cxn>
                    <a:cxn ang="0">
                      <a:pos x="30" y="68"/>
                    </a:cxn>
                    <a:cxn ang="0">
                      <a:pos x="24" y="69"/>
                    </a:cxn>
                    <a:cxn ang="0">
                      <a:pos x="20" y="62"/>
                    </a:cxn>
                    <a:cxn ang="0">
                      <a:pos x="12" y="47"/>
                    </a:cxn>
                    <a:cxn ang="0">
                      <a:pos x="11" y="32"/>
                    </a:cxn>
                    <a:cxn ang="0">
                      <a:pos x="7" y="27"/>
                    </a:cxn>
                    <a:cxn ang="0">
                      <a:pos x="3" y="16"/>
                    </a:cxn>
                    <a:cxn ang="0">
                      <a:pos x="3" y="12"/>
                    </a:cxn>
                    <a:cxn ang="0">
                      <a:pos x="2" y="8"/>
                    </a:cxn>
                    <a:cxn ang="0">
                      <a:pos x="1" y="6"/>
                    </a:cxn>
                    <a:cxn ang="0">
                      <a:pos x="2" y="4"/>
                    </a:cxn>
                    <a:cxn ang="0">
                      <a:pos x="4" y="2"/>
                    </a:cxn>
                    <a:cxn ang="0">
                      <a:pos x="12" y="8"/>
                    </a:cxn>
                    <a:cxn ang="0">
                      <a:pos x="13" y="8"/>
                    </a:cxn>
                    <a:cxn ang="0">
                      <a:pos x="15" y="6"/>
                    </a:cxn>
                    <a:cxn ang="0">
                      <a:pos x="18" y="4"/>
                    </a:cxn>
                    <a:cxn ang="0">
                      <a:pos x="23" y="4"/>
                    </a:cxn>
                    <a:cxn ang="0">
                      <a:pos x="23" y="6"/>
                    </a:cxn>
                    <a:cxn ang="0">
                      <a:pos x="21" y="8"/>
                    </a:cxn>
                    <a:cxn ang="0">
                      <a:pos x="23" y="10"/>
                    </a:cxn>
                    <a:cxn ang="0">
                      <a:pos x="26" y="11"/>
                    </a:cxn>
                    <a:cxn ang="0">
                      <a:pos x="62" y="90"/>
                    </a:cxn>
                    <a:cxn ang="0">
                      <a:pos x="64" y="89"/>
                    </a:cxn>
                  </a:cxnLst>
                  <a:rect l="0" t="0" r="r" b="b"/>
                  <a:pathLst>
                    <a:path w="101" h="102">
                      <a:moveTo>
                        <a:pt x="26" y="11"/>
                      </a:moveTo>
                      <a:cubicBezTo>
                        <a:pt x="26" y="21"/>
                        <a:pt x="31" y="15"/>
                        <a:pt x="33" y="19"/>
                      </a:cubicBezTo>
                      <a:cubicBezTo>
                        <a:pt x="34" y="22"/>
                        <a:pt x="41" y="24"/>
                        <a:pt x="42" y="24"/>
                      </a:cubicBezTo>
                      <a:cubicBezTo>
                        <a:pt x="44" y="23"/>
                        <a:pt x="51" y="21"/>
                        <a:pt x="52" y="21"/>
                      </a:cubicBezTo>
                      <a:cubicBezTo>
                        <a:pt x="52" y="22"/>
                        <a:pt x="49" y="22"/>
                        <a:pt x="52" y="22"/>
                      </a:cubicBezTo>
                      <a:cubicBezTo>
                        <a:pt x="54" y="22"/>
                        <a:pt x="52" y="20"/>
                        <a:pt x="52" y="18"/>
                      </a:cubicBezTo>
                      <a:cubicBezTo>
                        <a:pt x="59" y="18"/>
                        <a:pt x="54" y="16"/>
                        <a:pt x="59" y="14"/>
                      </a:cubicBezTo>
                      <a:cubicBezTo>
                        <a:pt x="62" y="12"/>
                        <a:pt x="64" y="15"/>
                        <a:pt x="65" y="13"/>
                      </a:cubicBezTo>
                      <a:cubicBezTo>
                        <a:pt x="65" y="12"/>
                        <a:pt x="67" y="11"/>
                        <a:pt x="68" y="12"/>
                      </a:cubicBezTo>
                      <a:cubicBezTo>
                        <a:pt x="68" y="13"/>
                        <a:pt x="69" y="11"/>
                        <a:pt x="70" y="13"/>
                      </a:cubicBezTo>
                      <a:cubicBezTo>
                        <a:pt x="70" y="15"/>
                        <a:pt x="74" y="14"/>
                        <a:pt x="74" y="16"/>
                      </a:cubicBezTo>
                      <a:cubicBezTo>
                        <a:pt x="75" y="17"/>
                        <a:pt x="75" y="15"/>
                        <a:pt x="78" y="16"/>
                      </a:cubicBezTo>
                      <a:cubicBezTo>
                        <a:pt x="82" y="17"/>
                        <a:pt x="79" y="19"/>
                        <a:pt x="82" y="20"/>
                      </a:cubicBezTo>
                      <a:cubicBezTo>
                        <a:pt x="85" y="21"/>
                        <a:pt x="84" y="23"/>
                        <a:pt x="86" y="23"/>
                      </a:cubicBezTo>
                      <a:cubicBezTo>
                        <a:pt x="88" y="23"/>
                        <a:pt x="89" y="23"/>
                        <a:pt x="90" y="24"/>
                      </a:cubicBezTo>
                      <a:cubicBezTo>
                        <a:pt x="90" y="25"/>
                        <a:pt x="89" y="24"/>
                        <a:pt x="90" y="26"/>
                      </a:cubicBezTo>
                      <a:cubicBezTo>
                        <a:pt x="90" y="27"/>
                        <a:pt x="89" y="28"/>
                        <a:pt x="90" y="28"/>
                      </a:cubicBezTo>
                      <a:cubicBezTo>
                        <a:pt x="91" y="29"/>
                        <a:pt x="90" y="30"/>
                        <a:pt x="90" y="31"/>
                      </a:cubicBezTo>
                      <a:cubicBezTo>
                        <a:pt x="89" y="40"/>
                        <a:pt x="86" y="37"/>
                        <a:pt x="86" y="42"/>
                      </a:cubicBezTo>
                      <a:cubicBezTo>
                        <a:pt x="87" y="47"/>
                        <a:pt x="88" y="52"/>
                        <a:pt x="88" y="57"/>
                      </a:cubicBezTo>
                      <a:cubicBezTo>
                        <a:pt x="87" y="62"/>
                        <a:pt x="93" y="57"/>
                        <a:pt x="93" y="61"/>
                      </a:cubicBezTo>
                      <a:cubicBezTo>
                        <a:pt x="94" y="65"/>
                        <a:pt x="88" y="67"/>
                        <a:pt x="88" y="70"/>
                      </a:cubicBezTo>
                      <a:cubicBezTo>
                        <a:pt x="90" y="72"/>
                        <a:pt x="91" y="73"/>
                        <a:pt x="92" y="76"/>
                      </a:cubicBezTo>
                      <a:cubicBezTo>
                        <a:pt x="93" y="80"/>
                        <a:pt x="96" y="78"/>
                        <a:pt x="97" y="80"/>
                      </a:cubicBezTo>
                      <a:cubicBezTo>
                        <a:pt x="98" y="82"/>
                        <a:pt x="98" y="79"/>
                        <a:pt x="98" y="81"/>
                      </a:cubicBezTo>
                      <a:cubicBezTo>
                        <a:pt x="98" y="83"/>
                        <a:pt x="99" y="85"/>
                        <a:pt x="98" y="86"/>
                      </a:cubicBezTo>
                      <a:cubicBezTo>
                        <a:pt x="97" y="88"/>
                        <a:pt x="100" y="87"/>
                        <a:pt x="101" y="87"/>
                      </a:cubicBezTo>
                      <a:cubicBezTo>
                        <a:pt x="101" y="88"/>
                        <a:pt x="100" y="89"/>
                        <a:pt x="100" y="91"/>
                      </a:cubicBezTo>
                      <a:cubicBezTo>
                        <a:pt x="100" y="92"/>
                        <a:pt x="96" y="91"/>
                        <a:pt x="96" y="92"/>
                      </a:cubicBezTo>
                      <a:cubicBezTo>
                        <a:pt x="96" y="94"/>
                        <a:pt x="94" y="93"/>
                        <a:pt x="93" y="95"/>
                      </a:cubicBezTo>
                      <a:cubicBezTo>
                        <a:pt x="92" y="97"/>
                        <a:pt x="92" y="99"/>
                        <a:pt x="92" y="101"/>
                      </a:cubicBezTo>
                      <a:cubicBezTo>
                        <a:pt x="91" y="100"/>
                        <a:pt x="92" y="102"/>
                        <a:pt x="90" y="101"/>
                      </a:cubicBezTo>
                      <a:cubicBezTo>
                        <a:pt x="88" y="100"/>
                        <a:pt x="87" y="101"/>
                        <a:pt x="87" y="100"/>
                      </a:cubicBezTo>
                      <a:cubicBezTo>
                        <a:pt x="86" y="99"/>
                        <a:pt x="86" y="99"/>
                        <a:pt x="86" y="100"/>
                      </a:cubicBezTo>
                      <a:cubicBezTo>
                        <a:pt x="86" y="101"/>
                        <a:pt x="81" y="99"/>
                        <a:pt x="80" y="99"/>
                      </a:cubicBezTo>
                      <a:cubicBezTo>
                        <a:pt x="78" y="100"/>
                        <a:pt x="79" y="99"/>
                        <a:pt x="76" y="98"/>
                      </a:cubicBezTo>
                      <a:cubicBezTo>
                        <a:pt x="74" y="98"/>
                        <a:pt x="75" y="99"/>
                        <a:pt x="73" y="98"/>
                      </a:cubicBezTo>
                      <a:cubicBezTo>
                        <a:pt x="72" y="97"/>
                        <a:pt x="70" y="98"/>
                        <a:pt x="69" y="96"/>
                      </a:cubicBezTo>
                      <a:cubicBezTo>
                        <a:pt x="69" y="95"/>
                        <a:pt x="69" y="89"/>
                        <a:pt x="66" y="88"/>
                      </a:cubicBezTo>
                      <a:cubicBezTo>
                        <a:pt x="63" y="87"/>
                        <a:pt x="63" y="89"/>
                        <a:pt x="62" y="89"/>
                      </a:cubicBezTo>
                      <a:cubicBezTo>
                        <a:pt x="60" y="89"/>
                        <a:pt x="61" y="90"/>
                        <a:pt x="60" y="90"/>
                      </a:cubicBezTo>
                      <a:cubicBezTo>
                        <a:pt x="58" y="90"/>
                        <a:pt x="57" y="93"/>
                        <a:pt x="55" y="92"/>
                      </a:cubicBezTo>
                      <a:cubicBezTo>
                        <a:pt x="53" y="90"/>
                        <a:pt x="52" y="92"/>
                        <a:pt x="49" y="89"/>
                      </a:cubicBezTo>
                      <a:cubicBezTo>
                        <a:pt x="48" y="88"/>
                        <a:pt x="45" y="87"/>
                        <a:pt x="45" y="86"/>
                      </a:cubicBezTo>
                      <a:cubicBezTo>
                        <a:pt x="46" y="84"/>
                        <a:pt x="40" y="84"/>
                        <a:pt x="38" y="82"/>
                      </a:cubicBezTo>
                      <a:cubicBezTo>
                        <a:pt x="36" y="79"/>
                        <a:pt x="38" y="79"/>
                        <a:pt x="36" y="77"/>
                      </a:cubicBezTo>
                      <a:cubicBezTo>
                        <a:pt x="35" y="75"/>
                        <a:pt x="36" y="73"/>
                        <a:pt x="34" y="71"/>
                      </a:cubicBezTo>
                      <a:cubicBezTo>
                        <a:pt x="31" y="69"/>
                        <a:pt x="33" y="66"/>
                        <a:pt x="30" y="68"/>
                      </a:cubicBezTo>
                      <a:cubicBezTo>
                        <a:pt x="28" y="70"/>
                        <a:pt x="26" y="65"/>
                        <a:pt x="26" y="67"/>
                      </a:cubicBezTo>
                      <a:cubicBezTo>
                        <a:pt x="26" y="69"/>
                        <a:pt x="25" y="68"/>
                        <a:pt x="24" y="69"/>
                      </a:cubicBezTo>
                      <a:cubicBezTo>
                        <a:pt x="24" y="67"/>
                        <a:pt x="23" y="67"/>
                        <a:pt x="22" y="66"/>
                      </a:cubicBezTo>
                      <a:cubicBezTo>
                        <a:pt x="21" y="66"/>
                        <a:pt x="21" y="64"/>
                        <a:pt x="20" y="62"/>
                      </a:cubicBezTo>
                      <a:cubicBezTo>
                        <a:pt x="19" y="60"/>
                        <a:pt x="21" y="58"/>
                        <a:pt x="19" y="54"/>
                      </a:cubicBezTo>
                      <a:cubicBezTo>
                        <a:pt x="17" y="51"/>
                        <a:pt x="12" y="50"/>
                        <a:pt x="12" y="47"/>
                      </a:cubicBezTo>
                      <a:cubicBezTo>
                        <a:pt x="11" y="43"/>
                        <a:pt x="7" y="44"/>
                        <a:pt x="8" y="40"/>
                      </a:cubicBezTo>
                      <a:cubicBezTo>
                        <a:pt x="8" y="36"/>
                        <a:pt x="13" y="35"/>
                        <a:pt x="11" y="32"/>
                      </a:cubicBezTo>
                      <a:cubicBezTo>
                        <a:pt x="10" y="29"/>
                        <a:pt x="13" y="30"/>
                        <a:pt x="13" y="29"/>
                      </a:cubicBezTo>
                      <a:cubicBezTo>
                        <a:pt x="12" y="28"/>
                        <a:pt x="7" y="29"/>
                        <a:pt x="7" y="27"/>
                      </a:cubicBezTo>
                      <a:cubicBezTo>
                        <a:pt x="7" y="25"/>
                        <a:pt x="5" y="23"/>
                        <a:pt x="4" y="20"/>
                      </a:cubicBezTo>
                      <a:cubicBezTo>
                        <a:pt x="4" y="18"/>
                        <a:pt x="3" y="18"/>
                        <a:pt x="3" y="16"/>
                      </a:cubicBezTo>
                      <a:cubicBezTo>
                        <a:pt x="4" y="15"/>
                        <a:pt x="1" y="15"/>
                        <a:pt x="1" y="14"/>
                      </a:cubicBezTo>
                      <a:cubicBezTo>
                        <a:pt x="1" y="13"/>
                        <a:pt x="3" y="13"/>
                        <a:pt x="3" y="12"/>
                      </a:cubicBezTo>
                      <a:cubicBezTo>
                        <a:pt x="3" y="11"/>
                        <a:pt x="2" y="11"/>
                        <a:pt x="2" y="11"/>
                      </a:cubicBezTo>
                      <a:cubicBezTo>
                        <a:pt x="2" y="10"/>
                        <a:pt x="2" y="9"/>
                        <a:pt x="2" y="8"/>
                      </a:cubicBezTo>
                      <a:cubicBezTo>
                        <a:pt x="2" y="7"/>
                        <a:pt x="1" y="7"/>
                        <a:pt x="1" y="7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1" y="5"/>
                        <a:pt x="0" y="5"/>
                        <a:pt x="0" y="4"/>
                      </a:cubicBezTo>
                      <a:cubicBezTo>
                        <a:pt x="0" y="3"/>
                        <a:pt x="2" y="4"/>
                        <a:pt x="2" y="4"/>
                      </a:cubicBezTo>
                      <a:cubicBezTo>
                        <a:pt x="3" y="3"/>
                        <a:pt x="2" y="0"/>
                        <a:pt x="4" y="2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6" y="4"/>
                        <a:pt x="7" y="7"/>
                        <a:pt x="10" y="8"/>
                      </a:cubicBezTo>
                      <a:cubicBezTo>
                        <a:pt x="11" y="8"/>
                        <a:pt x="11" y="8"/>
                        <a:pt x="12" y="8"/>
                      </a:cubicBezTo>
                      <a:cubicBezTo>
                        <a:pt x="12" y="8"/>
                        <a:pt x="12" y="7"/>
                        <a:pt x="13" y="7"/>
                      </a:cubicBezTo>
                      <a:cubicBezTo>
                        <a:pt x="13" y="7"/>
                        <a:pt x="13" y="8"/>
                        <a:pt x="13" y="8"/>
                      </a:cubicBezTo>
                      <a:cubicBezTo>
                        <a:pt x="14" y="8"/>
                        <a:pt x="14" y="8"/>
                        <a:pt x="14" y="7"/>
                      </a:cubicBezTo>
                      <a:cubicBezTo>
                        <a:pt x="14" y="7"/>
                        <a:pt x="15" y="6"/>
                        <a:pt x="15" y="6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6" y="5"/>
                        <a:pt x="17" y="4"/>
                        <a:pt x="18" y="4"/>
                      </a:cubicBezTo>
                      <a:cubicBezTo>
                        <a:pt x="18" y="3"/>
                        <a:pt x="20" y="1"/>
                        <a:pt x="21" y="2"/>
                      </a:cubicBezTo>
                      <a:cubicBezTo>
                        <a:pt x="21" y="2"/>
                        <a:pt x="23" y="4"/>
                        <a:pt x="23" y="4"/>
                      </a:cubicBezTo>
                      <a:cubicBezTo>
                        <a:pt x="23" y="4"/>
                        <a:pt x="22" y="4"/>
                        <a:pt x="22" y="5"/>
                      </a:cubicBezTo>
                      <a:cubicBezTo>
                        <a:pt x="22" y="6"/>
                        <a:pt x="23" y="6"/>
                        <a:pt x="23" y="6"/>
                      </a:cubicBezTo>
                      <a:cubicBezTo>
                        <a:pt x="23" y="7"/>
                        <a:pt x="21" y="7"/>
                        <a:pt x="21" y="7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2" y="8"/>
                        <a:pt x="22" y="8"/>
                        <a:pt x="22" y="9"/>
                      </a:cubicBezTo>
                      <a:cubicBezTo>
                        <a:pt x="22" y="9"/>
                        <a:pt x="22" y="10"/>
                        <a:pt x="23" y="10"/>
                      </a:cubicBezTo>
                      <a:cubicBezTo>
                        <a:pt x="23" y="10"/>
                        <a:pt x="23" y="9"/>
                        <a:pt x="23" y="9"/>
                      </a:cubicBezTo>
                      <a:cubicBezTo>
                        <a:pt x="24" y="10"/>
                        <a:pt x="23" y="12"/>
                        <a:pt x="26" y="11"/>
                      </a:cubicBezTo>
                      <a:close/>
                      <a:moveTo>
                        <a:pt x="64" y="89"/>
                      </a:moveTo>
                      <a:cubicBezTo>
                        <a:pt x="65" y="88"/>
                        <a:pt x="62" y="89"/>
                        <a:pt x="62" y="90"/>
                      </a:cubicBezTo>
                      <a:cubicBezTo>
                        <a:pt x="62" y="91"/>
                        <a:pt x="59" y="91"/>
                        <a:pt x="60" y="92"/>
                      </a:cubicBezTo>
                      <a:cubicBezTo>
                        <a:pt x="60" y="92"/>
                        <a:pt x="63" y="91"/>
                        <a:pt x="64" y="89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Freeform 20262">
                  <a:extLst>
                    <a:ext uri="{FF2B5EF4-FFF2-40B4-BE49-F238E27FC236}">
                      <a16:creationId xmlns:a16="http://schemas.microsoft.com/office/drawing/2014/main" id="{59551927-43EF-384B-A0A2-F47873BD724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350173" y="3386417"/>
                  <a:ext cx="40072" cy="49613"/>
                </a:xfrm>
                <a:custGeom>
                  <a:avLst/>
                  <a:gdLst/>
                  <a:ahLst/>
                  <a:cxnLst>
                    <a:cxn ang="0">
                      <a:pos x="9" y="11"/>
                    </a:cxn>
                    <a:cxn ang="0">
                      <a:pos x="5" y="10"/>
                    </a:cxn>
                    <a:cxn ang="0">
                      <a:pos x="4" y="8"/>
                    </a:cxn>
                    <a:cxn ang="0">
                      <a:pos x="0" y="7"/>
                    </a:cxn>
                    <a:cxn ang="0">
                      <a:pos x="3" y="1"/>
                    </a:cxn>
                    <a:cxn ang="0">
                      <a:pos x="7" y="1"/>
                    </a:cxn>
                    <a:cxn ang="0">
                      <a:pos x="6" y="4"/>
                    </a:cxn>
                    <a:cxn ang="0">
                      <a:pos x="8" y="6"/>
                    </a:cxn>
                    <a:cxn ang="0">
                      <a:pos x="9" y="11"/>
                    </a:cxn>
                    <a:cxn ang="0">
                      <a:pos x="8" y="2"/>
                    </a:cxn>
                    <a:cxn ang="0">
                      <a:pos x="9" y="4"/>
                    </a:cxn>
                    <a:cxn ang="0">
                      <a:pos x="8" y="2"/>
                    </a:cxn>
                  </a:cxnLst>
                  <a:rect l="0" t="0" r="r" b="b"/>
                  <a:pathLst>
                    <a:path w="9" h="11">
                      <a:moveTo>
                        <a:pt x="9" y="11"/>
                      </a:moveTo>
                      <a:cubicBezTo>
                        <a:pt x="9" y="11"/>
                        <a:pt x="6" y="11"/>
                        <a:pt x="5" y="10"/>
                      </a:cubicBezTo>
                      <a:cubicBezTo>
                        <a:pt x="5" y="10"/>
                        <a:pt x="5" y="8"/>
                        <a:pt x="4" y="8"/>
                      </a:cubicBezTo>
                      <a:cubicBezTo>
                        <a:pt x="4" y="7"/>
                        <a:pt x="0" y="7"/>
                        <a:pt x="0" y="7"/>
                      </a:cubicBezTo>
                      <a:cubicBezTo>
                        <a:pt x="1" y="6"/>
                        <a:pt x="2" y="2"/>
                        <a:pt x="3" y="1"/>
                      </a:cubicBezTo>
                      <a:cubicBezTo>
                        <a:pt x="4" y="0"/>
                        <a:pt x="6" y="1"/>
                        <a:pt x="7" y="1"/>
                      </a:cubicBezTo>
                      <a:cubicBezTo>
                        <a:pt x="9" y="6"/>
                        <a:pt x="7" y="2"/>
                        <a:pt x="6" y="4"/>
                      </a:cubicBezTo>
                      <a:cubicBezTo>
                        <a:pt x="5" y="6"/>
                        <a:pt x="8" y="4"/>
                        <a:pt x="8" y="6"/>
                      </a:cubicBezTo>
                      <a:cubicBezTo>
                        <a:pt x="8" y="9"/>
                        <a:pt x="9" y="7"/>
                        <a:pt x="9" y="11"/>
                      </a:cubicBezTo>
                      <a:close/>
                      <a:moveTo>
                        <a:pt x="8" y="2"/>
                      </a:moveTo>
                      <a:cubicBezTo>
                        <a:pt x="8" y="2"/>
                        <a:pt x="8" y="4"/>
                        <a:pt x="9" y="4"/>
                      </a:cubicBezTo>
                      <a:cubicBezTo>
                        <a:pt x="9" y="3"/>
                        <a:pt x="8" y="1"/>
                        <a:pt x="8" y="2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lvl="0"/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Freeform 20263">
                  <a:extLst>
                    <a:ext uri="{FF2B5EF4-FFF2-40B4-BE49-F238E27FC236}">
                      <a16:creationId xmlns:a16="http://schemas.microsoft.com/office/drawing/2014/main" id="{7B250356-B1FF-E14C-A75B-611775821AA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5062031" y="3287191"/>
                  <a:ext cx="30531" cy="118310"/>
                </a:xfrm>
                <a:custGeom>
                  <a:avLst/>
                  <a:gdLst/>
                  <a:ahLst/>
                  <a:cxnLst>
                    <a:cxn ang="0">
                      <a:pos x="6" y="7"/>
                    </a:cxn>
                    <a:cxn ang="0">
                      <a:pos x="6" y="12"/>
                    </a:cxn>
                    <a:cxn ang="0">
                      <a:pos x="3" y="14"/>
                    </a:cxn>
                    <a:cxn ang="0">
                      <a:pos x="3" y="13"/>
                    </a:cxn>
                    <a:cxn ang="0">
                      <a:pos x="4" y="10"/>
                    </a:cxn>
                    <a:cxn ang="0">
                      <a:pos x="3" y="10"/>
                    </a:cxn>
                    <a:cxn ang="0">
                      <a:pos x="4" y="10"/>
                    </a:cxn>
                    <a:cxn ang="0">
                      <a:pos x="4" y="6"/>
                    </a:cxn>
                    <a:cxn ang="0">
                      <a:pos x="6" y="7"/>
                    </a:cxn>
                    <a:cxn ang="0">
                      <a:pos x="6" y="7"/>
                    </a:cxn>
                    <a:cxn ang="0">
                      <a:pos x="6" y="6"/>
                    </a:cxn>
                    <a:cxn ang="0">
                      <a:pos x="7" y="4"/>
                    </a:cxn>
                    <a:cxn ang="0">
                      <a:pos x="7" y="3"/>
                    </a:cxn>
                    <a:cxn ang="0">
                      <a:pos x="7" y="1"/>
                    </a:cxn>
                    <a:cxn ang="0">
                      <a:pos x="7" y="1"/>
                    </a:cxn>
                    <a:cxn ang="0">
                      <a:pos x="7" y="1"/>
                    </a:cxn>
                    <a:cxn ang="0">
                      <a:pos x="6" y="1"/>
                    </a:cxn>
                    <a:cxn ang="0">
                      <a:pos x="6" y="2"/>
                    </a:cxn>
                    <a:cxn ang="0">
                      <a:pos x="4" y="2"/>
                    </a:cxn>
                    <a:cxn ang="0">
                      <a:pos x="1" y="12"/>
                    </a:cxn>
                    <a:cxn ang="0">
                      <a:pos x="0" y="14"/>
                    </a:cxn>
                    <a:cxn ang="0">
                      <a:pos x="0" y="15"/>
                    </a:cxn>
                    <a:cxn ang="0">
                      <a:pos x="3" y="26"/>
                    </a:cxn>
                    <a:cxn ang="0">
                      <a:pos x="3" y="26"/>
                    </a:cxn>
                    <a:cxn ang="0">
                      <a:pos x="4" y="22"/>
                    </a:cxn>
                    <a:cxn ang="0">
                      <a:pos x="6" y="15"/>
                    </a:cxn>
                    <a:cxn ang="0">
                      <a:pos x="6" y="12"/>
                    </a:cxn>
                    <a:cxn ang="0">
                      <a:pos x="3" y="14"/>
                    </a:cxn>
                    <a:cxn ang="0">
                      <a:pos x="3" y="13"/>
                    </a:cxn>
                    <a:cxn ang="0">
                      <a:pos x="4" y="10"/>
                    </a:cxn>
                    <a:cxn ang="0">
                      <a:pos x="3" y="10"/>
                    </a:cxn>
                    <a:cxn ang="0">
                      <a:pos x="4" y="10"/>
                    </a:cxn>
                    <a:cxn ang="0">
                      <a:pos x="4" y="6"/>
                    </a:cxn>
                    <a:cxn ang="0">
                      <a:pos x="6" y="7"/>
                    </a:cxn>
                  </a:cxnLst>
                  <a:rect l="0" t="0" r="r" b="b"/>
                  <a:pathLst>
                    <a:path w="7" h="26">
                      <a:moveTo>
                        <a:pt x="6" y="7"/>
                      </a:moveTo>
                      <a:cubicBezTo>
                        <a:pt x="6" y="8"/>
                        <a:pt x="7" y="11"/>
                        <a:pt x="6" y="12"/>
                      </a:cubicBezTo>
                      <a:cubicBezTo>
                        <a:pt x="5" y="13"/>
                        <a:pt x="5" y="14"/>
                        <a:pt x="3" y="14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2"/>
                        <a:pt x="5" y="11"/>
                        <a:pt x="4" y="10"/>
                      </a:cubicBezTo>
                      <a:cubicBezTo>
                        <a:pt x="4" y="10"/>
                        <a:pt x="3" y="11"/>
                        <a:pt x="3" y="10"/>
                      </a:cubicBezTo>
                      <a:cubicBezTo>
                        <a:pt x="3" y="10"/>
                        <a:pt x="4" y="10"/>
                        <a:pt x="4" y="10"/>
                      </a:cubicBezTo>
                      <a:cubicBezTo>
                        <a:pt x="4" y="9"/>
                        <a:pt x="3" y="7"/>
                        <a:pt x="4" y="6"/>
                      </a:cubicBezTo>
                      <a:cubicBezTo>
                        <a:pt x="5" y="5"/>
                        <a:pt x="6" y="7"/>
                        <a:pt x="6" y="7"/>
                      </a:cubicBezTo>
                      <a:close/>
                      <a:moveTo>
                        <a:pt x="6" y="7"/>
                      </a:moveTo>
                      <a:cubicBezTo>
                        <a:pt x="6" y="7"/>
                        <a:pt x="6" y="6"/>
                        <a:pt x="6" y="6"/>
                      </a:cubicBezTo>
                      <a:cubicBezTo>
                        <a:pt x="6" y="5"/>
                        <a:pt x="6" y="4"/>
                        <a:pt x="7" y="4"/>
                      </a:cubicBezTo>
                      <a:cubicBezTo>
                        <a:pt x="7" y="4"/>
                        <a:pt x="7" y="4"/>
                        <a:pt x="7" y="3"/>
                      </a:cubicBezTo>
                      <a:cubicBezTo>
                        <a:pt x="7" y="3"/>
                        <a:pt x="7" y="2"/>
                        <a:pt x="7" y="1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7" y="1"/>
                        <a:pt x="7" y="1"/>
                        <a:pt x="7" y="1"/>
                      </a:cubicBezTo>
                      <a:cubicBezTo>
                        <a:pt x="6" y="1"/>
                        <a:pt x="6" y="0"/>
                        <a:pt x="6" y="1"/>
                      </a:cubicBezTo>
                      <a:cubicBezTo>
                        <a:pt x="6" y="1"/>
                        <a:pt x="6" y="2"/>
                        <a:pt x="6" y="2"/>
                      </a:cubicBezTo>
                      <a:cubicBezTo>
                        <a:pt x="6" y="2"/>
                        <a:pt x="5" y="2"/>
                        <a:pt x="4" y="2"/>
                      </a:cubicBezTo>
                      <a:cubicBezTo>
                        <a:pt x="3" y="4"/>
                        <a:pt x="2" y="11"/>
                        <a:pt x="1" y="12"/>
                      </a:cubicBezTo>
                      <a:cubicBezTo>
                        <a:pt x="2" y="12"/>
                        <a:pt x="0" y="14"/>
                        <a:pt x="0" y="14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1" y="18"/>
                        <a:pt x="2" y="22"/>
                        <a:pt x="3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26"/>
                        <a:pt x="4" y="23"/>
                        <a:pt x="4" y="22"/>
                      </a:cubicBezTo>
                      <a:cubicBezTo>
                        <a:pt x="4" y="19"/>
                        <a:pt x="6" y="16"/>
                        <a:pt x="6" y="15"/>
                      </a:cubicBezTo>
                      <a:cubicBezTo>
                        <a:pt x="6" y="14"/>
                        <a:pt x="6" y="13"/>
                        <a:pt x="6" y="12"/>
                      </a:cubicBezTo>
                      <a:cubicBezTo>
                        <a:pt x="5" y="13"/>
                        <a:pt x="5" y="14"/>
                        <a:pt x="3" y="14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3" y="12"/>
                        <a:pt x="5" y="11"/>
                        <a:pt x="4" y="10"/>
                      </a:cubicBezTo>
                      <a:cubicBezTo>
                        <a:pt x="4" y="10"/>
                        <a:pt x="3" y="11"/>
                        <a:pt x="3" y="10"/>
                      </a:cubicBezTo>
                      <a:cubicBezTo>
                        <a:pt x="3" y="10"/>
                        <a:pt x="4" y="10"/>
                        <a:pt x="4" y="10"/>
                      </a:cubicBezTo>
                      <a:cubicBezTo>
                        <a:pt x="4" y="9"/>
                        <a:pt x="3" y="7"/>
                        <a:pt x="4" y="6"/>
                      </a:cubicBezTo>
                      <a:cubicBezTo>
                        <a:pt x="5" y="5"/>
                        <a:pt x="6" y="7"/>
                        <a:pt x="6" y="7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9" name="Freeform 20264">
                  <a:extLst>
                    <a:ext uri="{FF2B5EF4-FFF2-40B4-BE49-F238E27FC236}">
                      <a16:creationId xmlns:a16="http://schemas.microsoft.com/office/drawing/2014/main" id="{DD9BAD55-24E9-2F4B-9D59-8E1D9BE3C9F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056306" y="3342529"/>
                  <a:ext cx="13357" cy="133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1" y="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cubicBezTo>
                        <a:pt x="1" y="1"/>
                        <a:pt x="1" y="1"/>
                        <a:pt x="0" y="2"/>
                      </a:cubicBezTo>
                      <a:cubicBezTo>
                        <a:pt x="0" y="2"/>
                        <a:pt x="0" y="3"/>
                        <a:pt x="1" y="3"/>
                      </a:cubicBezTo>
                      <a:cubicBezTo>
                        <a:pt x="1" y="3"/>
                        <a:pt x="1" y="2"/>
                        <a:pt x="1" y="2"/>
                      </a:cubicBezTo>
                      <a:cubicBezTo>
                        <a:pt x="1" y="2"/>
                        <a:pt x="3" y="0"/>
                        <a:pt x="2" y="0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FC009D46-6BC9-0A42-ABAA-19B303F16A61}"/>
              </a:ext>
            </a:extLst>
          </p:cNvPr>
          <p:cNvGrpSpPr/>
          <p:nvPr userDrawn="1"/>
        </p:nvGrpSpPr>
        <p:grpSpPr>
          <a:xfrm>
            <a:off x="4719228" y="1076157"/>
            <a:ext cx="3158047" cy="1325638"/>
            <a:chOff x="4712827" y="1434301"/>
            <a:chExt cx="4026361" cy="1753659"/>
          </a:xfrm>
          <a:solidFill>
            <a:schemeClr val="tx2"/>
          </a:solidFill>
        </p:grpSpPr>
        <p:sp>
          <p:nvSpPr>
            <p:cNvPr id="199" name="Freeform 20111">
              <a:extLst>
                <a:ext uri="{FF2B5EF4-FFF2-40B4-BE49-F238E27FC236}">
                  <a16:creationId xmlns:a16="http://schemas.microsoft.com/office/drawing/2014/main" id="{CA7078C5-A06B-DE4F-9E7D-709C44F5F7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71980" y="2655566"/>
              <a:ext cx="429351" cy="284327"/>
            </a:xfrm>
            <a:custGeom>
              <a:avLst/>
              <a:gdLst/>
              <a:ahLst/>
              <a:cxnLst>
                <a:cxn ang="0">
                  <a:pos x="9" y="12"/>
                </a:cxn>
                <a:cxn ang="0">
                  <a:pos x="9" y="17"/>
                </a:cxn>
                <a:cxn ang="0">
                  <a:pos x="4" y="26"/>
                </a:cxn>
                <a:cxn ang="0">
                  <a:pos x="2" y="29"/>
                </a:cxn>
                <a:cxn ang="0">
                  <a:pos x="3" y="34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16" y="37"/>
                </a:cxn>
                <a:cxn ang="0">
                  <a:pos x="24" y="33"/>
                </a:cxn>
                <a:cxn ang="0">
                  <a:pos x="34" y="34"/>
                </a:cxn>
                <a:cxn ang="0">
                  <a:pos x="37" y="37"/>
                </a:cxn>
                <a:cxn ang="0">
                  <a:pos x="40" y="43"/>
                </a:cxn>
                <a:cxn ang="0">
                  <a:pos x="41" y="47"/>
                </a:cxn>
                <a:cxn ang="0">
                  <a:pos x="36" y="48"/>
                </a:cxn>
                <a:cxn ang="0">
                  <a:pos x="32" y="54"/>
                </a:cxn>
                <a:cxn ang="0">
                  <a:pos x="37" y="55"/>
                </a:cxn>
                <a:cxn ang="0">
                  <a:pos x="39" y="53"/>
                </a:cxn>
                <a:cxn ang="0">
                  <a:pos x="45" y="47"/>
                </a:cxn>
                <a:cxn ang="0">
                  <a:pos x="51" y="45"/>
                </a:cxn>
                <a:cxn ang="0">
                  <a:pos x="54" y="46"/>
                </a:cxn>
                <a:cxn ang="0">
                  <a:pos x="53" y="49"/>
                </a:cxn>
                <a:cxn ang="0">
                  <a:pos x="60" y="50"/>
                </a:cxn>
                <a:cxn ang="0">
                  <a:pos x="60" y="58"/>
                </a:cxn>
                <a:cxn ang="0">
                  <a:pos x="66" y="59"/>
                </a:cxn>
                <a:cxn ang="0">
                  <a:pos x="74" y="57"/>
                </a:cxn>
                <a:cxn ang="0">
                  <a:pos x="73" y="54"/>
                </a:cxn>
                <a:cxn ang="0">
                  <a:pos x="67" y="48"/>
                </a:cxn>
                <a:cxn ang="0">
                  <a:pos x="73" y="45"/>
                </a:cxn>
                <a:cxn ang="0">
                  <a:pos x="84" y="42"/>
                </a:cxn>
                <a:cxn ang="0">
                  <a:pos x="93" y="35"/>
                </a:cxn>
                <a:cxn ang="0">
                  <a:pos x="93" y="29"/>
                </a:cxn>
                <a:cxn ang="0">
                  <a:pos x="94" y="26"/>
                </a:cxn>
                <a:cxn ang="0">
                  <a:pos x="91" y="22"/>
                </a:cxn>
                <a:cxn ang="0">
                  <a:pos x="82" y="19"/>
                </a:cxn>
                <a:cxn ang="0">
                  <a:pos x="71" y="17"/>
                </a:cxn>
                <a:cxn ang="0">
                  <a:pos x="65" y="10"/>
                </a:cxn>
                <a:cxn ang="0">
                  <a:pos x="64" y="5"/>
                </a:cxn>
                <a:cxn ang="0">
                  <a:pos x="58" y="2"/>
                </a:cxn>
                <a:cxn ang="0">
                  <a:pos x="50" y="3"/>
                </a:cxn>
                <a:cxn ang="0">
                  <a:pos x="43" y="9"/>
                </a:cxn>
                <a:cxn ang="0">
                  <a:pos x="35" y="8"/>
                </a:cxn>
                <a:cxn ang="0">
                  <a:pos x="25" y="6"/>
                </a:cxn>
                <a:cxn ang="0">
                  <a:pos x="10" y="7"/>
                </a:cxn>
              </a:cxnLst>
              <a:rect l="0" t="0" r="r" b="b"/>
              <a:pathLst>
                <a:path w="95" h="63">
                  <a:moveTo>
                    <a:pt x="8" y="8"/>
                  </a:moveTo>
                  <a:cubicBezTo>
                    <a:pt x="9" y="10"/>
                    <a:pt x="7" y="9"/>
                    <a:pt x="9" y="12"/>
                  </a:cubicBezTo>
                  <a:cubicBezTo>
                    <a:pt x="13" y="15"/>
                    <a:pt x="9" y="13"/>
                    <a:pt x="10" y="14"/>
                  </a:cubicBezTo>
                  <a:cubicBezTo>
                    <a:pt x="11" y="15"/>
                    <a:pt x="12" y="16"/>
                    <a:pt x="9" y="17"/>
                  </a:cubicBezTo>
                  <a:cubicBezTo>
                    <a:pt x="8" y="17"/>
                    <a:pt x="5" y="20"/>
                    <a:pt x="4" y="22"/>
                  </a:cubicBezTo>
                  <a:cubicBezTo>
                    <a:pt x="2" y="24"/>
                    <a:pt x="4" y="25"/>
                    <a:pt x="4" y="26"/>
                  </a:cubicBezTo>
                  <a:cubicBezTo>
                    <a:pt x="3" y="27"/>
                    <a:pt x="6" y="28"/>
                    <a:pt x="2" y="27"/>
                  </a:cubicBezTo>
                  <a:cubicBezTo>
                    <a:pt x="3" y="28"/>
                    <a:pt x="2" y="28"/>
                    <a:pt x="2" y="29"/>
                  </a:cubicBezTo>
                  <a:cubicBezTo>
                    <a:pt x="2" y="30"/>
                    <a:pt x="1" y="29"/>
                    <a:pt x="0" y="32"/>
                  </a:cubicBezTo>
                  <a:cubicBezTo>
                    <a:pt x="3" y="33"/>
                    <a:pt x="2" y="35"/>
                    <a:pt x="3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6"/>
                    <a:pt x="5" y="35"/>
                  </a:cubicBezTo>
                  <a:cubicBezTo>
                    <a:pt x="6" y="34"/>
                    <a:pt x="6" y="35"/>
                    <a:pt x="8" y="35"/>
                  </a:cubicBezTo>
                  <a:cubicBezTo>
                    <a:pt x="11" y="35"/>
                    <a:pt x="11" y="36"/>
                    <a:pt x="12" y="36"/>
                  </a:cubicBezTo>
                  <a:cubicBezTo>
                    <a:pt x="14" y="35"/>
                    <a:pt x="14" y="38"/>
                    <a:pt x="16" y="37"/>
                  </a:cubicBezTo>
                  <a:cubicBezTo>
                    <a:pt x="17" y="36"/>
                    <a:pt x="16" y="36"/>
                    <a:pt x="19" y="36"/>
                  </a:cubicBezTo>
                  <a:cubicBezTo>
                    <a:pt x="22" y="35"/>
                    <a:pt x="21" y="34"/>
                    <a:pt x="24" y="33"/>
                  </a:cubicBezTo>
                  <a:cubicBezTo>
                    <a:pt x="25" y="32"/>
                    <a:pt x="27" y="32"/>
                    <a:pt x="28" y="32"/>
                  </a:cubicBezTo>
                  <a:cubicBezTo>
                    <a:pt x="29" y="31"/>
                    <a:pt x="33" y="34"/>
                    <a:pt x="34" y="34"/>
                  </a:cubicBezTo>
                  <a:cubicBezTo>
                    <a:pt x="35" y="33"/>
                    <a:pt x="35" y="36"/>
                    <a:pt x="37" y="35"/>
                  </a:cubicBezTo>
                  <a:cubicBezTo>
                    <a:pt x="38" y="35"/>
                    <a:pt x="38" y="36"/>
                    <a:pt x="37" y="37"/>
                  </a:cubicBezTo>
                  <a:cubicBezTo>
                    <a:pt x="36" y="39"/>
                    <a:pt x="38" y="40"/>
                    <a:pt x="39" y="40"/>
                  </a:cubicBezTo>
                  <a:cubicBezTo>
                    <a:pt x="40" y="40"/>
                    <a:pt x="38" y="42"/>
                    <a:pt x="40" y="43"/>
                  </a:cubicBezTo>
                  <a:cubicBezTo>
                    <a:pt x="42" y="44"/>
                    <a:pt x="40" y="46"/>
                    <a:pt x="41" y="47"/>
                  </a:cubicBezTo>
                  <a:cubicBezTo>
                    <a:pt x="43" y="47"/>
                    <a:pt x="41" y="48"/>
                    <a:pt x="41" y="47"/>
                  </a:cubicBezTo>
                  <a:cubicBezTo>
                    <a:pt x="40" y="47"/>
                    <a:pt x="38" y="48"/>
                    <a:pt x="37" y="47"/>
                  </a:cubicBezTo>
                  <a:cubicBezTo>
                    <a:pt x="36" y="46"/>
                    <a:pt x="35" y="47"/>
                    <a:pt x="36" y="48"/>
                  </a:cubicBezTo>
                  <a:cubicBezTo>
                    <a:pt x="37" y="50"/>
                    <a:pt x="33" y="52"/>
                    <a:pt x="34" y="53"/>
                  </a:cubicBezTo>
                  <a:cubicBezTo>
                    <a:pt x="34" y="54"/>
                    <a:pt x="33" y="54"/>
                    <a:pt x="32" y="54"/>
                  </a:cubicBezTo>
                  <a:cubicBezTo>
                    <a:pt x="34" y="56"/>
                    <a:pt x="35" y="56"/>
                    <a:pt x="35" y="56"/>
                  </a:cubicBezTo>
                  <a:cubicBezTo>
                    <a:pt x="35" y="55"/>
                    <a:pt x="36" y="56"/>
                    <a:pt x="37" y="55"/>
                  </a:cubicBezTo>
                  <a:cubicBezTo>
                    <a:pt x="37" y="54"/>
                    <a:pt x="39" y="54"/>
                    <a:pt x="40" y="56"/>
                  </a:cubicBezTo>
                  <a:cubicBezTo>
                    <a:pt x="40" y="54"/>
                    <a:pt x="40" y="55"/>
                    <a:pt x="39" y="53"/>
                  </a:cubicBezTo>
                  <a:cubicBezTo>
                    <a:pt x="39" y="51"/>
                    <a:pt x="40" y="53"/>
                    <a:pt x="42" y="52"/>
                  </a:cubicBezTo>
                  <a:cubicBezTo>
                    <a:pt x="44" y="50"/>
                    <a:pt x="45" y="49"/>
                    <a:pt x="45" y="47"/>
                  </a:cubicBezTo>
                  <a:cubicBezTo>
                    <a:pt x="45" y="45"/>
                    <a:pt x="48" y="46"/>
                    <a:pt x="49" y="45"/>
                  </a:cubicBezTo>
                  <a:cubicBezTo>
                    <a:pt x="50" y="45"/>
                    <a:pt x="51" y="46"/>
                    <a:pt x="51" y="45"/>
                  </a:cubicBezTo>
                  <a:cubicBezTo>
                    <a:pt x="51" y="43"/>
                    <a:pt x="51" y="41"/>
                    <a:pt x="52" y="43"/>
                  </a:cubicBezTo>
                  <a:cubicBezTo>
                    <a:pt x="52" y="45"/>
                    <a:pt x="51" y="46"/>
                    <a:pt x="54" y="46"/>
                  </a:cubicBezTo>
                  <a:cubicBezTo>
                    <a:pt x="52" y="47"/>
                    <a:pt x="50" y="45"/>
                    <a:pt x="50" y="46"/>
                  </a:cubicBezTo>
                  <a:cubicBezTo>
                    <a:pt x="49" y="47"/>
                    <a:pt x="53" y="48"/>
                    <a:pt x="53" y="49"/>
                  </a:cubicBezTo>
                  <a:cubicBezTo>
                    <a:pt x="53" y="50"/>
                    <a:pt x="57" y="49"/>
                    <a:pt x="58" y="49"/>
                  </a:cubicBezTo>
                  <a:cubicBezTo>
                    <a:pt x="59" y="50"/>
                    <a:pt x="60" y="48"/>
                    <a:pt x="60" y="50"/>
                  </a:cubicBezTo>
                  <a:cubicBezTo>
                    <a:pt x="61" y="52"/>
                    <a:pt x="54" y="53"/>
                    <a:pt x="54" y="55"/>
                  </a:cubicBezTo>
                  <a:cubicBezTo>
                    <a:pt x="55" y="56"/>
                    <a:pt x="60" y="55"/>
                    <a:pt x="60" y="58"/>
                  </a:cubicBezTo>
                  <a:cubicBezTo>
                    <a:pt x="60" y="61"/>
                    <a:pt x="58" y="59"/>
                    <a:pt x="60" y="61"/>
                  </a:cubicBezTo>
                  <a:cubicBezTo>
                    <a:pt x="62" y="63"/>
                    <a:pt x="64" y="60"/>
                    <a:pt x="66" y="59"/>
                  </a:cubicBezTo>
                  <a:cubicBezTo>
                    <a:pt x="68" y="58"/>
                    <a:pt x="67" y="60"/>
                    <a:pt x="69" y="58"/>
                  </a:cubicBezTo>
                  <a:cubicBezTo>
                    <a:pt x="71" y="55"/>
                    <a:pt x="71" y="58"/>
                    <a:pt x="74" y="57"/>
                  </a:cubicBezTo>
                  <a:cubicBezTo>
                    <a:pt x="77" y="56"/>
                    <a:pt x="74" y="57"/>
                    <a:pt x="75" y="55"/>
                  </a:cubicBezTo>
                  <a:cubicBezTo>
                    <a:pt x="76" y="54"/>
                    <a:pt x="75" y="53"/>
                    <a:pt x="73" y="54"/>
                  </a:cubicBezTo>
                  <a:cubicBezTo>
                    <a:pt x="70" y="55"/>
                    <a:pt x="70" y="57"/>
                    <a:pt x="68" y="53"/>
                  </a:cubicBezTo>
                  <a:cubicBezTo>
                    <a:pt x="65" y="49"/>
                    <a:pt x="66" y="49"/>
                    <a:pt x="67" y="48"/>
                  </a:cubicBezTo>
                  <a:cubicBezTo>
                    <a:pt x="70" y="47"/>
                    <a:pt x="67" y="50"/>
                    <a:pt x="69" y="49"/>
                  </a:cubicBezTo>
                  <a:cubicBezTo>
                    <a:pt x="70" y="48"/>
                    <a:pt x="72" y="45"/>
                    <a:pt x="73" y="45"/>
                  </a:cubicBezTo>
                  <a:cubicBezTo>
                    <a:pt x="76" y="46"/>
                    <a:pt x="81" y="42"/>
                    <a:pt x="82" y="42"/>
                  </a:cubicBezTo>
                  <a:cubicBezTo>
                    <a:pt x="84" y="42"/>
                    <a:pt x="83" y="43"/>
                    <a:pt x="84" y="42"/>
                  </a:cubicBezTo>
                  <a:cubicBezTo>
                    <a:pt x="83" y="36"/>
                    <a:pt x="87" y="39"/>
                    <a:pt x="87" y="37"/>
                  </a:cubicBezTo>
                  <a:cubicBezTo>
                    <a:pt x="88" y="35"/>
                    <a:pt x="92" y="37"/>
                    <a:pt x="93" y="35"/>
                  </a:cubicBezTo>
                  <a:cubicBezTo>
                    <a:pt x="94" y="34"/>
                    <a:pt x="93" y="32"/>
                    <a:pt x="92" y="31"/>
                  </a:cubicBezTo>
                  <a:cubicBezTo>
                    <a:pt x="91" y="30"/>
                    <a:pt x="92" y="29"/>
                    <a:pt x="93" y="29"/>
                  </a:cubicBezTo>
                  <a:cubicBezTo>
                    <a:pt x="95" y="29"/>
                    <a:pt x="94" y="28"/>
                    <a:pt x="93" y="28"/>
                  </a:cubicBezTo>
                  <a:cubicBezTo>
                    <a:pt x="92" y="28"/>
                    <a:pt x="92" y="27"/>
                    <a:pt x="94" y="26"/>
                  </a:cubicBezTo>
                  <a:cubicBezTo>
                    <a:pt x="95" y="25"/>
                    <a:pt x="94" y="25"/>
                    <a:pt x="94" y="23"/>
                  </a:cubicBezTo>
                  <a:cubicBezTo>
                    <a:pt x="94" y="22"/>
                    <a:pt x="92" y="24"/>
                    <a:pt x="91" y="22"/>
                  </a:cubicBezTo>
                  <a:cubicBezTo>
                    <a:pt x="90" y="20"/>
                    <a:pt x="88" y="22"/>
                    <a:pt x="87" y="21"/>
                  </a:cubicBezTo>
                  <a:cubicBezTo>
                    <a:pt x="85" y="18"/>
                    <a:pt x="84" y="21"/>
                    <a:pt x="82" y="19"/>
                  </a:cubicBezTo>
                  <a:cubicBezTo>
                    <a:pt x="80" y="18"/>
                    <a:pt x="81" y="15"/>
                    <a:pt x="78" y="17"/>
                  </a:cubicBezTo>
                  <a:cubicBezTo>
                    <a:pt x="74" y="19"/>
                    <a:pt x="74" y="16"/>
                    <a:pt x="71" y="17"/>
                  </a:cubicBezTo>
                  <a:cubicBezTo>
                    <a:pt x="69" y="18"/>
                    <a:pt x="71" y="14"/>
                    <a:pt x="69" y="12"/>
                  </a:cubicBezTo>
                  <a:cubicBezTo>
                    <a:pt x="67" y="9"/>
                    <a:pt x="67" y="11"/>
                    <a:pt x="65" y="10"/>
                  </a:cubicBezTo>
                  <a:cubicBezTo>
                    <a:pt x="63" y="10"/>
                    <a:pt x="65" y="10"/>
                    <a:pt x="63" y="8"/>
                  </a:cubicBezTo>
                  <a:cubicBezTo>
                    <a:pt x="62" y="7"/>
                    <a:pt x="66" y="6"/>
                    <a:pt x="64" y="5"/>
                  </a:cubicBezTo>
                  <a:cubicBezTo>
                    <a:pt x="61" y="4"/>
                    <a:pt x="63" y="0"/>
                    <a:pt x="61" y="2"/>
                  </a:cubicBezTo>
                  <a:cubicBezTo>
                    <a:pt x="59" y="3"/>
                    <a:pt x="60" y="0"/>
                    <a:pt x="58" y="2"/>
                  </a:cubicBezTo>
                  <a:cubicBezTo>
                    <a:pt x="56" y="3"/>
                    <a:pt x="54" y="1"/>
                    <a:pt x="54" y="3"/>
                  </a:cubicBezTo>
                  <a:cubicBezTo>
                    <a:pt x="53" y="5"/>
                    <a:pt x="51" y="4"/>
                    <a:pt x="50" y="3"/>
                  </a:cubicBezTo>
                  <a:cubicBezTo>
                    <a:pt x="46" y="3"/>
                    <a:pt x="45" y="5"/>
                    <a:pt x="45" y="8"/>
                  </a:cubicBezTo>
                  <a:cubicBezTo>
                    <a:pt x="45" y="11"/>
                    <a:pt x="44" y="11"/>
                    <a:pt x="43" y="9"/>
                  </a:cubicBezTo>
                  <a:cubicBezTo>
                    <a:pt x="42" y="9"/>
                    <a:pt x="40" y="9"/>
                    <a:pt x="39" y="9"/>
                  </a:cubicBezTo>
                  <a:cubicBezTo>
                    <a:pt x="37" y="10"/>
                    <a:pt x="38" y="6"/>
                    <a:pt x="35" y="8"/>
                  </a:cubicBezTo>
                  <a:cubicBezTo>
                    <a:pt x="33" y="10"/>
                    <a:pt x="36" y="7"/>
                    <a:pt x="30" y="7"/>
                  </a:cubicBezTo>
                  <a:cubicBezTo>
                    <a:pt x="26" y="7"/>
                    <a:pt x="28" y="6"/>
                    <a:pt x="25" y="6"/>
                  </a:cubicBezTo>
                  <a:cubicBezTo>
                    <a:pt x="23" y="7"/>
                    <a:pt x="22" y="4"/>
                    <a:pt x="15" y="5"/>
                  </a:cubicBezTo>
                  <a:cubicBezTo>
                    <a:pt x="9" y="6"/>
                    <a:pt x="12" y="8"/>
                    <a:pt x="10" y="7"/>
                  </a:cubicBezTo>
                  <a:cubicBezTo>
                    <a:pt x="9" y="7"/>
                    <a:pt x="8" y="8"/>
                    <a:pt x="8" y="8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0" name="Freeform 20114">
              <a:extLst>
                <a:ext uri="{FF2B5EF4-FFF2-40B4-BE49-F238E27FC236}">
                  <a16:creationId xmlns:a16="http://schemas.microsoft.com/office/drawing/2014/main" id="{5C337F40-400A-6B46-B058-08BD044B09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5737" y="2668926"/>
              <a:ext cx="763291" cy="360655"/>
            </a:xfrm>
            <a:custGeom>
              <a:avLst/>
              <a:gdLst/>
              <a:ahLst/>
              <a:cxnLst>
                <a:cxn ang="0">
                  <a:pos x="151" y="18"/>
                </a:cxn>
                <a:cxn ang="0">
                  <a:pos x="146" y="31"/>
                </a:cxn>
                <a:cxn ang="0">
                  <a:pos x="148" y="34"/>
                </a:cxn>
                <a:cxn ang="0">
                  <a:pos x="154" y="34"/>
                </a:cxn>
                <a:cxn ang="0">
                  <a:pos x="158" y="32"/>
                </a:cxn>
                <a:cxn ang="0">
                  <a:pos x="165" y="36"/>
                </a:cxn>
                <a:cxn ang="0">
                  <a:pos x="168" y="42"/>
                </a:cxn>
                <a:cxn ang="0">
                  <a:pos x="162" y="42"/>
                </a:cxn>
                <a:cxn ang="0">
                  <a:pos x="157" y="42"/>
                </a:cxn>
                <a:cxn ang="0">
                  <a:pos x="150" y="45"/>
                </a:cxn>
                <a:cxn ang="0">
                  <a:pos x="148" y="49"/>
                </a:cxn>
                <a:cxn ang="0">
                  <a:pos x="142" y="51"/>
                </a:cxn>
                <a:cxn ang="0">
                  <a:pos x="136" y="56"/>
                </a:cxn>
                <a:cxn ang="0">
                  <a:pos x="126" y="54"/>
                </a:cxn>
                <a:cxn ang="0">
                  <a:pos x="124" y="59"/>
                </a:cxn>
                <a:cxn ang="0">
                  <a:pos x="126" y="64"/>
                </a:cxn>
                <a:cxn ang="0">
                  <a:pos x="119" y="69"/>
                </a:cxn>
                <a:cxn ang="0">
                  <a:pos x="114" y="73"/>
                </a:cxn>
                <a:cxn ang="0">
                  <a:pos x="111" y="73"/>
                </a:cxn>
                <a:cxn ang="0">
                  <a:pos x="105" y="73"/>
                </a:cxn>
                <a:cxn ang="0">
                  <a:pos x="101" y="74"/>
                </a:cxn>
                <a:cxn ang="0">
                  <a:pos x="91" y="79"/>
                </a:cxn>
                <a:cxn ang="0">
                  <a:pos x="88" y="79"/>
                </a:cxn>
                <a:cxn ang="0">
                  <a:pos x="86" y="77"/>
                </a:cxn>
                <a:cxn ang="0">
                  <a:pos x="77" y="75"/>
                </a:cxn>
                <a:cxn ang="0">
                  <a:pos x="66" y="71"/>
                </a:cxn>
                <a:cxn ang="0">
                  <a:pos x="49" y="71"/>
                </a:cxn>
                <a:cxn ang="0">
                  <a:pos x="45" y="70"/>
                </a:cxn>
                <a:cxn ang="0">
                  <a:pos x="42" y="64"/>
                </a:cxn>
                <a:cxn ang="0">
                  <a:pos x="36" y="59"/>
                </a:cxn>
                <a:cxn ang="0">
                  <a:pos x="25" y="54"/>
                </a:cxn>
                <a:cxn ang="0">
                  <a:pos x="18" y="53"/>
                </a:cxn>
                <a:cxn ang="0">
                  <a:pos x="16" y="49"/>
                </a:cxn>
                <a:cxn ang="0">
                  <a:pos x="17" y="43"/>
                </a:cxn>
                <a:cxn ang="0">
                  <a:pos x="12" y="33"/>
                </a:cxn>
                <a:cxn ang="0">
                  <a:pos x="10" y="32"/>
                </a:cxn>
                <a:cxn ang="0">
                  <a:pos x="6" y="31"/>
                </a:cxn>
                <a:cxn ang="0">
                  <a:pos x="1" y="23"/>
                </a:cxn>
                <a:cxn ang="0">
                  <a:pos x="8" y="20"/>
                </a:cxn>
                <a:cxn ang="0">
                  <a:pos x="14" y="15"/>
                </a:cxn>
                <a:cxn ang="0">
                  <a:pos x="27" y="12"/>
                </a:cxn>
                <a:cxn ang="0">
                  <a:pos x="35" y="14"/>
                </a:cxn>
                <a:cxn ang="0">
                  <a:pos x="55" y="15"/>
                </a:cxn>
                <a:cxn ang="0">
                  <a:pos x="54" y="6"/>
                </a:cxn>
                <a:cxn ang="0">
                  <a:pos x="65" y="3"/>
                </a:cxn>
                <a:cxn ang="0">
                  <a:pos x="76" y="8"/>
                </a:cxn>
                <a:cxn ang="0">
                  <a:pos x="86" y="15"/>
                </a:cxn>
                <a:cxn ang="0">
                  <a:pos x="100" y="16"/>
                </a:cxn>
                <a:cxn ang="0">
                  <a:pos x="112" y="22"/>
                </a:cxn>
                <a:cxn ang="0">
                  <a:pos x="128" y="21"/>
                </a:cxn>
                <a:cxn ang="0">
                  <a:pos x="141" y="15"/>
                </a:cxn>
                <a:cxn ang="0">
                  <a:pos x="151" y="18"/>
                </a:cxn>
              </a:cxnLst>
              <a:rect l="0" t="0" r="r" b="b"/>
              <a:pathLst>
                <a:path w="169" h="80">
                  <a:moveTo>
                    <a:pt x="151" y="18"/>
                  </a:moveTo>
                  <a:cubicBezTo>
                    <a:pt x="144" y="32"/>
                    <a:pt x="148" y="29"/>
                    <a:pt x="146" y="31"/>
                  </a:cubicBezTo>
                  <a:cubicBezTo>
                    <a:pt x="144" y="32"/>
                    <a:pt x="147" y="35"/>
                    <a:pt x="148" y="34"/>
                  </a:cubicBezTo>
                  <a:cubicBezTo>
                    <a:pt x="149" y="33"/>
                    <a:pt x="152" y="33"/>
                    <a:pt x="154" y="34"/>
                  </a:cubicBezTo>
                  <a:cubicBezTo>
                    <a:pt x="156" y="36"/>
                    <a:pt x="154" y="32"/>
                    <a:pt x="158" y="32"/>
                  </a:cubicBezTo>
                  <a:cubicBezTo>
                    <a:pt x="162" y="32"/>
                    <a:pt x="163" y="34"/>
                    <a:pt x="165" y="36"/>
                  </a:cubicBezTo>
                  <a:cubicBezTo>
                    <a:pt x="167" y="38"/>
                    <a:pt x="169" y="41"/>
                    <a:pt x="168" y="42"/>
                  </a:cubicBezTo>
                  <a:cubicBezTo>
                    <a:pt x="166" y="43"/>
                    <a:pt x="163" y="41"/>
                    <a:pt x="162" y="42"/>
                  </a:cubicBezTo>
                  <a:cubicBezTo>
                    <a:pt x="161" y="43"/>
                    <a:pt x="160" y="41"/>
                    <a:pt x="157" y="42"/>
                  </a:cubicBezTo>
                  <a:cubicBezTo>
                    <a:pt x="155" y="44"/>
                    <a:pt x="152" y="43"/>
                    <a:pt x="150" y="45"/>
                  </a:cubicBezTo>
                  <a:cubicBezTo>
                    <a:pt x="148" y="48"/>
                    <a:pt x="150" y="48"/>
                    <a:pt x="148" y="49"/>
                  </a:cubicBezTo>
                  <a:cubicBezTo>
                    <a:pt x="146" y="51"/>
                    <a:pt x="144" y="52"/>
                    <a:pt x="142" y="51"/>
                  </a:cubicBezTo>
                  <a:cubicBezTo>
                    <a:pt x="139" y="51"/>
                    <a:pt x="140" y="54"/>
                    <a:pt x="136" y="56"/>
                  </a:cubicBezTo>
                  <a:cubicBezTo>
                    <a:pt x="131" y="58"/>
                    <a:pt x="129" y="53"/>
                    <a:pt x="126" y="54"/>
                  </a:cubicBezTo>
                  <a:cubicBezTo>
                    <a:pt x="124" y="54"/>
                    <a:pt x="124" y="56"/>
                    <a:pt x="124" y="59"/>
                  </a:cubicBezTo>
                  <a:cubicBezTo>
                    <a:pt x="124" y="61"/>
                    <a:pt x="128" y="63"/>
                    <a:pt x="126" y="64"/>
                  </a:cubicBezTo>
                  <a:cubicBezTo>
                    <a:pt x="123" y="66"/>
                    <a:pt x="122" y="66"/>
                    <a:pt x="119" y="69"/>
                  </a:cubicBezTo>
                  <a:cubicBezTo>
                    <a:pt x="117" y="72"/>
                    <a:pt x="115" y="71"/>
                    <a:pt x="114" y="73"/>
                  </a:cubicBezTo>
                  <a:cubicBezTo>
                    <a:pt x="113" y="74"/>
                    <a:pt x="112" y="72"/>
                    <a:pt x="111" y="73"/>
                  </a:cubicBezTo>
                  <a:cubicBezTo>
                    <a:pt x="109" y="74"/>
                    <a:pt x="109" y="73"/>
                    <a:pt x="105" y="73"/>
                  </a:cubicBezTo>
                  <a:cubicBezTo>
                    <a:pt x="102" y="73"/>
                    <a:pt x="104" y="72"/>
                    <a:pt x="101" y="74"/>
                  </a:cubicBezTo>
                  <a:cubicBezTo>
                    <a:pt x="99" y="76"/>
                    <a:pt x="99" y="74"/>
                    <a:pt x="91" y="79"/>
                  </a:cubicBezTo>
                  <a:cubicBezTo>
                    <a:pt x="90" y="80"/>
                    <a:pt x="90" y="78"/>
                    <a:pt x="88" y="79"/>
                  </a:cubicBezTo>
                  <a:cubicBezTo>
                    <a:pt x="87" y="79"/>
                    <a:pt x="89" y="76"/>
                    <a:pt x="86" y="77"/>
                  </a:cubicBezTo>
                  <a:cubicBezTo>
                    <a:pt x="83" y="79"/>
                    <a:pt x="79" y="75"/>
                    <a:pt x="77" y="75"/>
                  </a:cubicBezTo>
                  <a:cubicBezTo>
                    <a:pt x="75" y="75"/>
                    <a:pt x="73" y="71"/>
                    <a:pt x="66" y="71"/>
                  </a:cubicBezTo>
                  <a:cubicBezTo>
                    <a:pt x="59" y="72"/>
                    <a:pt x="58" y="72"/>
                    <a:pt x="49" y="71"/>
                  </a:cubicBezTo>
                  <a:cubicBezTo>
                    <a:pt x="47" y="70"/>
                    <a:pt x="45" y="72"/>
                    <a:pt x="45" y="70"/>
                  </a:cubicBezTo>
                  <a:cubicBezTo>
                    <a:pt x="44" y="67"/>
                    <a:pt x="43" y="69"/>
                    <a:pt x="42" y="64"/>
                  </a:cubicBezTo>
                  <a:cubicBezTo>
                    <a:pt x="41" y="60"/>
                    <a:pt x="42" y="64"/>
                    <a:pt x="36" y="59"/>
                  </a:cubicBezTo>
                  <a:cubicBezTo>
                    <a:pt x="31" y="54"/>
                    <a:pt x="28" y="54"/>
                    <a:pt x="25" y="54"/>
                  </a:cubicBezTo>
                  <a:cubicBezTo>
                    <a:pt x="22" y="54"/>
                    <a:pt x="20" y="53"/>
                    <a:pt x="18" y="53"/>
                  </a:cubicBezTo>
                  <a:cubicBezTo>
                    <a:pt x="15" y="53"/>
                    <a:pt x="15" y="50"/>
                    <a:pt x="16" y="49"/>
                  </a:cubicBezTo>
                  <a:cubicBezTo>
                    <a:pt x="18" y="46"/>
                    <a:pt x="16" y="47"/>
                    <a:pt x="17" y="43"/>
                  </a:cubicBezTo>
                  <a:cubicBezTo>
                    <a:pt x="18" y="39"/>
                    <a:pt x="13" y="35"/>
                    <a:pt x="12" y="33"/>
                  </a:cubicBezTo>
                  <a:cubicBezTo>
                    <a:pt x="12" y="32"/>
                    <a:pt x="11" y="34"/>
                    <a:pt x="10" y="32"/>
                  </a:cubicBezTo>
                  <a:cubicBezTo>
                    <a:pt x="9" y="30"/>
                    <a:pt x="8" y="33"/>
                    <a:pt x="6" y="31"/>
                  </a:cubicBezTo>
                  <a:cubicBezTo>
                    <a:pt x="3" y="30"/>
                    <a:pt x="0" y="26"/>
                    <a:pt x="1" y="23"/>
                  </a:cubicBezTo>
                  <a:cubicBezTo>
                    <a:pt x="4" y="19"/>
                    <a:pt x="3" y="22"/>
                    <a:pt x="8" y="20"/>
                  </a:cubicBezTo>
                  <a:cubicBezTo>
                    <a:pt x="12" y="19"/>
                    <a:pt x="8" y="18"/>
                    <a:pt x="14" y="15"/>
                  </a:cubicBezTo>
                  <a:cubicBezTo>
                    <a:pt x="20" y="12"/>
                    <a:pt x="24" y="10"/>
                    <a:pt x="27" y="12"/>
                  </a:cubicBezTo>
                  <a:cubicBezTo>
                    <a:pt x="30" y="14"/>
                    <a:pt x="34" y="10"/>
                    <a:pt x="35" y="14"/>
                  </a:cubicBezTo>
                  <a:cubicBezTo>
                    <a:pt x="36" y="17"/>
                    <a:pt x="53" y="20"/>
                    <a:pt x="55" y="15"/>
                  </a:cubicBezTo>
                  <a:cubicBezTo>
                    <a:pt x="56" y="11"/>
                    <a:pt x="50" y="11"/>
                    <a:pt x="54" y="6"/>
                  </a:cubicBezTo>
                  <a:cubicBezTo>
                    <a:pt x="58" y="0"/>
                    <a:pt x="56" y="0"/>
                    <a:pt x="65" y="3"/>
                  </a:cubicBezTo>
                  <a:cubicBezTo>
                    <a:pt x="73" y="7"/>
                    <a:pt x="76" y="3"/>
                    <a:pt x="76" y="8"/>
                  </a:cubicBezTo>
                  <a:cubicBezTo>
                    <a:pt x="76" y="13"/>
                    <a:pt x="81" y="17"/>
                    <a:pt x="86" y="15"/>
                  </a:cubicBezTo>
                  <a:cubicBezTo>
                    <a:pt x="92" y="13"/>
                    <a:pt x="93" y="13"/>
                    <a:pt x="100" y="16"/>
                  </a:cubicBezTo>
                  <a:cubicBezTo>
                    <a:pt x="107" y="18"/>
                    <a:pt x="103" y="20"/>
                    <a:pt x="112" y="22"/>
                  </a:cubicBezTo>
                  <a:cubicBezTo>
                    <a:pt x="125" y="25"/>
                    <a:pt x="120" y="20"/>
                    <a:pt x="128" y="21"/>
                  </a:cubicBezTo>
                  <a:cubicBezTo>
                    <a:pt x="136" y="21"/>
                    <a:pt x="134" y="11"/>
                    <a:pt x="141" y="15"/>
                  </a:cubicBezTo>
                  <a:cubicBezTo>
                    <a:pt x="147" y="19"/>
                    <a:pt x="147" y="15"/>
                    <a:pt x="151" y="18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1" name="Freeform 20141">
              <a:extLst>
                <a:ext uri="{FF2B5EF4-FFF2-40B4-BE49-F238E27FC236}">
                  <a16:creationId xmlns:a16="http://schemas.microsoft.com/office/drawing/2014/main" id="{B4BEE414-D96F-2B4A-9FE1-3FD71C295A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5804" y="2894095"/>
              <a:ext cx="415993" cy="276694"/>
            </a:xfrm>
            <a:custGeom>
              <a:avLst/>
              <a:gdLst/>
              <a:ahLst/>
              <a:cxnLst>
                <a:cxn ang="0">
                  <a:pos x="27" y="13"/>
                </a:cxn>
                <a:cxn ang="0">
                  <a:pos x="21" y="16"/>
                </a:cxn>
                <a:cxn ang="0">
                  <a:pos x="13" y="14"/>
                </a:cxn>
                <a:cxn ang="0">
                  <a:pos x="14" y="0"/>
                </a:cxn>
                <a:cxn ang="0">
                  <a:pos x="1" y="7"/>
                </a:cxn>
                <a:cxn ang="0">
                  <a:pos x="7" y="31"/>
                </a:cxn>
                <a:cxn ang="0">
                  <a:pos x="11" y="24"/>
                </a:cxn>
                <a:cxn ang="0">
                  <a:pos x="14" y="21"/>
                </a:cxn>
                <a:cxn ang="0">
                  <a:pos x="21" y="24"/>
                </a:cxn>
                <a:cxn ang="0">
                  <a:pos x="22" y="29"/>
                </a:cxn>
                <a:cxn ang="0">
                  <a:pos x="28" y="32"/>
                </a:cxn>
                <a:cxn ang="0">
                  <a:pos x="33" y="37"/>
                </a:cxn>
                <a:cxn ang="0">
                  <a:pos x="44" y="48"/>
                </a:cxn>
                <a:cxn ang="0">
                  <a:pos x="56" y="55"/>
                </a:cxn>
                <a:cxn ang="0">
                  <a:pos x="60" y="60"/>
                </a:cxn>
                <a:cxn ang="0">
                  <a:pos x="63" y="57"/>
                </a:cxn>
                <a:cxn ang="0">
                  <a:pos x="64" y="48"/>
                </a:cxn>
                <a:cxn ang="0">
                  <a:pos x="60" y="46"/>
                </a:cxn>
                <a:cxn ang="0">
                  <a:pos x="67" y="42"/>
                </a:cxn>
                <a:cxn ang="0">
                  <a:pos x="71" y="35"/>
                </a:cxn>
                <a:cxn ang="0">
                  <a:pos x="76" y="33"/>
                </a:cxn>
                <a:cxn ang="0">
                  <a:pos x="77" y="36"/>
                </a:cxn>
                <a:cxn ang="0">
                  <a:pos x="79" y="39"/>
                </a:cxn>
                <a:cxn ang="0">
                  <a:pos x="85" y="38"/>
                </a:cxn>
                <a:cxn ang="0">
                  <a:pos x="86" y="33"/>
                </a:cxn>
                <a:cxn ang="0">
                  <a:pos x="75" y="30"/>
                </a:cxn>
                <a:cxn ang="0">
                  <a:pos x="78" y="25"/>
                </a:cxn>
                <a:cxn ang="0">
                  <a:pos x="76" y="26"/>
                </a:cxn>
                <a:cxn ang="0">
                  <a:pos x="70" y="30"/>
                </a:cxn>
                <a:cxn ang="0">
                  <a:pos x="66" y="35"/>
                </a:cxn>
                <a:cxn ang="0">
                  <a:pos x="63" y="35"/>
                </a:cxn>
                <a:cxn ang="0">
                  <a:pos x="63" y="33"/>
                </a:cxn>
                <a:cxn ang="0">
                  <a:pos x="56" y="30"/>
                </a:cxn>
                <a:cxn ang="0">
                  <a:pos x="53" y="26"/>
                </a:cxn>
                <a:cxn ang="0">
                  <a:pos x="53" y="20"/>
                </a:cxn>
                <a:cxn ang="0">
                  <a:pos x="46" y="14"/>
                </a:cxn>
                <a:cxn ang="0">
                  <a:pos x="30" y="14"/>
                </a:cxn>
                <a:cxn ang="0">
                  <a:pos x="28" y="9"/>
                </a:cxn>
              </a:cxnLst>
              <a:rect l="0" t="0" r="r" b="b"/>
              <a:pathLst>
                <a:path w="92" h="61">
                  <a:moveTo>
                    <a:pt x="28" y="9"/>
                  </a:moveTo>
                  <a:cubicBezTo>
                    <a:pt x="24" y="13"/>
                    <a:pt x="26" y="12"/>
                    <a:pt x="27" y="13"/>
                  </a:cubicBezTo>
                  <a:cubicBezTo>
                    <a:pt x="28" y="14"/>
                    <a:pt x="25" y="15"/>
                    <a:pt x="24" y="15"/>
                  </a:cubicBezTo>
                  <a:cubicBezTo>
                    <a:pt x="22" y="14"/>
                    <a:pt x="23" y="16"/>
                    <a:pt x="21" y="16"/>
                  </a:cubicBezTo>
                  <a:cubicBezTo>
                    <a:pt x="19" y="16"/>
                    <a:pt x="22" y="14"/>
                    <a:pt x="19" y="13"/>
                  </a:cubicBezTo>
                  <a:cubicBezTo>
                    <a:pt x="15" y="13"/>
                    <a:pt x="13" y="16"/>
                    <a:pt x="13" y="14"/>
                  </a:cubicBezTo>
                  <a:cubicBezTo>
                    <a:pt x="13" y="11"/>
                    <a:pt x="12" y="9"/>
                    <a:pt x="13" y="8"/>
                  </a:cubicBezTo>
                  <a:cubicBezTo>
                    <a:pt x="13" y="7"/>
                    <a:pt x="11" y="7"/>
                    <a:pt x="14" y="0"/>
                  </a:cubicBezTo>
                  <a:cubicBezTo>
                    <a:pt x="13" y="0"/>
                    <a:pt x="4" y="3"/>
                    <a:pt x="2" y="4"/>
                  </a:cubicBezTo>
                  <a:cubicBezTo>
                    <a:pt x="0" y="4"/>
                    <a:pt x="1" y="4"/>
                    <a:pt x="1" y="7"/>
                  </a:cubicBezTo>
                  <a:cubicBezTo>
                    <a:pt x="1" y="9"/>
                    <a:pt x="1" y="31"/>
                    <a:pt x="1" y="31"/>
                  </a:cubicBezTo>
                  <a:cubicBezTo>
                    <a:pt x="3" y="31"/>
                    <a:pt x="6" y="32"/>
                    <a:pt x="7" y="31"/>
                  </a:cubicBezTo>
                  <a:cubicBezTo>
                    <a:pt x="7" y="30"/>
                    <a:pt x="5" y="30"/>
                    <a:pt x="6" y="27"/>
                  </a:cubicBezTo>
                  <a:cubicBezTo>
                    <a:pt x="7" y="24"/>
                    <a:pt x="11" y="26"/>
                    <a:pt x="11" y="24"/>
                  </a:cubicBezTo>
                  <a:cubicBezTo>
                    <a:pt x="11" y="22"/>
                    <a:pt x="15" y="24"/>
                    <a:pt x="12" y="22"/>
                  </a:cubicBezTo>
                  <a:cubicBezTo>
                    <a:pt x="11" y="21"/>
                    <a:pt x="13" y="22"/>
                    <a:pt x="14" y="21"/>
                  </a:cubicBezTo>
                  <a:cubicBezTo>
                    <a:pt x="15" y="20"/>
                    <a:pt x="15" y="22"/>
                    <a:pt x="17" y="23"/>
                  </a:cubicBezTo>
                  <a:cubicBezTo>
                    <a:pt x="19" y="23"/>
                    <a:pt x="16" y="24"/>
                    <a:pt x="21" y="24"/>
                  </a:cubicBezTo>
                  <a:cubicBezTo>
                    <a:pt x="24" y="24"/>
                    <a:pt x="20" y="25"/>
                    <a:pt x="23" y="27"/>
                  </a:cubicBezTo>
                  <a:cubicBezTo>
                    <a:pt x="24" y="28"/>
                    <a:pt x="21" y="28"/>
                    <a:pt x="22" y="29"/>
                  </a:cubicBezTo>
                  <a:cubicBezTo>
                    <a:pt x="23" y="30"/>
                    <a:pt x="21" y="29"/>
                    <a:pt x="23" y="31"/>
                  </a:cubicBezTo>
                  <a:cubicBezTo>
                    <a:pt x="25" y="33"/>
                    <a:pt x="26" y="31"/>
                    <a:pt x="28" y="32"/>
                  </a:cubicBezTo>
                  <a:cubicBezTo>
                    <a:pt x="29" y="33"/>
                    <a:pt x="28" y="31"/>
                    <a:pt x="31" y="32"/>
                  </a:cubicBezTo>
                  <a:cubicBezTo>
                    <a:pt x="33" y="33"/>
                    <a:pt x="32" y="36"/>
                    <a:pt x="33" y="37"/>
                  </a:cubicBezTo>
                  <a:cubicBezTo>
                    <a:pt x="35" y="38"/>
                    <a:pt x="34" y="40"/>
                    <a:pt x="37" y="42"/>
                  </a:cubicBezTo>
                  <a:cubicBezTo>
                    <a:pt x="40" y="45"/>
                    <a:pt x="42" y="48"/>
                    <a:pt x="44" y="48"/>
                  </a:cubicBezTo>
                  <a:cubicBezTo>
                    <a:pt x="45" y="48"/>
                    <a:pt x="50" y="54"/>
                    <a:pt x="52" y="53"/>
                  </a:cubicBezTo>
                  <a:cubicBezTo>
                    <a:pt x="53" y="52"/>
                    <a:pt x="54" y="54"/>
                    <a:pt x="56" y="55"/>
                  </a:cubicBezTo>
                  <a:cubicBezTo>
                    <a:pt x="57" y="55"/>
                    <a:pt x="55" y="55"/>
                    <a:pt x="56" y="59"/>
                  </a:cubicBezTo>
                  <a:cubicBezTo>
                    <a:pt x="59" y="58"/>
                    <a:pt x="59" y="61"/>
                    <a:pt x="60" y="60"/>
                  </a:cubicBezTo>
                  <a:cubicBezTo>
                    <a:pt x="61" y="60"/>
                    <a:pt x="61" y="60"/>
                    <a:pt x="62" y="61"/>
                  </a:cubicBezTo>
                  <a:cubicBezTo>
                    <a:pt x="62" y="60"/>
                    <a:pt x="62" y="59"/>
                    <a:pt x="63" y="57"/>
                  </a:cubicBezTo>
                  <a:cubicBezTo>
                    <a:pt x="65" y="54"/>
                    <a:pt x="66" y="54"/>
                    <a:pt x="64" y="52"/>
                  </a:cubicBezTo>
                  <a:cubicBezTo>
                    <a:pt x="63" y="50"/>
                    <a:pt x="65" y="49"/>
                    <a:pt x="64" y="48"/>
                  </a:cubicBezTo>
                  <a:cubicBezTo>
                    <a:pt x="63" y="47"/>
                    <a:pt x="62" y="49"/>
                    <a:pt x="62" y="47"/>
                  </a:cubicBezTo>
                  <a:cubicBezTo>
                    <a:pt x="62" y="46"/>
                    <a:pt x="61" y="46"/>
                    <a:pt x="60" y="46"/>
                  </a:cubicBezTo>
                  <a:cubicBezTo>
                    <a:pt x="59" y="46"/>
                    <a:pt x="61" y="43"/>
                    <a:pt x="63" y="43"/>
                  </a:cubicBezTo>
                  <a:cubicBezTo>
                    <a:pt x="65" y="44"/>
                    <a:pt x="66" y="44"/>
                    <a:pt x="67" y="42"/>
                  </a:cubicBezTo>
                  <a:cubicBezTo>
                    <a:pt x="69" y="39"/>
                    <a:pt x="66" y="39"/>
                    <a:pt x="69" y="39"/>
                  </a:cubicBezTo>
                  <a:cubicBezTo>
                    <a:pt x="71" y="39"/>
                    <a:pt x="69" y="36"/>
                    <a:pt x="71" y="35"/>
                  </a:cubicBezTo>
                  <a:cubicBezTo>
                    <a:pt x="71" y="34"/>
                    <a:pt x="71" y="36"/>
                    <a:pt x="74" y="35"/>
                  </a:cubicBezTo>
                  <a:cubicBezTo>
                    <a:pt x="76" y="34"/>
                    <a:pt x="75" y="33"/>
                    <a:pt x="76" y="33"/>
                  </a:cubicBezTo>
                  <a:cubicBezTo>
                    <a:pt x="77" y="33"/>
                    <a:pt x="77" y="35"/>
                    <a:pt x="77" y="35"/>
                  </a:cubicBezTo>
                  <a:cubicBezTo>
                    <a:pt x="78" y="35"/>
                    <a:pt x="78" y="35"/>
                    <a:pt x="77" y="36"/>
                  </a:cubicBezTo>
                  <a:cubicBezTo>
                    <a:pt x="76" y="37"/>
                    <a:pt x="75" y="38"/>
                    <a:pt x="76" y="38"/>
                  </a:cubicBezTo>
                  <a:cubicBezTo>
                    <a:pt x="77" y="38"/>
                    <a:pt x="76" y="40"/>
                    <a:pt x="79" y="39"/>
                  </a:cubicBezTo>
                  <a:cubicBezTo>
                    <a:pt x="80" y="38"/>
                    <a:pt x="80" y="38"/>
                    <a:pt x="82" y="40"/>
                  </a:cubicBezTo>
                  <a:cubicBezTo>
                    <a:pt x="84" y="41"/>
                    <a:pt x="84" y="37"/>
                    <a:pt x="85" y="38"/>
                  </a:cubicBezTo>
                  <a:cubicBezTo>
                    <a:pt x="87" y="38"/>
                    <a:pt x="87" y="37"/>
                    <a:pt x="89" y="35"/>
                  </a:cubicBezTo>
                  <a:cubicBezTo>
                    <a:pt x="92" y="34"/>
                    <a:pt x="89" y="35"/>
                    <a:pt x="86" y="33"/>
                  </a:cubicBezTo>
                  <a:cubicBezTo>
                    <a:pt x="82" y="31"/>
                    <a:pt x="83" y="28"/>
                    <a:pt x="81" y="31"/>
                  </a:cubicBezTo>
                  <a:cubicBezTo>
                    <a:pt x="80" y="34"/>
                    <a:pt x="77" y="31"/>
                    <a:pt x="75" y="30"/>
                  </a:cubicBezTo>
                  <a:cubicBezTo>
                    <a:pt x="73" y="29"/>
                    <a:pt x="83" y="25"/>
                    <a:pt x="79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7" y="25"/>
                    <a:pt x="78" y="26"/>
                    <a:pt x="77" y="26"/>
                  </a:cubicBezTo>
                  <a:cubicBezTo>
                    <a:pt x="76" y="26"/>
                    <a:pt x="77" y="25"/>
                    <a:pt x="76" y="26"/>
                  </a:cubicBezTo>
                  <a:cubicBezTo>
                    <a:pt x="74" y="27"/>
                    <a:pt x="73" y="28"/>
                    <a:pt x="72" y="29"/>
                  </a:cubicBezTo>
                  <a:cubicBezTo>
                    <a:pt x="71" y="30"/>
                    <a:pt x="71" y="30"/>
                    <a:pt x="70" y="30"/>
                  </a:cubicBezTo>
                  <a:cubicBezTo>
                    <a:pt x="68" y="31"/>
                    <a:pt x="69" y="32"/>
                    <a:pt x="68" y="32"/>
                  </a:cubicBezTo>
                  <a:cubicBezTo>
                    <a:pt x="67" y="33"/>
                    <a:pt x="66" y="34"/>
                    <a:pt x="66" y="35"/>
                  </a:cubicBezTo>
                  <a:cubicBezTo>
                    <a:pt x="67" y="36"/>
                    <a:pt x="66" y="37"/>
                    <a:pt x="65" y="36"/>
                  </a:cubicBezTo>
                  <a:cubicBezTo>
                    <a:pt x="65" y="36"/>
                    <a:pt x="63" y="35"/>
                    <a:pt x="63" y="35"/>
                  </a:cubicBezTo>
                  <a:cubicBezTo>
                    <a:pt x="63" y="35"/>
                    <a:pt x="64" y="33"/>
                    <a:pt x="64" y="33"/>
                  </a:cubicBezTo>
                  <a:cubicBezTo>
                    <a:pt x="64" y="33"/>
                    <a:pt x="64" y="34"/>
                    <a:pt x="63" y="33"/>
                  </a:cubicBezTo>
                  <a:cubicBezTo>
                    <a:pt x="63" y="32"/>
                    <a:pt x="63" y="32"/>
                    <a:pt x="59" y="32"/>
                  </a:cubicBezTo>
                  <a:cubicBezTo>
                    <a:pt x="56" y="33"/>
                    <a:pt x="56" y="32"/>
                    <a:pt x="56" y="30"/>
                  </a:cubicBezTo>
                  <a:cubicBezTo>
                    <a:pt x="56" y="28"/>
                    <a:pt x="56" y="26"/>
                    <a:pt x="55" y="26"/>
                  </a:cubicBezTo>
                  <a:cubicBezTo>
                    <a:pt x="55" y="26"/>
                    <a:pt x="53" y="26"/>
                    <a:pt x="53" y="26"/>
                  </a:cubicBezTo>
                  <a:cubicBezTo>
                    <a:pt x="53" y="26"/>
                    <a:pt x="53" y="25"/>
                    <a:pt x="53" y="23"/>
                  </a:cubicBezTo>
                  <a:cubicBezTo>
                    <a:pt x="54" y="20"/>
                    <a:pt x="54" y="18"/>
                    <a:pt x="53" y="20"/>
                  </a:cubicBezTo>
                  <a:cubicBezTo>
                    <a:pt x="51" y="21"/>
                    <a:pt x="52" y="17"/>
                    <a:pt x="50" y="16"/>
                  </a:cubicBezTo>
                  <a:cubicBezTo>
                    <a:pt x="48" y="15"/>
                    <a:pt x="48" y="13"/>
                    <a:pt x="46" y="14"/>
                  </a:cubicBezTo>
                  <a:cubicBezTo>
                    <a:pt x="43" y="16"/>
                    <a:pt x="41" y="14"/>
                    <a:pt x="36" y="15"/>
                  </a:cubicBezTo>
                  <a:cubicBezTo>
                    <a:pt x="32" y="16"/>
                    <a:pt x="32" y="16"/>
                    <a:pt x="30" y="14"/>
                  </a:cubicBezTo>
                  <a:cubicBezTo>
                    <a:pt x="29" y="12"/>
                    <a:pt x="28" y="11"/>
                    <a:pt x="28" y="10"/>
                  </a:cubicBezTo>
                  <a:cubicBezTo>
                    <a:pt x="27" y="10"/>
                    <a:pt x="28" y="9"/>
                    <a:pt x="28" y="9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2" name="Freeform 20142">
              <a:extLst>
                <a:ext uri="{FF2B5EF4-FFF2-40B4-BE49-F238E27FC236}">
                  <a16:creationId xmlns:a16="http://schemas.microsoft.com/office/drawing/2014/main" id="{0C5F6BFB-E299-C549-853D-6BD24B0496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2568" y="2970425"/>
              <a:ext cx="257610" cy="135484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5" y="13"/>
                </a:cxn>
                <a:cxn ang="0">
                  <a:pos x="11" y="14"/>
                </a:cxn>
                <a:cxn ang="0">
                  <a:pos x="16" y="16"/>
                </a:cxn>
                <a:cxn ang="0">
                  <a:pos x="19" y="18"/>
                </a:cxn>
                <a:cxn ang="0">
                  <a:pos x="15" y="21"/>
                </a:cxn>
                <a:cxn ang="0">
                  <a:pos x="12" y="23"/>
                </a:cxn>
                <a:cxn ang="0">
                  <a:pos x="9" y="22"/>
                </a:cxn>
                <a:cxn ang="0">
                  <a:pos x="7" y="24"/>
                </a:cxn>
                <a:cxn ang="0">
                  <a:pos x="6" y="23"/>
                </a:cxn>
                <a:cxn ang="0">
                  <a:pos x="1" y="23"/>
                </a:cxn>
                <a:cxn ang="0">
                  <a:pos x="0" y="25"/>
                </a:cxn>
                <a:cxn ang="0">
                  <a:pos x="7" y="27"/>
                </a:cxn>
                <a:cxn ang="0">
                  <a:pos x="12" y="27"/>
                </a:cxn>
                <a:cxn ang="0">
                  <a:pos x="15" y="29"/>
                </a:cxn>
                <a:cxn ang="0">
                  <a:pos x="19" y="28"/>
                </a:cxn>
                <a:cxn ang="0">
                  <a:pos x="23" y="28"/>
                </a:cxn>
                <a:cxn ang="0">
                  <a:pos x="26" y="23"/>
                </a:cxn>
                <a:cxn ang="0">
                  <a:pos x="30" y="20"/>
                </a:cxn>
                <a:cxn ang="0">
                  <a:pos x="33" y="20"/>
                </a:cxn>
                <a:cxn ang="0">
                  <a:pos x="36" y="21"/>
                </a:cxn>
                <a:cxn ang="0">
                  <a:pos x="39" y="17"/>
                </a:cxn>
                <a:cxn ang="0">
                  <a:pos x="47" y="14"/>
                </a:cxn>
                <a:cxn ang="0">
                  <a:pos x="55" y="10"/>
                </a:cxn>
                <a:cxn ang="0">
                  <a:pos x="57" y="8"/>
                </a:cxn>
                <a:cxn ang="0">
                  <a:pos x="52" y="5"/>
                </a:cxn>
                <a:cxn ang="0">
                  <a:pos x="41" y="3"/>
                </a:cxn>
                <a:cxn ang="0">
                  <a:pos x="31" y="3"/>
                </a:cxn>
                <a:cxn ang="0">
                  <a:pos x="24" y="1"/>
                </a:cxn>
                <a:cxn ang="0">
                  <a:pos x="21" y="6"/>
                </a:cxn>
                <a:cxn ang="0">
                  <a:pos x="12" y="3"/>
                </a:cxn>
                <a:cxn ang="0">
                  <a:pos x="9" y="7"/>
                </a:cxn>
              </a:cxnLst>
              <a:rect l="0" t="0" r="r" b="b"/>
              <a:pathLst>
                <a:path w="57" h="30">
                  <a:moveTo>
                    <a:pt x="9" y="7"/>
                  </a:moveTo>
                  <a:cubicBezTo>
                    <a:pt x="13" y="8"/>
                    <a:pt x="3" y="12"/>
                    <a:pt x="5" y="13"/>
                  </a:cubicBezTo>
                  <a:cubicBezTo>
                    <a:pt x="7" y="14"/>
                    <a:pt x="10" y="17"/>
                    <a:pt x="11" y="14"/>
                  </a:cubicBezTo>
                  <a:cubicBezTo>
                    <a:pt x="13" y="11"/>
                    <a:pt x="12" y="14"/>
                    <a:pt x="16" y="16"/>
                  </a:cubicBezTo>
                  <a:cubicBezTo>
                    <a:pt x="19" y="18"/>
                    <a:pt x="22" y="17"/>
                    <a:pt x="19" y="18"/>
                  </a:cubicBezTo>
                  <a:cubicBezTo>
                    <a:pt x="17" y="20"/>
                    <a:pt x="17" y="21"/>
                    <a:pt x="15" y="21"/>
                  </a:cubicBezTo>
                  <a:cubicBezTo>
                    <a:pt x="14" y="20"/>
                    <a:pt x="14" y="24"/>
                    <a:pt x="12" y="23"/>
                  </a:cubicBezTo>
                  <a:cubicBezTo>
                    <a:pt x="10" y="21"/>
                    <a:pt x="10" y="21"/>
                    <a:pt x="9" y="22"/>
                  </a:cubicBezTo>
                  <a:cubicBezTo>
                    <a:pt x="8" y="23"/>
                    <a:pt x="8" y="22"/>
                    <a:pt x="7" y="24"/>
                  </a:cubicBezTo>
                  <a:cubicBezTo>
                    <a:pt x="6" y="25"/>
                    <a:pt x="7" y="23"/>
                    <a:pt x="6" y="23"/>
                  </a:cubicBezTo>
                  <a:cubicBezTo>
                    <a:pt x="4" y="22"/>
                    <a:pt x="1" y="22"/>
                    <a:pt x="1" y="23"/>
                  </a:cubicBezTo>
                  <a:cubicBezTo>
                    <a:pt x="1" y="25"/>
                    <a:pt x="0" y="23"/>
                    <a:pt x="0" y="25"/>
                  </a:cubicBezTo>
                  <a:cubicBezTo>
                    <a:pt x="0" y="28"/>
                    <a:pt x="7" y="26"/>
                    <a:pt x="7" y="27"/>
                  </a:cubicBezTo>
                  <a:cubicBezTo>
                    <a:pt x="8" y="29"/>
                    <a:pt x="11" y="25"/>
                    <a:pt x="12" y="27"/>
                  </a:cubicBezTo>
                  <a:cubicBezTo>
                    <a:pt x="13" y="30"/>
                    <a:pt x="14" y="28"/>
                    <a:pt x="15" y="29"/>
                  </a:cubicBezTo>
                  <a:cubicBezTo>
                    <a:pt x="16" y="30"/>
                    <a:pt x="16" y="27"/>
                    <a:pt x="19" y="28"/>
                  </a:cubicBezTo>
                  <a:cubicBezTo>
                    <a:pt x="22" y="29"/>
                    <a:pt x="21" y="27"/>
                    <a:pt x="23" y="28"/>
                  </a:cubicBezTo>
                  <a:cubicBezTo>
                    <a:pt x="27" y="27"/>
                    <a:pt x="21" y="24"/>
                    <a:pt x="26" y="23"/>
                  </a:cubicBezTo>
                  <a:cubicBezTo>
                    <a:pt x="30" y="22"/>
                    <a:pt x="28" y="20"/>
                    <a:pt x="30" y="20"/>
                  </a:cubicBezTo>
                  <a:cubicBezTo>
                    <a:pt x="33" y="21"/>
                    <a:pt x="32" y="17"/>
                    <a:pt x="33" y="20"/>
                  </a:cubicBezTo>
                  <a:cubicBezTo>
                    <a:pt x="34" y="23"/>
                    <a:pt x="35" y="20"/>
                    <a:pt x="36" y="21"/>
                  </a:cubicBezTo>
                  <a:cubicBezTo>
                    <a:pt x="38" y="22"/>
                    <a:pt x="38" y="20"/>
                    <a:pt x="39" y="17"/>
                  </a:cubicBezTo>
                  <a:cubicBezTo>
                    <a:pt x="40" y="15"/>
                    <a:pt x="46" y="18"/>
                    <a:pt x="47" y="14"/>
                  </a:cubicBezTo>
                  <a:cubicBezTo>
                    <a:pt x="48" y="12"/>
                    <a:pt x="53" y="11"/>
                    <a:pt x="55" y="10"/>
                  </a:cubicBezTo>
                  <a:cubicBezTo>
                    <a:pt x="56" y="9"/>
                    <a:pt x="56" y="10"/>
                    <a:pt x="57" y="8"/>
                  </a:cubicBezTo>
                  <a:cubicBezTo>
                    <a:pt x="55" y="5"/>
                    <a:pt x="53" y="7"/>
                    <a:pt x="52" y="5"/>
                  </a:cubicBezTo>
                  <a:cubicBezTo>
                    <a:pt x="52" y="3"/>
                    <a:pt x="48" y="3"/>
                    <a:pt x="41" y="3"/>
                  </a:cubicBezTo>
                  <a:cubicBezTo>
                    <a:pt x="33" y="2"/>
                    <a:pt x="33" y="4"/>
                    <a:pt x="31" y="3"/>
                  </a:cubicBezTo>
                  <a:cubicBezTo>
                    <a:pt x="30" y="2"/>
                    <a:pt x="27" y="0"/>
                    <a:pt x="24" y="1"/>
                  </a:cubicBezTo>
                  <a:cubicBezTo>
                    <a:pt x="20" y="2"/>
                    <a:pt x="23" y="7"/>
                    <a:pt x="21" y="6"/>
                  </a:cubicBezTo>
                  <a:cubicBezTo>
                    <a:pt x="19" y="5"/>
                    <a:pt x="15" y="3"/>
                    <a:pt x="12" y="3"/>
                  </a:cubicBezTo>
                  <a:cubicBezTo>
                    <a:pt x="9" y="4"/>
                    <a:pt x="9" y="6"/>
                    <a:pt x="9" y="7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3" name="Freeform 20143">
              <a:extLst>
                <a:ext uri="{FF2B5EF4-FFF2-40B4-BE49-F238E27FC236}">
                  <a16:creationId xmlns:a16="http://schemas.microsoft.com/office/drawing/2014/main" id="{D2256A70-47AA-884D-8C9C-913783304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2954" y="3042935"/>
              <a:ext cx="188914" cy="145025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17" y="5"/>
                </a:cxn>
                <a:cxn ang="0">
                  <a:pos x="18" y="3"/>
                </a:cxn>
                <a:cxn ang="0">
                  <a:pos x="18" y="2"/>
                </a:cxn>
                <a:cxn ang="0">
                  <a:pos x="17" y="0"/>
                </a:cxn>
                <a:cxn ang="0">
                  <a:pos x="15" y="2"/>
                </a:cxn>
                <a:cxn ang="0">
                  <a:pos x="12" y="2"/>
                </a:cxn>
                <a:cxn ang="0">
                  <a:pos x="10" y="6"/>
                </a:cxn>
                <a:cxn ang="0">
                  <a:pos x="8" y="9"/>
                </a:cxn>
                <a:cxn ang="0">
                  <a:pos x="4" y="10"/>
                </a:cxn>
                <a:cxn ang="0">
                  <a:pos x="1" y="13"/>
                </a:cxn>
                <a:cxn ang="0">
                  <a:pos x="3" y="14"/>
                </a:cxn>
                <a:cxn ang="0">
                  <a:pos x="5" y="15"/>
                </a:cxn>
                <a:cxn ang="0">
                  <a:pos x="5" y="19"/>
                </a:cxn>
                <a:cxn ang="0">
                  <a:pos x="4" y="24"/>
                </a:cxn>
                <a:cxn ang="0">
                  <a:pos x="3" y="28"/>
                </a:cxn>
                <a:cxn ang="0">
                  <a:pos x="5" y="28"/>
                </a:cxn>
                <a:cxn ang="0">
                  <a:pos x="9" y="27"/>
                </a:cxn>
                <a:cxn ang="0">
                  <a:pos x="11" y="28"/>
                </a:cxn>
                <a:cxn ang="0">
                  <a:pos x="12" y="25"/>
                </a:cxn>
                <a:cxn ang="0">
                  <a:pos x="16" y="25"/>
                </a:cxn>
                <a:cxn ang="0">
                  <a:pos x="16" y="22"/>
                </a:cxn>
                <a:cxn ang="0">
                  <a:pos x="20" y="19"/>
                </a:cxn>
                <a:cxn ang="0">
                  <a:pos x="21" y="22"/>
                </a:cxn>
                <a:cxn ang="0">
                  <a:pos x="23" y="24"/>
                </a:cxn>
                <a:cxn ang="0">
                  <a:pos x="25" y="30"/>
                </a:cxn>
                <a:cxn ang="0">
                  <a:pos x="29" y="28"/>
                </a:cxn>
                <a:cxn ang="0">
                  <a:pos x="31" y="26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39" y="27"/>
                </a:cxn>
                <a:cxn ang="0">
                  <a:pos x="41" y="25"/>
                </a:cxn>
                <a:cxn ang="0">
                  <a:pos x="40" y="21"/>
                </a:cxn>
                <a:cxn ang="0">
                  <a:pos x="40" y="18"/>
                </a:cxn>
                <a:cxn ang="0">
                  <a:pos x="36" y="18"/>
                </a:cxn>
                <a:cxn ang="0">
                  <a:pos x="35" y="15"/>
                </a:cxn>
                <a:cxn ang="0">
                  <a:pos x="34" y="12"/>
                </a:cxn>
                <a:cxn ang="0">
                  <a:pos x="30" y="12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8" y="11"/>
                </a:cxn>
                <a:cxn ang="0">
                  <a:pos x="11" y="9"/>
                </a:cxn>
                <a:cxn ang="0">
                  <a:pos x="12" y="7"/>
                </a:cxn>
                <a:cxn ang="0">
                  <a:pos x="17" y="7"/>
                </a:cxn>
                <a:cxn ang="0">
                  <a:pos x="18" y="8"/>
                </a:cxn>
                <a:cxn ang="0">
                  <a:pos x="20" y="6"/>
                </a:cxn>
              </a:cxnLst>
              <a:rect l="0" t="0" r="r" b="b"/>
              <a:pathLst>
                <a:path w="42" h="32">
                  <a:moveTo>
                    <a:pt x="20" y="6"/>
                  </a:moveTo>
                  <a:cubicBezTo>
                    <a:pt x="17" y="7"/>
                    <a:pt x="18" y="5"/>
                    <a:pt x="17" y="5"/>
                  </a:cubicBezTo>
                  <a:cubicBezTo>
                    <a:pt x="16" y="5"/>
                    <a:pt x="17" y="4"/>
                    <a:pt x="18" y="3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8" y="0"/>
                    <a:pt x="17" y="0"/>
                  </a:cubicBezTo>
                  <a:cubicBezTo>
                    <a:pt x="16" y="0"/>
                    <a:pt x="17" y="1"/>
                    <a:pt x="15" y="2"/>
                  </a:cubicBezTo>
                  <a:cubicBezTo>
                    <a:pt x="12" y="3"/>
                    <a:pt x="12" y="1"/>
                    <a:pt x="12" y="2"/>
                  </a:cubicBezTo>
                  <a:cubicBezTo>
                    <a:pt x="10" y="3"/>
                    <a:pt x="12" y="6"/>
                    <a:pt x="10" y="6"/>
                  </a:cubicBezTo>
                  <a:cubicBezTo>
                    <a:pt x="7" y="6"/>
                    <a:pt x="10" y="6"/>
                    <a:pt x="8" y="9"/>
                  </a:cubicBezTo>
                  <a:cubicBezTo>
                    <a:pt x="7" y="11"/>
                    <a:pt x="6" y="11"/>
                    <a:pt x="4" y="10"/>
                  </a:cubicBezTo>
                  <a:cubicBezTo>
                    <a:pt x="2" y="10"/>
                    <a:pt x="0" y="13"/>
                    <a:pt x="1" y="13"/>
                  </a:cubicBezTo>
                  <a:cubicBezTo>
                    <a:pt x="2" y="13"/>
                    <a:pt x="3" y="13"/>
                    <a:pt x="3" y="14"/>
                  </a:cubicBezTo>
                  <a:cubicBezTo>
                    <a:pt x="3" y="16"/>
                    <a:pt x="4" y="14"/>
                    <a:pt x="5" y="15"/>
                  </a:cubicBezTo>
                  <a:cubicBezTo>
                    <a:pt x="6" y="16"/>
                    <a:pt x="4" y="17"/>
                    <a:pt x="5" y="19"/>
                  </a:cubicBezTo>
                  <a:cubicBezTo>
                    <a:pt x="7" y="21"/>
                    <a:pt x="6" y="21"/>
                    <a:pt x="4" y="24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4" y="30"/>
                    <a:pt x="5" y="30"/>
                    <a:pt x="5" y="28"/>
                  </a:cubicBezTo>
                  <a:cubicBezTo>
                    <a:pt x="6" y="27"/>
                    <a:pt x="7" y="27"/>
                    <a:pt x="9" y="27"/>
                  </a:cubicBezTo>
                  <a:cubicBezTo>
                    <a:pt x="10" y="26"/>
                    <a:pt x="11" y="28"/>
                    <a:pt x="11" y="28"/>
                  </a:cubicBezTo>
                  <a:cubicBezTo>
                    <a:pt x="12" y="28"/>
                    <a:pt x="11" y="26"/>
                    <a:pt x="12" y="25"/>
                  </a:cubicBezTo>
                  <a:cubicBezTo>
                    <a:pt x="14" y="24"/>
                    <a:pt x="15" y="26"/>
                    <a:pt x="16" y="25"/>
                  </a:cubicBezTo>
                  <a:cubicBezTo>
                    <a:pt x="17" y="24"/>
                    <a:pt x="15" y="23"/>
                    <a:pt x="16" y="22"/>
                  </a:cubicBezTo>
                  <a:cubicBezTo>
                    <a:pt x="18" y="21"/>
                    <a:pt x="17" y="18"/>
                    <a:pt x="20" y="19"/>
                  </a:cubicBezTo>
                  <a:cubicBezTo>
                    <a:pt x="23" y="20"/>
                    <a:pt x="21" y="21"/>
                    <a:pt x="21" y="22"/>
                  </a:cubicBezTo>
                  <a:cubicBezTo>
                    <a:pt x="22" y="23"/>
                    <a:pt x="23" y="20"/>
                    <a:pt x="23" y="24"/>
                  </a:cubicBezTo>
                  <a:cubicBezTo>
                    <a:pt x="22" y="30"/>
                    <a:pt x="23" y="32"/>
                    <a:pt x="25" y="30"/>
                  </a:cubicBezTo>
                  <a:cubicBezTo>
                    <a:pt x="27" y="29"/>
                    <a:pt x="29" y="29"/>
                    <a:pt x="29" y="28"/>
                  </a:cubicBezTo>
                  <a:cubicBezTo>
                    <a:pt x="29" y="27"/>
                    <a:pt x="30" y="27"/>
                    <a:pt x="31" y="26"/>
                  </a:cubicBezTo>
                  <a:cubicBezTo>
                    <a:pt x="32" y="25"/>
                    <a:pt x="35" y="25"/>
                    <a:pt x="34" y="26"/>
                  </a:cubicBezTo>
                  <a:cubicBezTo>
                    <a:pt x="33" y="28"/>
                    <a:pt x="34" y="28"/>
                    <a:pt x="36" y="26"/>
                  </a:cubicBezTo>
                  <a:cubicBezTo>
                    <a:pt x="38" y="25"/>
                    <a:pt x="40" y="26"/>
                    <a:pt x="39" y="27"/>
                  </a:cubicBezTo>
                  <a:cubicBezTo>
                    <a:pt x="41" y="27"/>
                    <a:pt x="42" y="26"/>
                    <a:pt x="41" y="25"/>
                  </a:cubicBezTo>
                  <a:cubicBezTo>
                    <a:pt x="39" y="24"/>
                    <a:pt x="41" y="22"/>
                    <a:pt x="40" y="21"/>
                  </a:cubicBezTo>
                  <a:cubicBezTo>
                    <a:pt x="39" y="20"/>
                    <a:pt x="40" y="19"/>
                    <a:pt x="40" y="18"/>
                  </a:cubicBezTo>
                  <a:cubicBezTo>
                    <a:pt x="39" y="17"/>
                    <a:pt x="36" y="16"/>
                    <a:pt x="36" y="18"/>
                  </a:cubicBezTo>
                  <a:cubicBezTo>
                    <a:pt x="36" y="19"/>
                    <a:pt x="34" y="17"/>
                    <a:pt x="35" y="15"/>
                  </a:cubicBezTo>
                  <a:cubicBezTo>
                    <a:pt x="35" y="14"/>
                    <a:pt x="33" y="14"/>
                    <a:pt x="34" y="12"/>
                  </a:cubicBezTo>
                  <a:cubicBezTo>
                    <a:pt x="32" y="11"/>
                    <a:pt x="33" y="13"/>
                    <a:pt x="30" y="12"/>
                  </a:cubicBezTo>
                  <a:cubicBezTo>
                    <a:pt x="27" y="11"/>
                    <a:pt x="27" y="14"/>
                    <a:pt x="26" y="13"/>
                  </a:cubicBezTo>
                  <a:cubicBezTo>
                    <a:pt x="25" y="12"/>
                    <a:pt x="24" y="14"/>
                    <a:pt x="23" y="11"/>
                  </a:cubicBezTo>
                  <a:cubicBezTo>
                    <a:pt x="22" y="9"/>
                    <a:pt x="19" y="13"/>
                    <a:pt x="18" y="11"/>
                  </a:cubicBezTo>
                  <a:cubicBezTo>
                    <a:pt x="18" y="10"/>
                    <a:pt x="11" y="12"/>
                    <a:pt x="11" y="9"/>
                  </a:cubicBezTo>
                  <a:cubicBezTo>
                    <a:pt x="11" y="7"/>
                    <a:pt x="12" y="9"/>
                    <a:pt x="12" y="7"/>
                  </a:cubicBezTo>
                  <a:cubicBezTo>
                    <a:pt x="12" y="6"/>
                    <a:pt x="15" y="6"/>
                    <a:pt x="17" y="7"/>
                  </a:cubicBezTo>
                  <a:cubicBezTo>
                    <a:pt x="18" y="7"/>
                    <a:pt x="17" y="9"/>
                    <a:pt x="18" y="8"/>
                  </a:cubicBezTo>
                  <a:cubicBezTo>
                    <a:pt x="19" y="6"/>
                    <a:pt x="19" y="7"/>
                    <a:pt x="20" y="6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4" name="Freeform 20218">
              <a:extLst>
                <a:ext uri="{FF2B5EF4-FFF2-40B4-BE49-F238E27FC236}">
                  <a16:creationId xmlns:a16="http://schemas.microsoft.com/office/drawing/2014/main" id="{EFA7C26C-80F7-274A-BE06-92227F7AC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61" y="2523900"/>
              <a:ext cx="238528" cy="181281"/>
            </a:xfrm>
            <a:custGeom>
              <a:avLst/>
              <a:gdLst/>
              <a:ahLst/>
              <a:cxnLst>
                <a:cxn ang="0">
                  <a:pos x="46" y="32"/>
                </a:cxn>
                <a:cxn ang="0">
                  <a:pos x="41" y="37"/>
                </a:cxn>
                <a:cxn ang="0">
                  <a:pos x="39" y="38"/>
                </a:cxn>
                <a:cxn ang="0">
                  <a:pos x="35" y="38"/>
                </a:cxn>
                <a:cxn ang="0">
                  <a:pos x="31" y="37"/>
                </a:cxn>
                <a:cxn ang="0">
                  <a:pos x="26" y="36"/>
                </a:cxn>
                <a:cxn ang="0">
                  <a:pos x="21" y="35"/>
                </a:cxn>
                <a:cxn ang="0">
                  <a:pos x="11" y="34"/>
                </a:cxn>
                <a:cxn ang="0">
                  <a:pos x="6" y="36"/>
                </a:cxn>
                <a:cxn ang="0">
                  <a:pos x="4" y="37"/>
                </a:cxn>
                <a:cxn ang="0">
                  <a:pos x="2" y="32"/>
                </a:cxn>
                <a:cxn ang="0">
                  <a:pos x="5" y="29"/>
                </a:cxn>
                <a:cxn ang="0">
                  <a:pos x="4" y="18"/>
                </a:cxn>
                <a:cxn ang="0">
                  <a:pos x="11" y="17"/>
                </a:cxn>
                <a:cxn ang="0">
                  <a:pos x="15" y="16"/>
                </a:cxn>
                <a:cxn ang="0">
                  <a:pos x="15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5" y="3"/>
                </a:cxn>
                <a:cxn ang="0">
                  <a:pos x="28" y="1"/>
                </a:cxn>
                <a:cxn ang="0">
                  <a:pos x="32" y="2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2" y="6"/>
                </a:cxn>
                <a:cxn ang="0">
                  <a:pos x="42" y="10"/>
                </a:cxn>
                <a:cxn ang="0">
                  <a:pos x="43" y="14"/>
                </a:cxn>
                <a:cxn ang="0">
                  <a:pos x="47" y="18"/>
                </a:cxn>
                <a:cxn ang="0">
                  <a:pos x="50" y="21"/>
                </a:cxn>
                <a:cxn ang="0">
                  <a:pos x="51" y="23"/>
                </a:cxn>
                <a:cxn ang="0">
                  <a:pos x="46" y="24"/>
                </a:cxn>
                <a:cxn ang="0">
                  <a:pos x="45" y="26"/>
                </a:cxn>
                <a:cxn ang="0">
                  <a:pos x="46" y="32"/>
                </a:cxn>
              </a:cxnLst>
              <a:rect l="0" t="0" r="r" b="b"/>
              <a:pathLst>
                <a:path w="53" h="40">
                  <a:moveTo>
                    <a:pt x="46" y="32"/>
                  </a:moveTo>
                  <a:cubicBezTo>
                    <a:pt x="42" y="32"/>
                    <a:pt x="41" y="34"/>
                    <a:pt x="41" y="37"/>
                  </a:cubicBezTo>
                  <a:cubicBezTo>
                    <a:pt x="41" y="40"/>
                    <a:pt x="40" y="40"/>
                    <a:pt x="39" y="38"/>
                  </a:cubicBezTo>
                  <a:cubicBezTo>
                    <a:pt x="38" y="38"/>
                    <a:pt x="36" y="38"/>
                    <a:pt x="35" y="38"/>
                  </a:cubicBezTo>
                  <a:cubicBezTo>
                    <a:pt x="33" y="39"/>
                    <a:pt x="34" y="35"/>
                    <a:pt x="31" y="37"/>
                  </a:cubicBezTo>
                  <a:cubicBezTo>
                    <a:pt x="29" y="39"/>
                    <a:pt x="32" y="36"/>
                    <a:pt x="26" y="36"/>
                  </a:cubicBezTo>
                  <a:cubicBezTo>
                    <a:pt x="22" y="36"/>
                    <a:pt x="24" y="35"/>
                    <a:pt x="21" y="35"/>
                  </a:cubicBezTo>
                  <a:cubicBezTo>
                    <a:pt x="19" y="36"/>
                    <a:pt x="18" y="33"/>
                    <a:pt x="11" y="34"/>
                  </a:cubicBezTo>
                  <a:cubicBezTo>
                    <a:pt x="5" y="35"/>
                    <a:pt x="8" y="37"/>
                    <a:pt x="6" y="36"/>
                  </a:cubicBezTo>
                  <a:cubicBezTo>
                    <a:pt x="5" y="36"/>
                    <a:pt x="4" y="37"/>
                    <a:pt x="4" y="37"/>
                  </a:cubicBezTo>
                  <a:cubicBezTo>
                    <a:pt x="3" y="35"/>
                    <a:pt x="6" y="33"/>
                    <a:pt x="2" y="32"/>
                  </a:cubicBezTo>
                  <a:cubicBezTo>
                    <a:pt x="0" y="31"/>
                    <a:pt x="3" y="29"/>
                    <a:pt x="5" y="29"/>
                  </a:cubicBezTo>
                  <a:cubicBezTo>
                    <a:pt x="7" y="28"/>
                    <a:pt x="5" y="24"/>
                    <a:pt x="4" y="18"/>
                  </a:cubicBezTo>
                  <a:cubicBezTo>
                    <a:pt x="7" y="17"/>
                    <a:pt x="8" y="20"/>
                    <a:pt x="11" y="17"/>
                  </a:cubicBezTo>
                  <a:cubicBezTo>
                    <a:pt x="15" y="13"/>
                    <a:pt x="14" y="18"/>
                    <a:pt x="15" y="16"/>
                  </a:cubicBezTo>
                  <a:cubicBezTo>
                    <a:pt x="17" y="15"/>
                    <a:pt x="13" y="15"/>
                    <a:pt x="15" y="12"/>
                  </a:cubicBezTo>
                  <a:cubicBezTo>
                    <a:pt x="18" y="8"/>
                    <a:pt x="19" y="10"/>
                    <a:pt x="20" y="8"/>
                  </a:cubicBezTo>
                  <a:cubicBezTo>
                    <a:pt x="21" y="6"/>
                    <a:pt x="18" y="9"/>
                    <a:pt x="20" y="4"/>
                  </a:cubicBezTo>
                  <a:cubicBezTo>
                    <a:pt x="23" y="2"/>
                    <a:pt x="24" y="4"/>
                    <a:pt x="25" y="3"/>
                  </a:cubicBezTo>
                  <a:cubicBezTo>
                    <a:pt x="26" y="1"/>
                    <a:pt x="26" y="1"/>
                    <a:pt x="28" y="1"/>
                  </a:cubicBezTo>
                  <a:cubicBezTo>
                    <a:pt x="31" y="0"/>
                    <a:pt x="29" y="2"/>
                    <a:pt x="32" y="2"/>
                  </a:cubicBezTo>
                  <a:cubicBezTo>
                    <a:pt x="36" y="1"/>
                    <a:pt x="33" y="5"/>
                    <a:pt x="36" y="4"/>
                  </a:cubicBezTo>
                  <a:cubicBezTo>
                    <a:pt x="38" y="2"/>
                    <a:pt x="40" y="3"/>
                    <a:pt x="40" y="4"/>
                  </a:cubicBezTo>
                  <a:cubicBezTo>
                    <a:pt x="41" y="5"/>
                    <a:pt x="43" y="4"/>
                    <a:pt x="42" y="6"/>
                  </a:cubicBezTo>
                  <a:cubicBezTo>
                    <a:pt x="41" y="9"/>
                    <a:pt x="44" y="9"/>
                    <a:pt x="42" y="10"/>
                  </a:cubicBezTo>
                  <a:cubicBezTo>
                    <a:pt x="40" y="12"/>
                    <a:pt x="43" y="11"/>
                    <a:pt x="43" y="14"/>
                  </a:cubicBezTo>
                  <a:cubicBezTo>
                    <a:pt x="44" y="18"/>
                    <a:pt x="48" y="17"/>
                    <a:pt x="47" y="18"/>
                  </a:cubicBezTo>
                  <a:cubicBezTo>
                    <a:pt x="45" y="21"/>
                    <a:pt x="50" y="18"/>
                    <a:pt x="50" y="21"/>
                  </a:cubicBezTo>
                  <a:cubicBezTo>
                    <a:pt x="50" y="22"/>
                    <a:pt x="53" y="22"/>
                    <a:pt x="51" y="23"/>
                  </a:cubicBezTo>
                  <a:cubicBezTo>
                    <a:pt x="49" y="24"/>
                    <a:pt x="49" y="26"/>
                    <a:pt x="46" y="24"/>
                  </a:cubicBezTo>
                  <a:cubicBezTo>
                    <a:pt x="45" y="23"/>
                    <a:pt x="44" y="25"/>
                    <a:pt x="45" y="26"/>
                  </a:cubicBezTo>
                  <a:cubicBezTo>
                    <a:pt x="47" y="29"/>
                    <a:pt x="44" y="29"/>
                    <a:pt x="46" y="32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5" name="Freeform 20243">
              <a:extLst>
                <a:ext uri="{FF2B5EF4-FFF2-40B4-BE49-F238E27FC236}">
                  <a16:creationId xmlns:a16="http://schemas.microsoft.com/office/drawing/2014/main" id="{76458E09-24A6-7A4E-A8BB-52C215215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91790" y="2962792"/>
              <a:ext cx="162199" cy="85871"/>
            </a:xfrm>
            <a:custGeom>
              <a:avLst/>
              <a:gdLst/>
              <a:ahLst/>
              <a:cxnLst>
                <a:cxn ang="0">
                  <a:pos x="19" y="18"/>
                </a:cxn>
                <a:cxn ang="0">
                  <a:pos x="22" y="17"/>
                </a:cxn>
                <a:cxn ang="0">
                  <a:pos x="23" y="17"/>
                </a:cxn>
                <a:cxn ang="0">
                  <a:pos x="26" y="17"/>
                </a:cxn>
                <a:cxn ang="0">
                  <a:pos x="27" y="16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1" y="17"/>
                </a:cxn>
                <a:cxn ang="0">
                  <a:pos x="33" y="17"/>
                </a:cxn>
                <a:cxn ang="0">
                  <a:pos x="35" y="17"/>
                </a:cxn>
                <a:cxn ang="0">
                  <a:pos x="33" y="15"/>
                </a:cxn>
                <a:cxn ang="0">
                  <a:pos x="33" y="14"/>
                </a:cxn>
                <a:cxn ang="0">
                  <a:pos x="34" y="12"/>
                </a:cxn>
                <a:cxn ang="0">
                  <a:pos x="30" y="10"/>
                </a:cxn>
                <a:cxn ang="0">
                  <a:pos x="30" y="7"/>
                </a:cxn>
                <a:cxn ang="0">
                  <a:pos x="27" y="6"/>
                </a:cxn>
                <a:cxn ang="0">
                  <a:pos x="24" y="6"/>
                </a:cxn>
                <a:cxn ang="0">
                  <a:pos x="20" y="7"/>
                </a:cxn>
                <a:cxn ang="0">
                  <a:pos x="19" y="5"/>
                </a:cxn>
                <a:cxn ang="0">
                  <a:pos x="15" y="3"/>
                </a:cxn>
                <a:cxn ang="0">
                  <a:pos x="11" y="2"/>
                </a:cxn>
                <a:cxn ang="0">
                  <a:pos x="7" y="2"/>
                </a:cxn>
                <a:cxn ang="0">
                  <a:pos x="4" y="0"/>
                </a:cxn>
                <a:cxn ang="0">
                  <a:pos x="0" y="1"/>
                </a:cxn>
                <a:cxn ang="0">
                  <a:pos x="6" y="5"/>
                </a:cxn>
                <a:cxn ang="0">
                  <a:pos x="9" y="9"/>
                </a:cxn>
                <a:cxn ang="0">
                  <a:pos x="8" y="15"/>
                </a:cxn>
                <a:cxn ang="0">
                  <a:pos x="11" y="15"/>
                </a:cxn>
                <a:cxn ang="0">
                  <a:pos x="13" y="15"/>
                </a:cxn>
                <a:cxn ang="0">
                  <a:pos x="14" y="14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7" y="17"/>
                </a:cxn>
                <a:cxn ang="0">
                  <a:pos x="19" y="17"/>
                </a:cxn>
                <a:cxn ang="0">
                  <a:pos x="19" y="18"/>
                </a:cxn>
              </a:cxnLst>
              <a:rect l="0" t="0" r="r" b="b"/>
              <a:pathLst>
                <a:path w="36" h="19">
                  <a:moveTo>
                    <a:pt x="19" y="18"/>
                  </a:move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6" y="17"/>
                    <a:pt x="26" y="17"/>
                  </a:cubicBezTo>
                  <a:cubicBezTo>
                    <a:pt x="26" y="17"/>
                    <a:pt x="26" y="16"/>
                    <a:pt x="27" y="16"/>
                  </a:cubicBezTo>
                  <a:cubicBezTo>
                    <a:pt x="27" y="16"/>
                    <a:pt x="28" y="15"/>
                    <a:pt x="28" y="15"/>
                  </a:cubicBezTo>
                  <a:cubicBezTo>
                    <a:pt x="28" y="15"/>
                    <a:pt x="30" y="16"/>
                    <a:pt x="30" y="16"/>
                  </a:cubicBezTo>
                  <a:cubicBezTo>
                    <a:pt x="31" y="16"/>
                    <a:pt x="30" y="17"/>
                    <a:pt x="31" y="17"/>
                  </a:cubicBezTo>
                  <a:cubicBezTo>
                    <a:pt x="32" y="17"/>
                    <a:pt x="32" y="17"/>
                    <a:pt x="33" y="17"/>
                  </a:cubicBezTo>
                  <a:cubicBezTo>
                    <a:pt x="34" y="17"/>
                    <a:pt x="34" y="19"/>
                    <a:pt x="35" y="17"/>
                  </a:cubicBezTo>
                  <a:cubicBezTo>
                    <a:pt x="36" y="16"/>
                    <a:pt x="33" y="15"/>
                    <a:pt x="33" y="15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3"/>
                    <a:pt x="34" y="12"/>
                    <a:pt x="34" y="12"/>
                  </a:cubicBezTo>
                  <a:cubicBezTo>
                    <a:pt x="31" y="11"/>
                    <a:pt x="31" y="11"/>
                    <a:pt x="30" y="10"/>
                  </a:cubicBezTo>
                  <a:cubicBezTo>
                    <a:pt x="29" y="9"/>
                    <a:pt x="32" y="7"/>
                    <a:pt x="30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6" y="5"/>
                    <a:pt x="26" y="7"/>
                    <a:pt x="24" y="6"/>
                  </a:cubicBezTo>
                  <a:cubicBezTo>
                    <a:pt x="23" y="5"/>
                    <a:pt x="22" y="8"/>
                    <a:pt x="20" y="7"/>
                  </a:cubicBezTo>
                  <a:cubicBezTo>
                    <a:pt x="19" y="6"/>
                    <a:pt x="22" y="6"/>
                    <a:pt x="19" y="5"/>
                  </a:cubicBezTo>
                  <a:cubicBezTo>
                    <a:pt x="16" y="4"/>
                    <a:pt x="16" y="3"/>
                    <a:pt x="15" y="3"/>
                  </a:cubicBezTo>
                  <a:cubicBezTo>
                    <a:pt x="14" y="3"/>
                    <a:pt x="13" y="1"/>
                    <a:pt x="11" y="2"/>
                  </a:cubicBezTo>
                  <a:cubicBezTo>
                    <a:pt x="8" y="4"/>
                    <a:pt x="9" y="2"/>
                    <a:pt x="7" y="2"/>
                  </a:cubicBezTo>
                  <a:cubicBezTo>
                    <a:pt x="5" y="2"/>
                    <a:pt x="5" y="0"/>
                    <a:pt x="4" y="0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4" y="4"/>
                    <a:pt x="5" y="3"/>
                    <a:pt x="6" y="5"/>
                  </a:cubicBezTo>
                  <a:cubicBezTo>
                    <a:pt x="7" y="7"/>
                    <a:pt x="8" y="4"/>
                    <a:pt x="9" y="9"/>
                  </a:cubicBezTo>
                  <a:cubicBezTo>
                    <a:pt x="10" y="14"/>
                    <a:pt x="9" y="14"/>
                    <a:pt x="8" y="15"/>
                  </a:cubicBezTo>
                  <a:cubicBezTo>
                    <a:pt x="10" y="16"/>
                    <a:pt x="9" y="15"/>
                    <a:pt x="11" y="15"/>
                  </a:cubicBezTo>
                  <a:cubicBezTo>
                    <a:pt x="11" y="15"/>
                    <a:pt x="13" y="16"/>
                    <a:pt x="13" y="15"/>
                  </a:cubicBezTo>
                  <a:cubicBezTo>
                    <a:pt x="13" y="15"/>
                    <a:pt x="14" y="14"/>
                    <a:pt x="14" y="14"/>
                  </a:cubicBezTo>
                  <a:cubicBezTo>
                    <a:pt x="14" y="14"/>
                    <a:pt x="15" y="14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8"/>
                    <a:pt x="18" y="17"/>
                    <a:pt x="19" y="17"/>
                  </a:cubicBezTo>
                  <a:cubicBezTo>
                    <a:pt x="19" y="17"/>
                    <a:pt x="19" y="18"/>
                    <a:pt x="19" y="18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lvl="0"/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6" name="Freeform 20244">
              <a:extLst>
                <a:ext uri="{FF2B5EF4-FFF2-40B4-BE49-F238E27FC236}">
                  <a16:creationId xmlns:a16="http://schemas.microsoft.com/office/drawing/2014/main" id="{87587A85-39E7-F54D-B8B1-79ACAF55A0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36815" y="2541073"/>
              <a:ext cx="969379" cy="520946"/>
            </a:xfrm>
            <a:custGeom>
              <a:avLst/>
              <a:gdLst/>
              <a:ahLst/>
              <a:cxnLst>
                <a:cxn ang="0">
                  <a:pos x="129" y="103"/>
                </a:cxn>
                <a:cxn ang="0">
                  <a:pos x="127" y="104"/>
                </a:cxn>
                <a:cxn ang="0">
                  <a:pos x="121" y="108"/>
                </a:cxn>
                <a:cxn ang="0">
                  <a:pos x="117" y="113"/>
                </a:cxn>
                <a:cxn ang="0">
                  <a:pos x="114" y="113"/>
                </a:cxn>
                <a:cxn ang="0">
                  <a:pos x="114" y="111"/>
                </a:cxn>
                <a:cxn ang="0">
                  <a:pos x="107" y="108"/>
                </a:cxn>
                <a:cxn ang="0">
                  <a:pos x="104" y="104"/>
                </a:cxn>
                <a:cxn ang="0">
                  <a:pos x="104" y="98"/>
                </a:cxn>
                <a:cxn ang="0">
                  <a:pos x="97" y="92"/>
                </a:cxn>
                <a:cxn ang="0">
                  <a:pos x="81" y="92"/>
                </a:cxn>
                <a:cxn ang="0">
                  <a:pos x="79" y="87"/>
                </a:cxn>
                <a:cxn ang="0">
                  <a:pos x="80" y="80"/>
                </a:cxn>
                <a:cxn ang="0">
                  <a:pos x="80" y="73"/>
                </a:cxn>
                <a:cxn ang="0">
                  <a:pos x="79" y="70"/>
                </a:cxn>
                <a:cxn ang="0">
                  <a:pos x="73" y="70"/>
                </a:cxn>
                <a:cxn ang="0">
                  <a:pos x="70" y="73"/>
                </a:cxn>
                <a:cxn ang="0">
                  <a:pos x="65" y="78"/>
                </a:cxn>
                <a:cxn ang="0">
                  <a:pos x="52" y="85"/>
                </a:cxn>
                <a:cxn ang="0">
                  <a:pos x="49" y="109"/>
                </a:cxn>
                <a:cxn ang="0">
                  <a:pos x="41" y="102"/>
                </a:cxn>
                <a:cxn ang="0">
                  <a:pos x="33" y="106"/>
                </a:cxn>
                <a:cxn ang="0">
                  <a:pos x="30" y="97"/>
                </a:cxn>
                <a:cxn ang="0">
                  <a:pos x="24" y="88"/>
                </a:cxn>
                <a:cxn ang="0">
                  <a:pos x="28" y="86"/>
                </a:cxn>
                <a:cxn ang="0">
                  <a:pos x="28" y="80"/>
                </a:cxn>
                <a:cxn ang="0">
                  <a:pos x="36" y="79"/>
                </a:cxn>
                <a:cxn ang="0">
                  <a:pos x="37" y="69"/>
                </a:cxn>
                <a:cxn ang="0">
                  <a:pos x="29" y="68"/>
                </a:cxn>
                <a:cxn ang="0">
                  <a:pos x="16" y="72"/>
                </a:cxn>
                <a:cxn ang="0">
                  <a:pos x="15" y="72"/>
                </a:cxn>
                <a:cxn ang="0">
                  <a:pos x="7" y="62"/>
                </a:cxn>
                <a:cxn ang="0">
                  <a:pos x="4" y="49"/>
                </a:cxn>
                <a:cxn ang="0">
                  <a:pos x="14" y="42"/>
                </a:cxn>
                <a:cxn ang="0">
                  <a:pos x="30" y="32"/>
                </a:cxn>
                <a:cxn ang="0">
                  <a:pos x="52" y="40"/>
                </a:cxn>
                <a:cxn ang="0">
                  <a:pos x="67" y="39"/>
                </a:cxn>
                <a:cxn ang="0">
                  <a:pos x="78" y="33"/>
                </a:cxn>
                <a:cxn ang="0">
                  <a:pos x="82" y="20"/>
                </a:cxn>
                <a:cxn ang="0">
                  <a:pos x="112" y="6"/>
                </a:cxn>
                <a:cxn ang="0">
                  <a:pos x="130" y="7"/>
                </a:cxn>
                <a:cxn ang="0">
                  <a:pos x="143" y="15"/>
                </a:cxn>
                <a:cxn ang="0">
                  <a:pos x="159" y="13"/>
                </a:cxn>
                <a:cxn ang="0">
                  <a:pos x="183" y="36"/>
                </a:cxn>
                <a:cxn ang="0">
                  <a:pos x="211" y="47"/>
                </a:cxn>
                <a:cxn ang="0">
                  <a:pos x="210" y="56"/>
                </a:cxn>
                <a:cxn ang="0">
                  <a:pos x="203" y="68"/>
                </a:cxn>
                <a:cxn ang="0">
                  <a:pos x="192" y="67"/>
                </a:cxn>
                <a:cxn ang="0">
                  <a:pos x="191" y="80"/>
                </a:cxn>
                <a:cxn ang="0">
                  <a:pos x="178" y="82"/>
                </a:cxn>
                <a:cxn ang="0">
                  <a:pos x="180" y="96"/>
                </a:cxn>
                <a:cxn ang="0">
                  <a:pos x="178" y="103"/>
                </a:cxn>
                <a:cxn ang="0">
                  <a:pos x="162" y="98"/>
                </a:cxn>
                <a:cxn ang="0">
                  <a:pos x="145" y="96"/>
                </a:cxn>
                <a:cxn ang="0">
                  <a:pos x="133" y="98"/>
                </a:cxn>
              </a:cxnLst>
              <a:rect l="0" t="0" r="r" b="b"/>
              <a:pathLst>
                <a:path w="215" h="115">
                  <a:moveTo>
                    <a:pt x="130" y="102"/>
                  </a:moveTo>
                  <a:cubicBezTo>
                    <a:pt x="129" y="103"/>
                    <a:pt x="129" y="103"/>
                    <a:pt x="129" y="103"/>
                  </a:cubicBezTo>
                  <a:cubicBezTo>
                    <a:pt x="128" y="103"/>
                    <a:pt x="129" y="104"/>
                    <a:pt x="128" y="104"/>
                  </a:cubicBezTo>
                  <a:cubicBezTo>
                    <a:pt x="127" y="104"/>
                    <a:pt x="128" y="103"/>
                    <a:pt x="127" y="104"/>
                  </a:cubicBezTo>
                  <a:cubicBezTo>
                    <a:pt x="125" y="105"/>
                    <a:pt x="124" y="106"/>
                    <a:pt x="123" y="107"/>
                  </a:cubicBezTo>
                  <a:cubicBezTo>
                    <a:pt x="122" y="108"/>
                    <a:pt x="122" y="108"/>
                    <a:pt x="121" y="108"/>
                  </a:cubicBezTo>
                  <a:cubicBezTo>
                    <a:pt x="119" y="109"/>
                    <a:pt x="120" y="110"/>
                    <a:pt x="119" y="110"/>
                  </a:cubicBezTo>
                  <a:cubicBezTo>
                    <a:pt x="118" y="111"/>
                    <a:pt x="117" y="112"/>
                    <a:pt x="117" y="113"/>
                  </a:cubicBezTo>
                  <a:cubicBezTo>
                    <a:pt x="118" y="114"/>
                    <a:pt x="117" y="115"/>
                    <a:pt x="116" y="114"/>
                  </a:cubicBezTo>
                  <a:cubicBezTo>
                    <a:pt x="116" y="114"/>
                    <a:pt x="114" y="113"/>
                    <a:pt x="114" y="113"/>
                  </a:cubicBezTo>
                  <a:cubicBezTo>
                    <a:pt x="114" y="113"/>
                    <a:pt x="115" y="111"/>
                    <a:pt x="115" y="111"/>
                  </a:cubicBezTo>
                  <a:cubicBezTo>
                    <a:pt x="115" y="111"/>
                    <a:pt x="115" y="112"/>
                    <a:pt x="114" y="111"/>
                  </a:cubicBezTo>
                  <a:cubicBezTo>
                    <a:pt x="114" y="110"/>
                    <a:pt x="114" y="110"/>
                    <a:pt x="110" y="110"/>
                  </a:cubicBezTo>
                  <a:cubicBezTo>
                    <a:pt x="107" y="111"/>
                    <a:pt x="107" y="110"/>
                    <a:pt x="107" y="108"/>
                  </a:cubicBezTo>
                  <a:cubicBezTo>
                    <a:pt x="107" y="106"/>
                    <a:pt x="107" y="104"/>
                    <a:pt x="106" y="104"/>
                  </a:cubicBezTo>
                  <a:cubicBezTo>
                    <a:pt x="106" y="104"/>
                    <a:pt x="104" y="104"/>
                    <a:pt x="104" y="104"/>
                  </a:cubicBezTo>
                  <a:cubicBezTo>
                    <a:pt x="104" y="104"/>
                    <a:pt x="104" y="103"/>
                    <a:pt x="104" y="101"/>
                  </a:cubicBezTo>
                  <a:cubicBezTo>
                    <a:pt x="105" y="98"/>
                    <a:pt x="105" y="96"/>
                    <a:pt x="104" y="98"/>
                  </a:cubicBezTo>
                  <a:cubicBezTo>
                    <a:pt x="102" y="99"/>
                    <a:pt x="103" y="95"/>
                    <a:pt x="101" y="94"/>
                  </a:cubicBezTo>
                  <a:cubicBezTo>
                    <a:pt x="99" y="93"/>
                    <a:pt x="99" y="91"/>
                    <a:pt x="97" y="92"/>
                  </a:cubicBezTo>
                  <a:cubicBezTo>
                    <a:pt x="94" y="94"/>
                    <a:pt x="92" y="92"/>
                    <a:pt x="87" y="93"/>
                  </a:cubicBezTo>
                  <a:cubicBezTo>
                    <a:pt x="83" y="94"/>
                    <a:pt x="83" y="94"/>
                    <a:pt x="81" y="92"/>
                  </a:cubicBezTo>
                  <a:cubicBezTo>
                    <a:pt x="80" y="90"/>
                    <a:pt x="79" y="89"/>
                    <a:pt x="79" y="88"/>
                  </a:cubicBezTo>
                  <a:cubicBezTo>
                    <a:pt x="78" y="88"/>
                    <a:pt x="79" y="87"/>
                    <a:pt x="79" y="87"/>
                  </a:cubicBezTo>
                  <a:cubicBezTo>
                    <a:pt x="78" y="84"/>
                    <a:pt x="79" y="87"/>
                    <a:pt x="83" y="82"/>
                  </a:cubicBezTo>
                  <a:cubicBezTo>
                    <a:pt x="82" y="79"/>
                    <a:pt x="80" y="83"/>
                    <a:pt x="80" y="80"/>
                  </a:cubicBezTo>
                  <a:cubicBezTo>
                    <a:pt x="80" y="77"/>
                    <a:pt x="79" y="78"/>
                    <a:pt x="78" y="75"/>
                  </a:cubicBezTo>
                  <a:cubicBezTo>
                    <a:pt x="77" y="72"/>
                    <a:pt x="80" y="75"/>
                    <a:pt x="80" y="73"/>
                  </a:cubicBezTo>
                  <a:cubicBezTo>
                    <a:pt x="80" y="71"/>
                    <a:pt x="81" y="73"/>
                    <a:pt x="81" y="69"/>
                  </a:cubicBezTo>
                  <a:cubicBezTo>
                    <a:pt x="81" y="68"/>
                    <a:pt x="79" y="69"/>
                    <a:pt x="79" y="70"/>
                  </a:cubicBezTo>
                  <a:cubicBezTo>
                    <a:pt x="78" y="72"/>
                    <a:pt x="76" y="72"/>
                    <a:pt x="77" y="70"/>
                  </a:cubicBezTo>
                  <a:cubicBezTo>
                    <a:pt x="78" y="68"/>
                    <a:pt x="76" y="69"/>
                    <a:pt x="73" y="70"/>
                  </a:cubicBezTo>
                  <a:cubicBezTo>
                    <a:pt x="70" y="72"/>
                    <a:pt x="74" y="71"/>
                    <a:pt x="73" y="73"/>
                  </a:cubicBezTo>
                  <a:cubicBezTo>
                    <a:pt x="72" y="75"/>
                    <a:pt x="71" y="72"/>
                    <a:pt x="70" y="73"/>
                  </a:cubicBezTo>
                  <a:cubicBezTo>
                    <a:pt x="69" y="73"/>
                    <a:pt x="71" y="74"/>
                    <a:pt x="70" y="75"/>
                  </a:cubicBezTo>
                  <a:cubicBezTo>
                    <a:pt x="68" y="76"/>
                    <a:pt x="67" y="73"/>
                    <a:pt x="65" y="78"/>
                  </a:cubicBezTo>
                  <a:cubicBezTo>
                    <a:pt x="64" y="78"/>
                    <a:pt x="55" y="81"/>
                    <a:pt x="53" y="82"/>
                  </a:cubicBezTo>
                  <a:cubicBezTo>
                    <a:pt x="51" y="82"/>
                    <a:pt x="52" y="82"/>
                    <a:pt x="52" y="85"/>
                  </a:cubicBezTo>
                  <a:cubicBezTo>
                    <a:pt x="52" y="87"/>
                    <a:pt x="52" y="109"/>
                    <a:pt x="52" y="109"/>
                  </a:cubicBezTo>
                  <a:cubicBezTo>
                    <a:pt x="50" y="109"/>
                    <a:pt x="49" y="110"/>
                    <a:pt x="49" y="109"/>
                  </a:cubicBezTo>
                  <a:cubicBezTo>
                    <a:pt x="46" y="105"/>
                    <a:pt x="47" y="105"/>
                    <a:pt x="45" y="104"/>
                  </a:cubicBezTo>
                  <a:cubicBezTo>
                    <a:pt x="44" y="103"/>
                    <a:pt x="43" y="101"/>
                    <a:pt x="41" y="102"/>
                  </a:cubicBezTo>
                  <a:cubicBezTo>
                    <a:pt x="39" y="102"/>
                    <a:pt x="37" y="103"/>
                    <a:pt x="36" y="104"/>
                  </a:cubicBezTo>
                  <a:cubicBezTo>
                    <a:pt x="34" y="105"/>
                    <a:pt x="33" y="106"/>
                    <a:pt x="33" y="106"/>
                  </a:cubicBezTo>
                  <a:cubicBezTo>
                    <a:pt x="32" y="101"/>
                    <a:pt x="37" y="101"/>
                    <a:pt x="34" y="99"/>
                  </a:cubicBezTo>
                  <a:cubicBezTo>
                    <a:pt x="32" y="96"/>
                    <a:pt x="31" y="99"/>
                    <a:pt x="30" y="97"/>
                  </a:cubicBezTo>
                  <a:cubicBezTo>
                    <a:pt x="29" y="95"/>
                    <a:pt x="27" y="97"/>
                    <a:pt x="27" y="95"/>
                  </a:cubicBezTo>
                  <a:cubicBezTo>
                    <a:pt x="27" y="95"/>
                    <a:pt x="26" y="88"/>
                    <a:pt x="24" y="88"/>
                  </a:cubicBezTo>
                  <a:cubicBezTo>
                    <a:pt x="21" y="88"/>
                    <a:pt x="20" y="86"/>
                    <a:pt x="23" y="85"/>
                  </a:cubicBezTo>
                  <a:cubicBezTo>
                    <a:pt x="27" y="85"/>
                    <a:pt x="24" y="87"/>
                    <a:pt x="28" y="86"/>
                  </a:cubicBezTo>
                  <a:cubicBezTo>
                    <a:pt x="31" y="86"/>
                    <a:pt x="23" y="83"/>
                    <a:pt x="26" y="82"/>
                  </a:cubicBezTo>
                  <a:cubicBezTo>
                    <a:pt x="29" y="81"/>
                    <a:pt x="26" y="81"/>
                    <a:pt x="28" y="80"/>
                  </a:cubicBezTo>
                  <a:cubicBezTo>
                    <a:pt x="30" y="78"/>
                    <a:pt x="29" y="80"/>
                    <a:pt x="32" y="80"/>
                  </a:cubicBezTo>
                  <a:cubicBezTo>
                    <a:pt x="34" y="79"/>
                    <a:pt x="39" y="81"/>
                    <a:pt x="36" y="79"/>
                  </a:cubicBezTo>
                  <a:cubicBezTo>
                    <a:pt x="34" y="77"/>
                    <a:pt x="38" y="74"/>
                    <a:pt x="37" y="72"/>
                  </a:cubicBezTo>
                  <a:cubicBezTo>
                    <a:pt x="36" y="71"/>
                    <a:pt x="37" y="70"/>
                    <a:pt x="37" y="69"/>
                  </a:cubicBezTo>
                  <a:cubicBezTo>
                    <a:pt x="36" y="68"/>
                    <a:pt x="34" y="67"/>
                    <a:pt x="33" y="68"/>
                  </a:cubicBezTo>
                  <a:cubicBezTo>
                    <a:pt x="32" y="70"/>
                    <a:pt x="32" y="69"/>
                    <a:pt x="29" y="68"/>
                  </a:cubicBezTo>
                  <a:cubicBezTo>
                    <a:pt x="27" y="66"/>
                    <a:pt x="25" y="67"/>
                    <a:pt x="21" y="70"/>
                  </a:cubicBezTo>
                  <a:cubicBezTo>
                    <a:pt x="18" y="73"/>
                    <a:pt x="18" y="70"/>
                    <a:pt x="16" y="72"/>
                  </a:cubicBezTo>
                  <a:cubicBezTo>
                    <a:pt x="15" y="75"/>
                    <a:pt x="14" y="74"/>
                    <a:pt x="14" y="75"/>
                  </a:cubicBezTo>
                  <a:cubicBezTo>
                    <a:pt x="14" y="74"/>
                    <a:pt x="14" y="75"/>
                    <a:pt x="15" y="72"/>
                  </a:cubicBezTo>
                  <a:cubicBezTo>
                    <a:pt x="10" y="69"/>
                    <a:pt x="18" y="71"/>
                    <a:pt x="13" y="66"/>
                  </a:cubicBezTo>
                  <a:cubicBezTo>
                    <a:pt x="9" y="61"/>
                    <a:pt x="9" y="61"/>
                    <a:pt x="7" y="62"/>
                  </a:cubicBezTo>
                  <a:cubicBezTo>
                    <a:pt x="5" y="62"/>
                    <a:pt x="7" y="59"/>
                    <a:pt x="4" y="57"/>
                  </a:cubicBezTo>
                  <a:cubicBezTo>
                    <a:pt x="0" y="56"/>
                    <a:pt x="6" y="52"/>
                    <a:pt x="4" y="49"/>
                  </a:cubicBezTo>
                  <a:cubicBezTo>
                    <a:pt x="2" y="47"/>
                    <a:pt x="7" y="40"/>
                    <a:pt x="9" y="42"/>
                  </a:cubicBezTo>
                  <a:cubicBezTo>
                    <a:pt x="13" y="48"/>
                    <a:pt x="14" y="46"/>
                    <a:pt x="14" y="42"/>
                  </a:cubicBezTo>
                  <a:cubicBezTo>
                    <a:pt x="14" y="38"/>
                    <a:pt x="21" y="36"/>
                    <a:pt x="24" y="33"/>
                  </a:cubicBezTo>
                  <a:cubicBezTo>
                    <a:pt x="26" y="29"/>
                    <a:pt x="27" y="35"/>
                    <a:pt x="30" y="32"/>
                  </a:cubicBezTo>
                  <a:cubicBezTo>
                    <a:pt x="34" y="30"/>
                    <a:pt x="33" y="33"/>
                    <a:pt x="38" y="34"/>
                  </a:cubicBezTo>
                  <a:cubicBezTo>
                    <a:pt x="43" y="34"/>
                    <a:pt x="48" y="43"/>
                    <a:pt x="52" y="40"/>
                  </a:cubicBezTo>
                  <a:cubicBezTo>
                    <a:pt x="54" y="37"/>
                    <a:pt x="55" y="35"/>
                    <a:pt x="58" y="37"/>
                  </a:cubicBezTo>
                  <a:cubicBezTo>
                    <a:pt x="61" y="39"/>
                    <a:pt x="61" y="34"/>
                    <a:pt x="67" y="39"/>
                  </a:cubicBezTo>
                  <a:cubicBezTo>
                    <a:pt x="73" y="43"/>
                    <a:pt x="70" y="36"/>
                    <a:pt x="74" y="39"/>
                  </a:cubicBezTo>
                  <a:cubicBezTo>
                    <a:pt x="79" y="42"/>
                    <a:pt x="84" y="35"/>
                    <a:pt x="78" y="33"/>
                  </a:cubicBezTo>
                  <a:cubicBezTo>
                    <a:pt x="67" y="28"/>
                    <a:pt x="81" y="29"/>
                    <a:pt x="77" y="25"/>
                  </a:cubicBezTo>
                  <a:cubicBezTo>
                    <a:pt x="73" y="22"/>
                    <a:pt x="87" y="22"/>
                    <a:pt x="82" y="20"/>
                  </a:cubicBezTo>
                  <a:cubicBezTo>
                    <a:pt x="77" y="18"/>
                    <a:pt x="75" y="13"/>
                    <a:pt x="81" y="13"/>
                  </a:cubicBezTo>
                  <a:cubicBezTo>
                    <a:pt x="87" y="13"/>
                    <a:pt x="107" y="9"/>
                    <a:pt x="112" y="6"/>
                  </a:cubicBezTo>
                  <a:cubicBezTo>
                    <a:pt x="118" y="4"/>
                    <a:pt x="119" y="0"/>
                    <a:pt x="123" y="3"/>
                  </a:cubicBezTo>
                  <a:cubicBezTo>
                    <a:pt x="126" y="5"/>
                    <a:pt x="128" y="0"/>
                    <a:pt x="130" y="7"/>
                  </a:cubicBezTo>
                  <a:cubicBezTo>
                    <a:pt x="132" y="15"/>
                    <a:pt x="135" y="10"/>
                    <a:pt x="139" y="12"/>
                  </a:cubicBezTo>
                  <a:cubicBezTo>
                    <a:pt x="143" y="14"/>
                    <a:pt x="146" y="12"/>
                    <a:pt x="143" y="15"/>
                  </a:cubicBezTo>
                  <a:cubicBezTo>
                    <a:pt x="140" y="18"/>
                    <a:pt x="146" y="18"/>
                    <a:pt x="154" y="13"/>
                  </a:cubicBezTo>
                  <a:cubicBezTo>
                    <a:pt x="162" y="7"/>
                    <a:pt x="161" y="11"/>
                    <a:pt x="159" y="13"/>
                  </a:cubicBezTo>
                  <a:cubicBezTo>
                    <a:pt x="157" y="15"/>
                    <a:pt x="165" y="16"/>
                    <a:pt x="172" y="29"/>
                  </a:cubicBezTo>
                  <a:cubicBezTo>
                    <a:pt x="181" y="48"/>
                    <a:pt x="177" y="31"/>
                    <a:pt x="183" y="36"/>
                  </a:cubicBezTo>
                  <a:cubicBezTo>
                    <a:pt x="190" y="42"/>
                    <a:pt x="193" y="34"/>
                    <a:pt x="199" y="40"/>
                  </a:cubicBezTo>
                  <a:cubicBezTo>
                    <a:pt x="204" y="47"/>
                    <a:pt x="206" y="51"/>
                    <a:pt x="211" y="47"/>
                  </a:cubicBezTo>
                  <a:cubicBezTo>
                    <a:pt x="215" y="44"/>
                    <a:pt x="210" y="48"/>
                    <a:pt x="215" y="52"/>
                  </a:cubicBezTo>
                  <a:cubicBezTo>
                    <a:pt x="209" y="51"/>
                    <a:pt x="215" y="55"/>
                    <a:pt x="210" y="56"/>
                  </a:cubicBezTo>
                  <a:cubicBezTo>
                    <a:pt x="204" y="58"/>
                    <a:pt x="205" y="62"/>
                    <a:pt x="206" y="64"/>
                  </a:cubicBezTo>
                  <a:cubicBezTo>
                    <a:pt x="207" y="66"/>
                    <a:pt x="206" y="67"/>
                    <a:pt x="203" y="68"/>
                  </a:cubicBezTo>
                  <a:cubicBezTo>
                    <a:pt x="201" y="69"/>
                    <a:pt x="202" y="67"/>
                    <a:pt x="199" y="68"/>
                  </a:cubicBezTo>
                  <a:cubicBezTo>
                    <a:pt x="196" y="68"/>
                    <a:pt x="193" y="64"/>
                    <a:pt x="192" y="67"/>
                  </a:cubicBezTo>
                  <a:cubicBezTo>
                    <a:pt x="192" y="69"/>
                    <a:pt x="191" y="75"/>
                    <a:pt x="189" y="77"/>
                  </a:cubicBezTo>
                  <a:cubicBezTo>
                    <a:pt x="188" y="79"/>
                    <a:pt x="191" y="78"/>
                    <a:pt x="191" y="80"/>
                  </a:cubicBezTo>
                  <a:cubicBezTo>
                    <a:pt x="190" y="82"/>
                    <a:pt x="188" y="81"/>
                    <a:pt x="186" y="80"/>
                  </a:cubicBezTo>
                  <a:cubicBezTo>
                    <a:pt x="185" y="80"/>
                    <a:pt x="181" y="81"/>
                    <a:pt x="178" y="82"/>
                  </a:cubicBezTo>
                  <a:cubicBezTo>
                    <a:pt x="173" y="83"/>
                    <a:pt x="180" y="83"/>
                    <a:pt x="179" y="85"/>
                  </a:cubicBezTo>
                  <a:cubicBezTo>
                    <a:pt x="178" y="87"/>
                    <a:pt x="183" y="95"/>
                    <a:pt x="180" y="96"/>
                  </a:cubicBezTo>
                  <a:cubicBezTo>
                    <a:pt x="178" y="97"/>
                    <a:pt x="181" y="98"/>
                    <a:pt x="179" y="98"/>
                  </a:cubicBezTo>
                  <a:cubicBezTo>
                    <a:pt x="177" y="99"/>
                    <a:pt x="179" y="102"/>
                    <a:pt x="178" y="103"/>
                  </a:cubicBezTo>
                  <a:cubicBezTo>
                    <a:pt x="176" y="100"/>
                    <a:pt x="174" y="102"/>
                    <a:pt x="173" y="100"/>
                  </a:cubicBezTo>
                  <a:cubicBezTo>
                    <a:pt x="173" y="98"/>
                    <a:pt x="169" y="98"/>
                    <a:pt x="162" y="98"/>
                  </a:cubicBezTo>
                  <a:cubicBezTo>
                    <a:pt x="154" y="97"/>
                    <a:pt x="154" y="99"/>
                    <a:pt x="152" y="98"/>
                  </a:cubicBezTo>
                  <a:cubicBezTo>
                    <a:pt x="151" y="97"/>
                    <a:pt x="148" y="95"/>
                    <a:pt x="145" y="96"/>
                  </a:cubicBezTo>
                  <a:cubicBezTo>
                    <a:pt x="141" y="97"/>
                    <a:pt x="144" y="102"/>
                    <a:pt x="142" y="101"/>
                  </a:cubicBezTo>
                  <a:cubicBezTo>
                    <a:pt x="140" y="100"/>
                    <a:pt x="136" y="98"/>
                    <a:pt x="133" y="98"/>
                  </a:cubicBezTo>
                  <a:cubicBezTo>
                    <a:pt x="130" y="99"/>
                    <a:pt x="130" y="101"/>
                    <a:pt x="130" y="102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sp>
          <p:nvSpPr>
            <p:cNvPr id="207" name="Freeform 20270">
              <a:extLst>
                <a:ext uri="{FF2B5EF4-FFF2-40B4-BE49-F238E27FC236}">
                  <a16:creationId xmlns:a16="http://schemas.microsoft.com/office/drawing/2014/main" id="{21B5F0A8-16BA-7A4F-B324-0F5FACDBD3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12827" y="1434301"/>
              <a:ext cx="4026361" cy="1608636"/>
            </a:xfrm>
            <a:custGeom>
              <a:avLst/>
              <a:gdLst/>
              <a:ahLst/>
              <a:cxnLst>
                <a:cxn ang="0">
                  <a:pos x="752" y="210"/>
                </a:cxn>
                <a:cxn ang="0">
                  <a:pos x="736" y="212"/>
                </a:cxn>
                <a:cxn ang="0">
                  <a:pos x="665" y="215"/>
                </a:cxn>
                <a:cxn ang="0">
                  <a:pos x="628" y="258"/>
                </a:cxn>
                <a:cxn ang="0">
                  <a:pos x="591" y="344"/>
                </a:cxn>
                <a:cxn ang="0">
                  <a:pos x="590" y="327"/>
                </a:cxn>
                <a:cxn ang="0">
                  <a:pos x="524" y="270"/>
                </a:cxn>
                <a:cxn ang="0">
                  <a:pos x="409" y="279"/>
                </a:cxn>
                <a:cxn ang="0">
                  <a:pos x="310" y="274"/>
                </a:cxn>
                <a:cxn ang="0">
                  <a:pos x="216" y="278"/>
                </a:cxn>
                <a:cxn ang="0">
                  <a:pos x="142" y="302"/>
                </a:cxn>
                <a:cxn ang="0">
                  <a:pos x="144" y="353"/>
                </a:cxn>
                <a:cxn ang="0">
                  <a:pos x="113" y="340"/>
                </a:cxn>
                <a:cxn ang="0">
                  <a:pos x="97" y="317"/>
                </a:cxn>
                <a:cxn ang="0">
                  <a:pos x="107" y="293"/>
                </a:cxn>
                <a:cxn ang="0">
                  <a:pos x="71" y="272"/>
                </a:cxn>
                <a:cxn ang="0">
                  <a:pos x="57" y="245"/>
                </a:cxn>
                <a:cxn ang="0">
                  <a:pos x="44" y="214"/>
                </a:cxn>
                <a:cxn ang="0">
                  <a:pos x="52" y="197"/>
                </a:cxn>
                <a:cxn ang="0">
                  <a:pos x="55" y="161"/>
                </a:cxn>
                <a:cxn ang="0">
                  <a:pos x="59" y="123"/>
                </a:cxn>
                <a:cxn ang="0">
                  <a:pos x="94" y="177"/>
                </a:cxn>
                <a:cxn ang="0">
                  <a:pos x="140" y="150"/>
                </a:cxn>
                <a:cxn ang="0">
                  <a:pos x="250" y="109"/>
                </a:cxn>
                <a:cxn ang="0">
                  <a:pos x="300" y="140"/>
                </a:cxn>
                <a:cxn ang="0">
                  <a:pos x="311" y="99"/>
                </a:cxn>
                <a:cxn ang="0">
                  <a:pos x="374" y="67"/>
                </a:cxn>
                <a:cxn ang="0">
                  <a:pos x="482" y="75"/>
                </a:cxn>
                <a:cxn ang="0">
                  <a:pos x="592" y="106"/>
                </a:cxn>
                <a:cxn ang="0">
                  <a:pos x="777" y="129"/>
                </a:cxn>
                <a:cxn ang="0">
                  <a:pos x="204" y="118"/>
                </a:cxn>
                <a:cxn ang="0">
                  <a:pos x="173" y="94"/>
                </a:cxn>
                <a:cxn ang="0">
                  <a:pos x="200" y="84"/>
                </a:cxn>
                <a:cxn ang="0">
                  <a:pos x="194" y="70"/>
                </a:cxn>
                <a:cxn ang="0">
                  <a:pos x="149" y="14"/>
                </a:cxn>
                <a:cxn ang="0">
                  <a:pos x="163" y="13"/>
                </a:cxn>
                <a:cxn ang="0">
                  <a:pos x="163" y="9"/>
                </a:cxn>
                <a:cxn ang="0">
                  <a:pos x="208" y="2"/>
                </a:cxn>
                <a:cxn ang="0">
                  <a:pos x="159" y="20"/>
                </a:cxn>
                <a:cxn ang="0">
                  <a:pos x="204" y="18"/>
                </a:cxn>
                <a:cxn ang="0">
                  <a:pos x="195" y="5"/>
                </a:cxn>
                <a:cxn ang="0">
                  <a:pos x="205" y="13"/>
                </a:cxn>
                <a:cxn ang="0">
                  <a:pos x="196" y="12"/>
                </a:cxn>
                <a:cxn ang="0">
                  <a:pos x="191" y="13"/>
                </a:cxn>
                <a:cxn ang="0">
                  <a:pos x="837" y="159"/>
                </a:cxn>
                <a:cxn ang="0">
                  <a:pos x="836" y="165"/>
                </a:cxn>
                <a:cxn ang="0">
                  <a:pos x="637" y="299"/>
                </a:cxn>
                <a:cxn ang="0">
                  <a:pos x="642" y="299"/>
                </a:cxn>
                <a:cxn ang="0">
                  <a:pos x="643" y="262"/>
                </a:cxn>
                <a:cxn ang="0">
                  <a:pos x="659" y="332"/>
                </a:cxn>
                <a:cxn ang="0">
                  <a:pos x="677" y="322"/>
                </a:cxn>
                <a:cxn ang="0">
                  <a:pos x="693" y="310"/>
                </a:cxn>
                <a:cxn ang="0">
                  <a:pos x="766" y="253"/>
                </a:cxn>
                <a:cxn ang="0">
                  <a:pos x="3" y="251"/>
                </a:cxn>
                <a:cxn ang="0">
                  <a:pos x="772" y="122"/>
                </a:cxn>
                <a:cxn ang="0">
                  <a:pos x="661" y="68"/>
                </a:cxn>
                <a:cxn ang="0">
                  <a:pos x="628" y="74"/>
                </a:cxn>
                <a:cxn ang="0">
                  <a:pos x="570" y="93"/>
                </a:cxn>
                <a:cxn ang="0">
                  <a:pos x="420" y="42"/>
                </a:cxn>
                <a:cxn ang="0">
                  <a:pos x="411" y="22"/>
                </a:cxn>
                <a:cxn ang="0">
                  <a:pos x="404" y="16"/>
                </a:cxn>
                <a:cxn ang="0">
                  <a:pos x="375" y="9"/>
                </a:cxn>
              </a:cxnLst>
              <a:rect l="0" t="0" r="r" b="b"/>
              <a:pathLst>
                <a:path w="892" h="356">
                  <a:moveTo>
                    <a:pt x="836" y="165"/>
                  </a:moveTo>
                  <a:cubicBezTo>
                    <a:pt x="836" y="166"/>
                    <a:pt x="835" y="166"/>
                    <a:pt x="834" y="167"/>
                  </a:cubicBezTo>
                  <a:cubicBezTo>
                    <a:pt x="830" y="173"/>
                    <a:pt x="821" y="167"/>
                    <a:pt x="822" y="171"/>
                  </a:cubicBezTo>
                  <a:cubicBezTo>
                    <a:pt x="824" y="177"/>
                    <a:pt x="826" y="169"/>
                    <a:pt x="829" y="177"/>
                  </a:cubicBezTo>
                  <a:cubicBezTo>
                    <a:pt x="831" y="184"/>
                    <a:pt x="836" y="185"/>
                    <a:pt x="832" y="189"/>
                  </a:cubicBezTo>
                  <a:cubicBezTo>
                    <a:pt x="829" y="192"/>
                    <a:pt x="829" y="185"/>
                    <a:pt x="815" y="190"/>
                  </a:cubicBezTo>
                  <a:cubicBezTo>
                    <a:pt x="807" y="192"/>
                    <a:pt x="802" y="198"/>
                    <a:pt x="796" y="201"/>
                  </a:cubicBezTo>
                  <a:cubicBezTo>
                    <a:pt x="781" y="209"/>
                    <a:pt x="788" y="214"/>
                    <a:pt x="784" y="210"/>
                  </a:cubicBezTo>
                  <a:cubicBezTo>
                    <a:pt x="780" y="205"/>
                    <a:pt x="775" y="202"/>
                    <a:pt x="766" y="210"/>
                  </a:cubicBezTo>
                  <a:cubicBezTo>
                    <a:pt x="758" y="217"/>
                    <a:pt x="769" y="201"/>
                    <a:pt x="760" y="208"/>
                  </a:cubicBezTo>
                  <a:cubicBezTo>
                    <a:pt x="753" y="213"/>
                    <a:pt x="758" y="208"/>
                    <a:pt x="752" y="210"/>
                  </a:cubicBezTo>
                  <a:cubicBezTo>
                    <a:pt x="747" y="212"/>
                    <a:pt x="752" y="215"/>
                    <a:pt x="744" y="222"/>
                  </a:cubicBezTo>
                  <a:cubicBezTo>
                    <a:pt x="736" y="228"/>
                    <a:pt x="753" y="224"/>
                    <a:pt x="746" y="232"/>
                  </a:cubicBezTo>
                  <a:cubicBezTo>
                    <a:pt x="742" y="237"/>
                    <a:pt x="750" y="235"/>
                    <a:pt x="749" y="241"/>
                  </a:cubicBezTo>
                  <a:cubicBezTo>
                    <a:pt x="748" y="246"/>
                    <a:pt x="744" y="238"/>
                    <a:pt x="741" y="244"/>
                  </a:cubicBezTo>
                  <a:cubicBezTo>
                    <a:pt x="738" y="249"/>
                    <a:pt x="748" y="254"/>
                    <a:pt x="736" y="255"/>
                  </a:cubicBezTo>
                  <a:cubicBezTo>
                    <a:pt x="728" y="255"/>
                    <a:pt x="735" y="265"/>
                    <a:pt x="729" y="265"/>
                  </a:cubicBezTo>
                  <a:cubicBezTo>
                    <a:pt x="721" y="265"/>
                    <a:pt x="727" y="268"/>
                    <a:pt x="721" y="276"/>
                  </a:cubicBezTo>
                  <a:cubicBezTo>
                    <a:pt x="712" y="289"/>
                    <a:pt x="713" y="277"/>
                    <a:pt x="712" y="271"/>
                  </a:cubicBezTo>
                  <a:cubicBezTo>
                    <a:pt x="709" y="256"/>
                    <a:pt x="707" y="239"/>
                    <a:pt x="713" y="235"/>
                  </a:cubicBezTo>
                  <a:cubicBezTo>
                    <a:pt x="718" y="231"/>
                    <a:pt x="713" y="229"/>
                    <a:pt x="719" y="227"/>
                  </a:cubicBezTo>
                  <a:cubicBezTo>
                    <a:pt x="724" y="226"/>
                    <a:pt x="728" y="222"/>
                    <a:pt x="736" y="212"/>
                  </a:cubicBezTo>
                  <a:cubicBezTo>
                    <a:pt x="744" y="202"/>
                    <a:pt x="750" y="205"/>
                    <a:pt x="752" y="196"/>
                  </a:cubicBezTo>
                  <a:cubicBezTo>
                    <a:pt x="753" y="187"/>
                    <a:pt x="761" y="188"/>
                    <a:pt x="752" y="187"/>
                  </a:cubicBezTo>
                  <a:cubicBezTo>
                    <a:pt x="743" y="187"/>
                    <a:pt x="751" y="198"/>
                    <a:pt x="746" y="197"/>
                  </a:cubicBezTo>
                  <a:cubicBezTo>
                    <a:pt x="741" y="195"/>
                    <a:pt x="743" y="200"/>
                    <a:pt x="735" y="204"/>
                  </a:cubicBezTo>
                  <a:cubicBezTo>
                    <a:pt x="727" y="208"/>
                    <a:pt x="736" y="193"/>
                    <a:pt x="725" y="195"/>
                  </a:cubicBezTo>
                  <a:cubicBezTo>
                    <a:pt x="712" y="196"/>
                    <a:pt x="717" y="199"/>
                    <a:pt x="706" y="206"/>
                  </a:cubicBezTo>
                  <a:cubicBezTo>
                    <a:pt x="695" y="214"/>
                    <a:pt x="710" y="214"/>
                    <a:pt x="705" y="217"/>
                  </a:cubicBezTo>
                  <a:cubicBezTo>
                    <a:pt x="700" y="221"/>
                    <a:pt x="698" y="214"/>
                    <a:pt x="696" y="217"/>
                  </a:cubicBezTo>
                  <a:cubicBezTo>
                    <a:pt x="695" y="218"/>
                    <a:pt x="682" y="221"/>
                    <a:pt x="687" y="217"/>
                  </a:cubicBezTo>
                  <a:cubicBezTo>
                    <a:pt x="693" y="212"/>
                    <a:pt x="675" y="212"/>
                    <a:pt x="675" y="213"/>
                  </a:cubicBezTo>
                  <a:cubicBezTo>
                    <a:pt x="673" y="218"/>
                    <a:pt x="673" y="216"/>
                    <a:pt x="665" y="215"/>
                  </a:cubicBezTo>
                  <a:cubicBezTo>
                    <a:pt x="658" y="214"/>
                    <a:pt x="661" y="218"/>
                    <a:pt x="658" y="216"/>
                  </a:cubicBezTo>
                  <a:cubicBezTo>
                    <a:pt x="655" y="214"/>
                    <a:pt x="653" y="217"/>
                    <a:pt x="648" y="215"/>
                  </a:cubicBezTo>
                  <a:cubicBezTo>
                    <a:pt x="643" y="214"/>
                    <a:pt x="633" y="220"/>
                    <a:pt x="630" y="226"/>
                  </a:cubicBezTo>
                  <a:cubicBezTo>
                    <a:pt x="628" y="232"/>
                    <a:pt x="621" y="232"/>
                    <a:pt x="619" y="237"/>
                  </a:cubicBezTo>
                  <a:cubicBezTo>
                    <a:pt x="617" y="242"/>
                    <a:pt x="616" y="242"/>
                    <a:pt x="607" y="248"/>
                  </a:cubicBezTo>
                  <a:cubicBezTo>
                    <a:pt x="599" y="253"/>
                    <a:pt x="602" y="254"/>
                    <a:pt x="608" y="254"/>
                  </a:cubicBezTo>
                  <a:cubicBezTo>
                    <a:pt x="615" y="254"/>
                    <a:pt x="607" y="260"/>
                    <a:pt x="611" y="260"/>
                  </a:cubicBezTo>
                  <a:cubicBezTo>
                    <a:pt x="615" y="260"/>
                    <a:pt x="610" y="258"/>
                    <a:pt x="614" y="257"/>
                  </a:cubicBezTo>
                  <a:cubicBezTo>
                    <a:pt x="619" y="255"/>
                    <a:pt x="610" y="264"/>
                    <a:pt x="617" y="262"/>
                  </a:cubicBezTo>
                  <a:cubicBezTo>
                    <a:pt x="622" y="261"/>
                    <a:pt x="620" y="256"/>
                    <a:pt x="622" y="257"/>
                  </a:cubicBezTo>
                  <a:cubicBezTo>
                    <a:pt x="624" y="258"/>
                    <a:pt x="626" y="256"/>
                    <a:pt x="628" y="258"/>
                  </a:cubicBezTo>
                  <a:cubicBezTo>
                    <a:pt x="629" y="259"/>
                    <a:pt x="630" y="261"/>
                    <a:pt x="634" y="263"/>
                  </a:cubicBezTo>
                  <a:cubicBezTo>
                    <a:pt x="637" y="266"/>
                    <a:pt x="632" y="265"/>
                    <a:pt x="633" y="268"/>
                  </a:cubicBezTo>
                  <a:cubicBezTo>
                    <a:pt x="635" y="270"/>
                    <a:pt x="632" y="270"/>
                    <a:pt x="634" y="272"/>
                  </a:cubicBezTo>
                  <a:cubicBezTo>
                    <a:pt x="637" y="275"/>
                    <a:pt x="633" y="276"/>
                    <a:pt x="632" y="280"/>
                  </a:cubicBezTo>
                  <a:cubicBezTo>
                    <a:pt x="631" y="283"/>
                    <a:pt x="629" y="283"/>
                    <a:pt x="630" y="286"/>
                  </a:cubicBezTo>
                  <a:cubicBezTo>
                    <a:pt x="631" y="289"/>
                    <a:pt x="631" y="300"/>
                    <a:pt x="626" y="304"/>
                  </a:cubicBezTo>
                  <a:cubicBezTo>
                    <a:pt x="622" y="308"/>
                    <a:pt x="625" y="308"/>
                    <a:pt x="621" y="311"/>
                  </a:cubicBezTo>
                  <a:cubicBezTo>
                    <a:pt x="618" y="313"/>
                    <a:pt x="620" y="317"/>
                    <a:pt x="613" y="325"/>
                  </a:cubicBezTo>
                  <a:cubicBezTo>
                    <a:pt x="605" y="332"/>
                    <a:pt x="603" y="338"/>
                    <a:pt x="600" y="340"/>
                  </a:cubicBezTo>
                  <a:cubicBezTo>
                    <a:pt x="596" y="342"/>
                    <a:pt x="597" y="343"/>
                    <a:pt x="595" y="343"/>
                  </a:cubicBezTo>
                  <a:cubicBezTo>
                    <a:pt x="592" y="344"/>
                    <a:pt x="592" y="345"/>
                    <a:pt x="591" y="344"/>
                  </a:cubicBezTo>
                  <a:cubicBezTo>
                    <a:pt x="590" y="344"/>
                    <a:pt x="589" y="343"/>
                    <a:pt x="588" y="343"/>
                  </a:cubicBezTo>
                  <a:cubicBezTo>
                    <a:pt x="586" y="343"/>
                    <a:pt x="588" y="340"/>
                    <a:pt x="586" y="341"/>
                  </a:cubicBezTo>
                  <a:cubicBezTo>
                    <a:pt x="584" y="343"/>
                    <a:pt x="586" y="340"/>
                    <a:pt x="585" y="340"/>
                  </a:cubicBezTo>
                  <a:cubicBezTo>
                    <a:pt x="583" y="340"/>
                    <a:pt x="584" y="341"/>
                    <a:pt x="583" y="343"/>
                  </a:cubicBezTo>
                  <a:cubicBezTo>
                    <a:pt x="582" y="345"/>
                    <a:pt x="582" y="345"/>
                    <a:pt x="580" y="345"/>
                  </a:cubicBezTo>
                  <a:cubicBezTo>
                    <a:pt x="579" y="344"/>
                    <a:pt x="581" y="345"/>
                    <a:pt x="579" y="347"/>
                  </a:cubicBezTo>
                  <a:cubicBezTo>
                    <a:pt x="578" y="345"/>
                    <a:pt x="578" y="345"/>
                    <a:pt x="578" y="345"/>
                  </a:cubicBezTo>
                  <a:cubicBezTo>
                    <a:pt x="579" y="341"/>
                    <a:pt x="580" y="345"/>
                    <a:pt x="581" y="341"/>
                  </a:cubicBezTo>
                  <a:cubicBezTo>
                    <a:pt x="583" y="338"/>
                    <a:pt x="582" y="334"/>
                    <a:pt x="581" y="330"/>
                  </a:cubicBezTo>
                  <a:cubicBezTo>
                    <a:pt x="579" y="326"/>
                    <a:pt x="583" y="329"/>
                    <a:pt x="584" y="326"/>
                  </a:cubicBezTo>
                  <a:cubicBezTo>
                    <a:pt x="585" y="324"/>
                    <a:pt x="586" y="325"/>
                    <a:pt x="590" y="327"/>
                  </a:cubicBezTo>
                  <a:cubicBezTo>
                    <a:pt x="594" y="329"/>
                    <a:pt x="596" y="314"/>
                    <a:pt x="599" y="309"/>
                  </a:cubicBezTo>
                  <a:cubicBezTo>
                    <a:pt x="602" y="305"/>
                    <a:pt x="599" y="300"/>
                    <a:pt x="596" y="303"/>
                  </a:cubicBezTo>
                  <a:cubicBezTo>
                    <a:pt x="593" y="306"/>
                    <a:pt x="593" y="303"/>
                    <a:pt x="590" y="305"/>
                  </a:cubicBezTo>
                  <a:cubicBezTo>
                    <a:pt x="587" y="308"/>
                    <a:pt x="583" y="309"/>
                    <a:pt x="580" y="306"/>
                  </a:cubicBezTo>
                  <a:cubicBezTo>
                    <a:pt x="577" y="304"/>
                    <a:pt x="581" y="303"/>
                    <a:pt x="579" y="302"/>
                  </a:cubicBezTo>
                  <a:cubicBezTo>
                    <a:pt x="577" y="301"/>
                    <a:pt x="580" y="299"/>
                    <a:pt x="577" y="298"/>
                  </a:cubicBezTo>
                  <a:cubicBezTo>
                    <a:pt x="574" y="298"/>
                    <a:pt x="576" y="295"/>
                    <a:pt x="570" y="294"/>
                  </a:cubicBezTo>
                  <a:cubicBezTo>
                    <a:pt x="564" y="293"/>
                    <a:pt x="562" y="294"/>
                    <a:pt x="561" y="283"/>
                  </a:cubicBezTo>
                  <a:cubicBezTo>
                    <a:pt x="559" y="273"/>
                    <a:pt x="553" y="265"/>
                    <a:pt x="550" y="265"/>
                  </a:cubicBezTo>
                  <a:cubicBezTo>
                    <a:pt x="547" y="265"/>
                    <a:pt x="544" y="262"/>
                    <a:pt x="535" y="263"/>
                  </a:cubicBezTo>
                  <a:cubicBezTo>
                    <a:pt x="525" y="264"/>
                    <a:pt x="521" y="270"/>
                    <a:pt x="524" y="270"/>
                  </a:cubicBezTo>
                  <a:cubicBezTo>
                    <a:pt x="527" y="270"/>
                    <a:pt x="529" y="272"/>
                    <a:pt x="525" y="277"/>
                  </a:cubicBezTo>
                  <a:cubicBezTo>
                    <a:pt x="520" y="283"/>
                    <a:pt x="521" y="286"/>
                    <a:pt x="517" y="290"/>
                  </a:cubicBezTo>
                  <a:cubicBezTo>
                    <a:pt x="513" y="294"/>
                    <a:pt x="511" y="294"/>
                    <a:pt x="506" y="291"/>
                  </a:cubicBezTo>
                  <a:cubicBezTo>
                    <a:pt x="502" y="288"/>
                    <a:pt x="502" y="292"/>
                    <a:pt x="496" y="288"/>
                  </a:cubicBezTo>
                  <a:cubicBezTo>
                    <a:pt x="489" y="284"/>
                    <a:pt x="491" y="294"/>
                    <a:pt x="483" y="294"/>
                  </a:cubicBezTo>
                  <a:cubicBezTo>
                    <a:pt x="475" y="293"/>
                    <a:pt x="480" y="298"/>
                    <a:pt x="467" y="295"/>
                  </a:cubicBezTo>
                  <a:cubicBezTo>
                    <a:pt x="458" y="293"/>
                    <a:pt x="462" y="291"/>
                    <a:pt x="455" y="289"/>
                  </a:cubicBezTo>
                  <a:cubicBezTo>
                    <a:pt x="448" y="286"/>
                    <a:pt x="447" y="286"/>
                    <a:pt x="441" y="288"/>
                  </a:cubicBezTo>
                  <a:cubicBezTo>
                    <a:pt x="436" y="290"/>
                    <a:pt x="431" y="286"/>
                    <a:pt x="431" y="281"/>
                  </a:cubicBezTo>
                  <a:cubicBezTo>
                    <a:pt x="431" y="276"/>
                    <a:pt x="428" y="280"/>
                    <a:pt x="420" y="276"/>
                  </a:cubicBezTo>
                  <a:cubicBezTo>
                    <a:pt x="411" y="273"/>
                    <a:pt x="413" y="273"/>
                    <a:pt x="409" y="279"/>
                  </a:cubicBezTo>
                  <a:cubicBezTo>
                    <a:pt x="405" y="284"/>
                    <a:pt x="411" y="284"/>
                    <a:pt x="410" y="288"/>
                  </a:cubicBezTo>
                  <a:cubicBezTo>
                    <a:pt x="408" y="293"/>
                    <a:pt x="391" y="290"/>
                    <a:pt x="390" y="287"/>
                  </a:cubicBezTo>
                  <a:cubicBezTo>
                    <a:pt x="389" y="283"/>
                    <a:pt x="385" y="287"/>
                    <a:pt x="382" y="285"/>
                  </a:cubicBezTo>
                  <a:cubicBezTo>
                    <a:pt x="379" y="283"/>
                    <a:pt x="375" y="285"/>
                    <a:pt x="369" y="288"/>
                  </a:cubicBezTo>
                  <a:cubicBezTo>
                    <a:pt x="363" y="291"/>
                    <a:pt x="367" y="292"/>
                    <a:pt x="363" y="293"/>
                  </a:cubicBezTo>
                  <a:cubicBezTo>
                    <a:pt x="358" y="295"/>
                    <a:pt x="359" y="292"/>
                    <a:pt x="356" y="296"/>
                  </a:cubicBezTo>
                  <a:cubicBezTo>
                    <a:pt x="353" y="297"/>
                    <a:pt x="353" y="297"/>
                    <a:pt x="353" y="297"/>
                  </a:cubicBezTo>
                  <a:cubicBezTo>
                    <a:pt x="348" y="293"/>
                    <a:pt x="353" y="289"/>
                    <a:pt x="349" y="292"/>
                  </a:cubicBezTo>
                  <a:cubicBezTo>
                    <a:pt x="344" y="296"/>
                    <a:pt x="342" y="292"/>
                    <a:pt x="337" y="285"/>
                  </a:cubicBezTo>
                  <a:cubicBezTo>
                    <a:pt x="331" y="279"/>
                    <a:pt x="328" y="287"/>
                    <a:pt x="321" y="281"/>
                  </a:cubicBezTo>
                  <a:cubicBezTo>
                    <a:pt x="315" y="276"/>
                    <a:pt x="319" y="293"/>
                    <a:pt x="310" y="274"/>
                  </a:cubicBezTo>
                  <a:cubicBezTo>
                    <a:pt x="303" y="261"/>
                    <a:pt x="295" y="260"/>
                    <a:pt x="297" y="258"/>
                  </a:cubicBezTo>
                  <a:cubicBezTo>
                    <a:pt x="299" y="256"/>
                    <a:pt x="300" y="252"/>
                    <a:pt x="292" y="258"/>
                  </a:cubicBezTo>
                  <a:cubicBezTo>
                    <a:pt x="284" y="263"/>
                    <a:pt x="278" y="263"/>
                    <a:pt x="281" y="260"/>
                  </a:cubicBezTo>
                  <a:cubicBezTo>
                    <a:pt x="284" y="257"/>
                    <a:pt x="281" y="259"/>
                    <a:pt x="277" y="257"/>
                  </a:cubicBezTo>
                  <a:cubicBezTo>
                    <a:pt x="273" y="255"/>
                    <a:pt x="270" y="260"/>
                    <a:pt x="268" y="252"/>
                  </a:cubicBezTo>
                  <a:cubicBezTo>
                    <a:pt x="266" y="245"/>
                    <a:pt x="264" y="250"/>
                    <a:pt x="261" y="248"/>
                  </a:cubicBezTo>
                  <a:cubicBezTo>
                    <a:pt x="257" y="245"/>
                    <a:pt x="256" y="249"/>
                    <a:pt x="250" y="251"/>
                  </a:cubicBezTo>
                  <a:cubicBezTo>
                    <a:pt x="245" y="254"/>
                    <a:pt x="225" y="258"/>
                    <a:pt x="219" y="258"/>
                  </a:cubicBezTo>
                  <a:cubicBezTo>
                    <a:pt x="213" y="258"/>
                    <a:pt x="215" y="263"/>
                    <a:pt x="220" y="265"/>
                  </a:cubicBezTo>
                  <a:cubicBezTo>
                    <a:pt x="225" y="267"/>
                    <a:pt x="211" y="267"/>
                    <a:pt x="215" y="270"/>
                  </a:cubicBezTo>
                  <a:cubicBezTo>
                    <a:pt x="219" y="274"/>
                    <a:pt x="205" y="273"/>
                    <a:pt x="216" y="278"/>
                  </a:cubicBezTo>
                  <a:cubicBezTo>
                    <a:pt x="222" y="280"/>
                    <a:pt x="217" y="287"/>
                    <a:pt x="212" y="284"/>
                  </a:cubicBezTo>
                  <a:cubicBezTo>
                    <a:pt x="208" y="281"/>
                    <a:pt x="211" y="288"/>
                    <a:pt x="205" y="284"/>
                  </a:cubicBezTo>
                  <a:cubicBezTo>
                    <a:pt x="199" y="279"/>
                    <a:pt x="199" y="284"/>
                    <a:pt x="196" y="282"/>
                  </a:cubicBezTo>
                  <a:cubicBezTo>
                    <a:pt x="193" y="280"/>
                    <a:pt x="192" y="282"/>
                    <a:pt x="190" y="285"/>
                  </a:cubicBezTo>
                  <a:cubicBezTo>
                    <a:pt x="186" y="288"/>
                    <a:pt x="181" y="279"/>
                    <a:pt x="176" y="279"/>
                  </a:cubicBezTo>
                  <a:cubicBezTo>
                    <a:pt x="171" y="278"/>
                    <a:pt x="172" y="275"/>
                    <a:pt x="168" y="277"/>
                  </a:cubicBezTo>
                  <a:cubicBezTo>
                    <a:pt x="165" y="280"/>
                    <a:pt x="164" y="274"/>
                    <a:pt x="162" y="278"/>
                  </a:cubicBezTo>
                  <a:cubicBezTo>
                    <a:pt x="159" y="281"/>
                    <a:pt x="152" y="283"/>
                    <a:pt x="152" y="287"/>
                  </a:cubicBezTo>
                  <a:cubicBezTo>
                    <a:pt x="152" y="291"/>
                    <a:pt x="151" y="293"/>
                    <a:pt x="147" y="287"/>
                  </a:cubicBezTo>
                  <a:cubicBezTo>
                    <a:pt x="145" y="285"/>
                    <a:pt x="140" y="292"/>
                    <a:pt x="142" y="294"/>
                  </a:cubicBezTo>
                  <a:cubicBezTo>
                    <a:pt x="144" y="297"/>
                    <a:pt x="138" y="301"/>
                    <a:pt x="142" y="302"/>
                  </a:cubicBezTo>
                  <a:cubicBezTo>
                    <a:pt x="145" y="304"/>
                    <a:pt x="143" y="307"/>
                    <a:pt x="145" y="307"/>
                  </a:cubicBezTo>
                  <a:cubicBezTo>
                    <a:pt x="147" y="306"/>
                    <a:pt x="147" y="306"/>
                    <a:pt x="151" y="311"/>
                  </a:cubicBezTo>
                  <a:cubicBezTo>
                    <a:pt x="156" y="316"/>
                    <a:pt x="148" y="314"/>
                    <a:pt x="153" y="317"/>
                  </a:cubicBezTo>
                  <a:cubicBezTo>
                    <a:pt x="152" y="320"/>
                    <a:pt x="152" y="319"/>
                    <a:pt x="152" y="320"/>
                  </a:cubicBezTo>
                  <a:cubicBezTo>
                    <a:pt x="152" y="322"/>
                    <a:pt x="151" y="319"/>
                    <a:pt x="148" y="322"/>
                  </a:cubicBezTo>
                  <a:cubicBezTo>
                    <a:pt x="145" y="325"/>
                    <a:pt x="144" y="328"/>
                    <a:pt x="142" y="330"/>
                  </a:cubicBezTo>
                  <a:cubicBezTo>
                    <a:pt x="139" y="332"/>
                    <a:pt x="145" y="331"/>
                    <a:pt x="145" y="335"/>
                  </a:cubicBezTo>
                  <a:cubicBezTo>
                    <a:pt x="145" y="339"/>
                    <a:pt x="147" y="332"/>
                    <a:pt x="146" y="339"/>
                  </a:cubicBezTo>
                  <a:cubicBezTo>
                    <a:pt x="145" y="345"/>
                    <a:pt x="148" y="344"/>
                    <a:pt x="151" y="351"/>
                  </a:cubicBezTo>
                  <a:cubicBezTo>
                    <a:pt x="150" y="352"/>
                    <a:pt x="149" y="353"/>
                    <a:pt x="148" y="354"/>
                  </a:cubicBezTo>
                  <a:cubicBezTo>
                    <a:pt x="148" y="355"/>
                    <a:pt x="145" y="356"/>
                    <a:pt x="144" y="353"/>
                  </a:cubicBezTo>
                  <a:cubicBezTo>
                    <a:pt x="144" y="351"/>
                    <a:pt x="143" y="353"/>
                    <a:pt x="142" y="351"/>
                  </a:cubicBezTo>
                  <a:cubicBezTo>
                    <a:pt x="142" y="349"/>
                    <a:pt x="141" y="352"/>
                    <a:pt x="140" y="350"/>
                  </a:cubicBezTo>
                  <a:cubicBezTo>
                    <a:pt x="137" y="349"/>
                    <a:pt x="137" y="349"/>
                    <a:pt x="136" y="348"/>
                  </a:cubicBezTo>
                  <a:cubicBezTo>
                    <a:pt x="135" y="347"/>
                    <a:pt x="138" y="345"/>
                    <a:pt x="136" y="345"/>
                  </a:cubicBezTo>
                  <a:cubicBezTo>
                    <a:pt x="134" y="345"/>
                    <a:pt x="134" y="344"/>
                    <a:pt x="133" y="344"/>
                  </a:cubicBezTo>
                  <a:cubicBezTo>
                    <a:pt x="132" y="343"/>
                    <a:pt x="132" y="345"/>
                    <a:pt x="130" y="344"/>
                  </a:cubicBezTo>
                  <a:cubicBezTo>
                    <a:pt x="129" y="343"/>
                    <a:pt x="128" y="346"/>
                    <a:pt x="126" y="345"/>
                  </a:cubicBezTo>
                  <a:cubicBezTo>
                    <a:pt x="125" y="344"/>
                    <a:pt x="128" y="344"/>
                    <a:pt x="125" y="343"/>
                  </a:cubicBezTo>
                  <a:cubicBezTo>
                    <a:pt x="122" y="342"/>
                    <a:pt x="122" y="341"/>
                    <a:pt x="121" y="341"/>
                  </a:cubicBezTo>
                  <a:cubicBezTo>
                    <a:pt x="120" y="341"/>
                    <a:pt x="119" y="339"/>
                    <a:pt x="117" y="340"/>
                  </a:cubicBezTo>
                  <a:cubicBezTo>
                    <a:pt x="114" y="342"/>
                    <a:pt x="115" y="340"/>
                    <a:pt x="113" y="340"/>
                  </a:cubicBezTo>
                  <a:cubicBezTo>
                    <a:pt x="111" y="340"/>
                    <a:pt x="111" y="338"/>
                    <a:pt x="110" y="338"/>
                  </a:cubicBezTo>
                  <a:cubicBezTo>
                    <a:pt x="109" y="338"/>
                    <a:pt x="107" y="338"/>
                    <a:pt x="106" y="339"/>
                  </a:cubicBezTo>
                  <a:cubicBezTo>
                    <a:pt x="99" y="332"/>
                    <a:pt x="103" y="334"/>
                    <a:pt x="99" y="333"/>
                  </a:cubicBezTo>
                  <a:cubicBezTo>
                    <a:pt x="95" y="331"/>
                    <a:pt x="98" y="331"/>
                    <a:pt x="95" y="330"/>
                  </a:cubicBezTo>
                  <a:cubicBezTo>
                    <a:pt x="92" y="330"/>
                    <a:pt x="94" y="329"/>
                    <a:pt x="91" y="327"/>
                  </a:cubicBezTo>
                  <a:cubicBezTo>
                    <a:pt x="87" y="326"/>
                    <a:pt x="90" y="326"/>
                    <a:pt x="90" y="325"/>
                  </a:cubicBezTo>
                  <a:cubicBezTo>
                    <a:pt x="89" y="323"/>
                    <a:pt x="91" y="325"/>
                    <a:pt x="92" y="325"/>
                  </a:cubicBezTo>
                  <a:cubicBezTo>
                    <a:pt x="94" y="325"/>
                    <a:pt x="95" y="327"/>
                    <a:pt x="94" y="324"/>
                  </a:cubicBezTo>
                  <a:cubicBezTo>
                    <a:pt x="94" y="323"/>
                    <a:pt x="95" y="323"/>
                    <a:pt x="95" y="321"/>
                  </a:cubicBezTo>
                  <a:cubicBezTo>
                    <a:pt x="96" y="319"/>
                    <a:pt x="97" y="319"/>
                    <a:pt x="98" y="320"/>
                  </a:cubicBezTo>
                  <a:cubicBezTo>
                    <a:pt x="100" y="320"/>
                    <a:pt x="98" y="317"/>
                    <a:pt x="97" y="317"/>
                  </a:cubicBezTo>
                  <a:cubicBezTo>
                    <a:pt x="95" y="318"/>
                    <a:pt x="94" y="315"/>
                    <a:pt x="95" y="315"/>
                  </a:cubicBezTo>
                  <a:cubicBezTo>
                    <a:pt x="99" y="315"/>
                    <a:pt x="97" y="314"/>
                    <a:pt x="101" y="313"/>
                  </a:cubicBezTo>
                  <a:cubicBezTo>
                    <a:pt x="103" y="312"/>
                    <a:pt x="103" y="310"/>
                    <a:pt x="101" y="311"/>
                  </a:cubicBezTo>
                  <a:cubicBezTo>
                    <a:pt x="98" y="313"/>
                    <a:pt x="100" y="310"/>
                    <a:pt x="97" y="312"/>
                  </a:cubicBezTo>
                  <a:cubicBezTo>
                    <a:pt x="96" y="306"/>
                    <a:pt x="100" y="309"/>
                    <a:pt x="100" y="307"/>
                  </a:cubicBezTo>
                  <a:cubicBezTo>
                    <a:pt x="101" y="305"/>
                    <a:pt x="105" y="307"/>
                    <a:pt x="106" y="305"/>
                  </a:cubicBezTo>
                  <a:cubicBezTo>
                    <a:pt x="107" y="304"/>
                    <a:pt x="106" y="302"/>
                    <a:pt x="105" y="301"/>
                  </a:cubicBezTo>
                  <a:cubicBezTo>
                    <a:pt x="104" y="300"/>
                    <a:pt x="105" y="299"/>
                    <a:pt x="106" y="299"/>
                  </a:cubicBezTo>
                  <a:cubicBezTo>
                    <a:pt x="108" y="299"/>
                    <a:pt x="107" y="298"/>
                    <a:pt x="106" y="298"/>
                  </a:cubicBezTo>
                  <a:cubicBezTo>
                    <a:pt x="105" y="298"/>
                    <a:pt x="105" y="297"/>
                    <a:pt x="107" y="296"/>
                  </a:cubicBezTo>
                  <a:cubicBezTo>
                    <a:pt x="108" y="295"/>
                    <a:pt x="107" y="295"/>
                    <a:pt x="107" y="293"/>
                  </a:cubicBezTo>
                  <a:cubicBezTo>
                    <a:pt x="107" y="292"/>
                    <a:pt x="105" y="294"/>
                    <a:pt x="104" y="292"/>
                  </a:cubicBezTo>
                  <a:cubicBezTo>
                    <a:pt x="103" y="290"/>
                    <a:pt x="101" y="292"/>
                    <a:pt x="100" y="291"/>
                  </a:cubicBezTo>
                  <a:cubicBezTo>
                    <a:pt x="98" y="288"/>
                    <a:pt x="97" y="291"/>
                    <a:pt x="95" y="289"/>
                  </a:cubicBezTo>
                  <a:cubicBezTo>
                    <a:pt x="93" y="288"/>
                    <a:pt x="94" y="285"/>
                    <a:pt x="91" y="287"/>
                  </a:cubicBezTo>
                  <a:cubicBezTo>
                    <a:pt x="87" y="289"/>
                    <a:pt x="87" y="286"/>
                    <a:pt x="84" y="287"/>
                  </a:cubicBezTo>
                  <a:cubicBezTo>
                    <a:pt x="82" y="288"/>
                    <a:pt x="84" y="284"/>
                    <a:pt x="82" y="282"/>
                  </a:cubicBezTo>
                  <a:cubicBezTo>
                    <a:pt x="80" y="279"/>
                    <a:pt x="80" y="281"/>
                    <a:pt x="78" y="280"/>
                  </a:cubicBezTo>
                  <a:cubicBezTo>
                    <a:pt x="76" y="280"/>
                    <a:pt x="78" y="280"/>
                    <a:pt x="76" y="278"/>
                  </a:cubicBezTo>
                  <a:cubicBezTo>
                    <a:pt x="75" y="277"/>
                    <a:pt x="79" y="276"/>
                    <a:pt x="77" y="275"/>
                  </a:cubicBezTo>
                  <a:cubicBezTo>
                    <a:pt x="74" y="274"/>
                    <a:pt x="76" y="270"/>
                    <a:pt x="74" y="272"/>
                  </a:cubicBezTo>
                  <a:cubicBezTo>
                    <a:pt x="72" y="273"/>
                    <a:pt x="73" y="270"/>
                    <a:pt x="71" y="272"/>
                  </a:cubicBezTo>
                  <a:cubicBezTo>
                    <a:pt x="69" y="273"/>
                    <a:pt x="67" y="271"/>
                    <a:pt x="67" y="273"/>
                  </a:cubicBezTo>
                  <a:cubicBezTo>
                    <a:pt x="66" y="275"/>
                    <a:pt x="64" y="274"/>
                    <a:pt x="63" y="273"/>
                  </a:cubicBezTo>
                  <a:cubicBezTo>
                    <a:pt x="61" y="270"/>
                    <a:pt x="64" y="270"/>
                    <a:pt x="62" y="267"/>
                  </a:cubicBezTo>
                  <a:cubicBezTo>
                    <a:pt x="61" y="266"/>
                    <a:pt x="62" y="264"/>
                    <a:pt x="63" y="265"/>
                  </a:cubicBezTo>
                  <a:cubicBezTo>
                    <a:pt x="66" y="267"/>
                    <a:pt x="66" y="265"/>
                    <a:pt x="68" y="264"/>
                  </a:cubicBezTo>
                  <a:cubicBezTo>
                    <a:pt x="70" y="263"/>
                    <a:pt x="67" y="263"/>
                    <a:pt x="67" y="262"/>
                  </a:cubicBezTo>
                  <a:cubicBezTo>
                    <a:pt x="67" y="259"/>
                    <a:pt x="62" y="262"/>
                    <a:pt x="64" y="259"/>
                  </a:cubicBezTo>
                  <a:cubicBezTo>
                    <a:pt x="65" y="258"/>
                    <a:pt x="61" y="259"/>
                    <a:pt x="60" y="255"/>
                  </a:cubicBezTo>
                  <a:cubicBezTo>
                    <a:pt x="60" y="252"/>
                    <a:pt x="57" y="253"/>
                    <a:pt x="59" y="251"/>
                  </a:cubicBezTo>
                  <a:cubicBezTo>
                    <a:pt x="61" y="250"/>
                    <a:pt x="58" y="250"/>
                    <a:pt x="59" y="247"/>
                  </a:cubicBezTo>
                  <a:cubicBezTo>
                    <a:pt x="60" y="245"/>
                    <a:pt x="58" y="246"/>
                    <a:pt x="57" y="245"/>
                  </a:cubicBezTo>
                  <a:cubicBezTo>
                    <a:pt x="57" y="244"/>
                    <a:pt x="55" y="243"/>
                    <a:pt x="53" y="245"/>
                  </a:cubicBezTo>
                  <a:cubicBezTo>
                    <a:pt x="50" y="246"/>
                    <a:pt x="53" y="242"/>
                    <a:pt x="49" y="243"/>
                  </a:cubicBezTo>
                  <a:cubicBezTo>
                    <a:pt x="46" y="243"/>
                    <a:pt x="48" y="241"/>
                    <a:pt x="45" y="242"/>
                  </a:cubicBezTo>
                  <a:cubicBezTo>
                    <a:pt x="45" y="242"/>
                    <a:pt x="46" y="240"/>
                    <a:pt x="44" y="238"/>
                  </a:cubicBezTo>
                  <a:cubicBezTo>
                    <a:pt x="43" y="236"/>
                    <a:pt x="44" y="236"/>
                    <a:pt x="43" y="236"/>
                  </a:cubicBezTo>
                  <a:cubicBezTo>
                    <a:pt x="42" y="236"/>
                    <a:pt x="43" y="234"/>
                    <a:pt x="43" y="233"/>
                  </a:cubicBezTo>
                  <a:cubicBezTo>
                    <a:pt x="44" y="232"/>
                    <a:pt x="42" y="232"/>
                    <a:pt x="41" y="230"/>
                  </a:cubicBezTo>
                  <a:cubicBezTo>
                    <a:pt x="42" y="227"/>
                    <a:pt x="44" y="229"/>
                    <a:pt x="42" y="226"/>
                  </a:cubicBezTo>
                  <a:cubicBezTo>
                    <a:pt x="40" y="223"/>
                    <a:pt x="43" y="225"/>
                    <a:pt x="41" y="222"/>
                  </a:cubicBezTo>
                  <a:cubicBezTo>
                    <a:pt x="40" y="218"/>
                    <a:pt x="43" y="220"/>
                    <a:pt x="43" y="217"/>
                  </a:cubicBezTo>
                  <a:cubicBezTo>
                    <a:pt x="43" y="215"/>
                    <a:pt x="46" y="216"/>
                    <a:pt x="44" y="214"/>
                  </a:cubicBezTo>
                  <a:cubicBezTo>
                    <a:pt x="45" y="213"/>
                    <a:pt x="43" y="211"/>
                    <a:pt x="45" y="212"/>
                  </a:cubicBezTo>
                  <a:cubicBezTo>
                    <a:pt x="47" y="214"/>
                    <a:pt x="45" y="210"/>
                    <a:pt x="48" y="211"/>
                  </a:cubicBezTo>
                  <a:cubicBezTo>
                    <a:pt x="50" y="213"/>
                    <a:pt x="48" y="209"/>
                    <a:pt x="52" y="210"/>
                  </a:cubicBezTo>
                  <a:cubicBezTo>
                    <a:pt x="55" y="211"/>
                    <a:pt x="55" y="211"/>
                    <a:pt x="56" y="210"/>
                  </a:cubicBezTo>
                  <a:cubicBezTo>
                    <a:pt x="56" y="209"/>
                    <a:pt x="54" y="210"/>
                    <a:pt x="54" y="209"/>
                  </a:cubicBezTo>
                  <a:cubicBezTo>
                    <a:pt x="53" y="207"/>
                    <a:pt x="50" y="209"/>
                    <a:pt x="49" y="208"/>
                  </a:cubicBezTo>
                  <a:cubicBezTo>
                    <a:pt x="48" y="206"/>
                    <a:pt x="48" y="208"/>
                    <a:pt x="47" y="206"/>
                  </a:cubicBezTo>
                  <a:cubicBezTo>
                    <a:pt x="45" y="204"/>
                    <a:pt x="48" y="207"/>
                    <a:pt x="47" y="205"/>
                  </a:cubicBezTo>
                  <a:cubicBezTo>
                    <a:pt x="47" y="204"/>
                    <a:pt x="48" y="204"/>
                    <a:pt x="48" y="204"/>
                  </a:cubicBezTo>
                  <a:cubicBezTo>
                    <a:pt x="47" y="203"/>
                    <a:pt x="45" y="206"/>
                    <a:pt x="43" y="205"/>
                  </a:cubicBezTo>
                  <a:cubicBezTo>
                    <a:pt x="45" y="203"/>
                    <a:pt x="47" y="202"/>
                    <a:pt x="52" y="197"/>
                  </a:cubicBezTo>
                  <a:cubicBezTo>
                    <a:pt x="58" y="192"/>
                    <a:pt x="61" y="188"/>
                    <a:pt x="62" y="186"/>
                  </a:cubicBezTo>
                  <a:cubicBezTo>
                    <a:pt x="63" y="184"/>
                    <a:pt x="62" y="185"/>
                    <a:pt x="61" y="183"/>
                  </a:cubicBezTo>
                  <a:cubicBezTo>
                    <a:pt x="60" y="181"/>
                    <a:pt x="57" y="180"/>
                    <a:pt x="55" y="179"/>
                  </a:cubicBezTo>
                  <a:cubicBezTo>
                    <a:pt x="53" y="177"/>
                    <a:pt x="57" y="177"/>
                    <a:pt x="58" y="175"/>
                  </a:cubicBezTo>
                  <a:cubicBezTo>
                    <a:pt x="58" y="173"/>
                    <a:pt x="54" y="173"/>
                    <a:pt x="55" y="172"/>
                  </a:cubicBezTo>
                  <a:cubicBezTo>
                    <a:pt x="55" y="171"/>
                    <a:pt x="54" y="171"/>
                    <a:pt x="55" y="170"/>
                  </a:cubicBezTo>
                  <a:cubicBezTo>
                    <a:pt x="57" y="169"/>
                    <a:pt x="53" y="169"/>
                    <a:pt x="52" y="167"/>
                  </a:cubicBezTo>
                  <a:cubicBezTo>
                    <a:pt x="52" y="166"/>
                    <a:pt x="55" y="166"/>
                    <a:pt x="53" y="165"/>
                  </a:cubicBezTo>
                  <a:cubicBezTo>
                    <a:pt x="52" y="164"/>
                    <a:pt x="53" y="165"/>
                    <a:pt x="53" y="163"/>
                  </a:cubicBezTo>
                  <a:cubicBezTo>
                    <a:pt x="53" y="162"/>
                    <a:pt x="54" y="162"/>
                    <a:pt x="53" y="162"/>
                  </a:cubicBezTo>
                  <a:cubicBezTo>
                    <a:pt x="53" y="161"/>
                    <a:pt x="53" y="161"/>
                    <a:pt x="55" y="161"/>
                  </a:cubicBezTo>
                  <a:cubicBezTo>
                    <a:pt x="56" y="161"/>
                    <a:pt x="52" y="152"/>
                    <a:pt x="50" y="151"/>
                  </a:cubicBezTo>
                  <a:cubicBezTo>
                    <a:pt x="48" y="149"/>
                    <a:pt x="52" y="146"/>
                    <a:pt x="54" y="144"/>
                  </a:cubicBezTo>
                  <a:cubicBezTo>
                    <a:pt x="56" y="142"/>
                    <a:pt x="54" y="143"/>
                    <a:pt x="52" y="140"/>
                  </a:cubicBezTo>
                  <a:cubicBezTo>
                    <a:pt x="50" y="137"/>
                    <a:pt x="48" y="141"/>
                    <a:pt x="47" y="136"/>
                  </a:cubicBezTo>
                  <a:cubicBezTo>
                    <a:pt x="46" y="133"/>
                    <a:pt x="49" y="134"/>
                    <a:pt x="48" y="132"/>
                  </a:cubicBezTo>
                  <a:cubicBezTo>
                    <a:pt x="48" y="131"/>
                    <a:pt x="44" y="133"/>
                    <a:pt x="49" y="130"/>
                  </a:cubicBezTo>
                  <a:cubicBezTo>
                    <a:pt x="50" y="131"/>
                    <a:pt x="50" y="130"/>
                    <a:pt x="51" y="128"/>
                  </a:cubicBezTo>
                  <a:cubicBezTo>
                    <a:pt x="51" y="127"/>
                    <a:pt x="54" y="127"/>
                    <a:pt x="55" y="126"/>
                  </a:cubicBezTo>
                  <a:cubicBezTo>
                    <a:pt x="56" y="125"/>
                    <a:pt x="55" y="125"/>
                    <a:pt x="57" y="125"/>
                  </a:cubicBezTo>
                  <a:cubicBezTo>
                    <a:pt x="58" y="126"/>
                    <a:pt x="60" y="126"/>
                    <a:pt x="59" y="124"/>
                  </a:cubicBezTo>
                  <a:cubicBezTo>
                    <a:pt x="59" y="124"/>
                    <a:pt x="59" y="124"/>
                    <a:pt x="59" y="123"/>
                  </a:cubicBezTo>
                  <a:cubicBezTo>
                    <a:pt x="67" y="126"/>
                    <a:pt x="62" y="120"/>
                    <a:pt x="68" y="123"/>
                  </a:cubicBezTo>
                  <a:cubicBezTo>
                    <a:pt x="74" y="125"/>
                    <a:pt x="66" y="125"/>
                    <a:pt x="74" y="128"/>
                  </a:cubicBezTo>
                  <a:cubicBezTo>
                    <a:pt x="83" y="130"/>
                    <a:pt x="80" y="125"/>
                    <a:pt x="90" y="131"/>
                  </a:cubicBezTo>
                  <a:cubicBezTo>
                    <a:pt x="100" y="138"/>
                    <a:pt x="99" y="135"/>
                    <a:pt x="108" y="141"/>
                  </a:cubicBezTo>
                  <a:cubicBezTo>
                    <a:pt x="118" y="147"/>
                    <a:pt x="115" y="151"/>
                    <a:pt x="106" y="156"/>
                  </a:cubicBezTo>
                  <a:cubicBezTo>
                    <a:pt x="97" y="161"/>
                    <a:pt x="87" y="154"/>
                    <a:pt x="77" y="153"/>
                  </a:cubicBezTo>
                  <a:cubicBezTo>
                    <a:pt x="67" y="151"/>
                    <a:pt x="66" y="144"/>
                    <a:pt x="67" y="148"/>
                  </a:cubicBezTo>
                  <a:cubicBezTo>
                    <a:pt x="68" y="152"/>
                    <a:pt x="73" y="153"/>
                    <a:pt x="78" y="157"/>
                  </a:cubicBezTo>
                  <a:cubicBezTo>
                    <a:pt x="83" y="161"/>
                    <a:pt x="75" y="162"/>
                    <a:pt x="79" y="165"/>
                  </a:cubicBezTo>
                  <a:cubicBezTo>
                    <a:pt x="82" y="168"/>
                    <a:pt x="77" y="171"/>
                    <a:pt x="84" y="172"/>
                  </a:cubicBezTo>
                  <a:cubicBezTo>
                    <a:pt x="90" y="173"/>
                    <a:pt x="89" y="180"/>
                    <a:pt x="94" y="177"/>
                  </a:cubicBezTo>
                  <a:cubicBezTo>
                    <a:pt x="100" y="173"/>
                    <a:pt x="93" y="174"/>
                    <a:pt x="89" y="170"/>
                  </a:cubicBezTo>
                  <a:cubicBezTo>
                    <a:pt x="85" y="167"/>
                    <a:pt x="87" y="164"/>
                    <a:pt x="97" y="168"/>
                  </a:cubicBezTo>
                  <a:cubicBezTo>
                    <a:pt x="106" y="173"/>
                    <a:pt x="113" y="172"/>
                    <a:pt x="107" y="166"/>
                  </a:cubicBezTo>
                  <a:cubicBezTo>
                    <a:pt x="102" y="160"/>
                    <a:pt x="106" y="161"/>
                    <a:pt x="115" y="155"/>
                  </a:cubicBezTo>
                  <a:cubicBezTo>
                    <a:pt x="124" y="149"/>
                    <a:pt x="129" y="163"/>
                    <a:pt x="128" y="158"/>
                  </a:cubicBezTo>
                  <a:cubicBezTo>
                    <a:pt x="127" y="152"/>
                    <a:pt x="133" y="151"/>
                    <a:pt x="128" y="148"/>
                  </a:cubicBezTo>
                  <a:cubicBezTo>
                    <a:pt x="122" y="144"/>
                    <a:pt x="131" y="140"/>
                    <a:pt x="126" y="136"/>
                  </a:cubicBezTo>
                  <a:cubicBezTo>
                    <a:pt x="121" y="131"/>
                    <a:pt x="127" y="135"/>
                    <a:pt x="133" y="135"/>
                  </a:cubicBezTo>
                  <a:cubicBezTo>
                    <a:pt x="139" y="134"/>
                    <a:pt x="143" y="142"/>
                    <a:pt x="139" y="142"/>
                  </a:cubicBezTo>
                  <a:cubicBezTo>
                    <a:pt x="135" y="142"/>
                    <a:pt x="129" y="145"/>
                    <a:pt x="134" y="147"/>
                  </a:cubicBezTo>
                  <a:cubicBezTo>
                    <a:pt x="138" y="149"/>
                    <a:pt x="135" y="153"/>
                    <a:pt x="140" y="150"/>
                  </a:cubicBezTo>
                  <a:cubicBezTo>
                    <a:pt x="144" y="148"/>
                    <a:pt x="145" y="154"/>
                    <a:pt x="147" y="146"/>
                  </a:cubicBezTo>
                  <a:cubicBezTo>
                    <a:pt x="149" y="138"/>
                    <a:pt x="151" y="143"/>
                    <a:pt x="164" y="137"/>
                  </a:cubicBezTo>
                  <a:cubicBezTo>
                    <a:pt x="177" y="130"/>
                    <a:pt x="184" y="129"/>
                    <a:pt x="181" y="131"/>
                  </a:cubicBezTo>
                  <a:cubicBezTo>
                    <a:pt x="177" y="134"/>
                    <a:pt x="177" y="141"/>
                    <a:pt x="185" y="136"/>
                  </a:cubicBezTo>
                  <a:cubicBezTo>
                    <a:pt x="193" y="130"/>
                    <a:pt x="192" y="138"/>
                    <a:pt x="198" y="134"/>
                  </a:cubicBezTo>
                  <a:cubicBezTo>
                    <a:pt x="204" y="130"/>
                    <a:pt x="207" y="128"/>
                    <a:pt x="207" y="134"/>
                  </a:cubicBezTo>
                  <a:cubicBezTo>
                    <a:pt x="207" y="139"/>
                    <a:pt x="217" y="132"/>
                    <a:pt x="214" y="129"/>
                  </a:cubicBezTo>
                  <a:cubicBezTo>
                    <a:pt x="209" y="124"/>
                    <a:pt x="218" y="120"/>
                    <a:pt x="237" y="128"/>
                  </a:cubicBezTo>
                  <a:cubicBezTo>
                    <a:pt x="255" y="135"/>
                    <a:pt x="252" y="141"/>
                    <a:pt x="257" y="135"/>
                  </a:cubicBezTo>
                  <a:cubicBezTo>
                    <a:pt x="261" y="128"/>
                    <a:pt x="242" y="128"/>
                    <a:pt x="247" y="120"/>
                  </a:cubicBezTo>
                  <a:cubicBezTo>
                    <a:pt x="252" y="113"/>
                    <a:pt x="239" y="113"/>
                    <a:pt x="250" y="109"/>
                  </a:cubicBezTo>
                  <a:cubicBezTo>
                    <a:pt x="257" y="106"/>
                    <a:pt x="255" y="92"/>
                    <a:pt x="261" y="94"/>
                  </a:cubicBezTo>
                  <a:cubicBezTo>
                    <a:pt x="266" y="95"/>
                    <a:pt x="278" y="91"/>
                    <a:pt x="278" y="99"/>
                  </a:cubicBezTo>
                  <a:cubicBezTo>
                    <a:pt x="278" y="106"/>
                    <a:pt x="268" y="105"/>
                    <a:pt x="274" y="109"/>
                  </a:cubicBezTo>
                  <a:cubicBezTo>
                    <a:pt x="279" y="114"/>
                    <a:pt x="277" y="118"/>
                    <a:pt x="276" y="126"/>
                  </a:cubicBezTo>
                  <a:cubicBezTo>
                    <a:pt x="275" y="133"/>
                    <a:pt x="281" y="133"/>
                    <a:pt x="280" y="139"/>
                  </a:cubicBezTo>
                  <a:cubicBezTo>
                    <a:pt x="280" y="145"/>
                    <a:pt x="278" y="141"/>
                    <a:pt x="274" y="148"/>
                  </a:cubicBezTo>
                  <a:cubicBezTo>
                    <a:pt x="271" y="155"/>
                    <a:pt x="254" y="153"/>
                    <a:pt x="267" y="155"/>
                  </a:cubicBezTo>
                  <a:cubicBezTo>
                    <a:pt x="279" y="157"/>
                    <a:pt x="273" y="154"/>
                    <a:pt x="279" y="151"/>
                  </a:cubicBezTo>
                  <a:cubicBezTo>
                    <a:pt x="285" y="149"/>
                    <a:pt x="281" y="146"/>
                    <a:pt x="286" y="143"/>
                  </a:cubicBezTo>
                  <a:cubicBezTo>
                    <a:pt x="291" y="141"/>
                    <a:pt x="281" y="135"/>
                    <a:pt x="290" y="132"/>
                  </a:cubicBezTo>
                  <a:cubicBezTo>
                    <a:pt x="300" y="129"/>
                    <a:pt x="302" y="135"/>
                    <a:pt x="300" y="140"/>
                  </a:cubicBezTo>
                  <a:cubicBezTo>
                    <a:pt x="299" y="145"/>
                    <a:pt x="302" y="140"/>
                    <a:pt x="303" y="138"/>
                  </a:cubicBezTo>
                  <a:cubicBezTo>
                    <a:pt x="304" y="136"/>
                    <a:pt x="307" y="135"/>
                    <a:pt x="299" y="130"/>
                  </a:cubicBezTo>
                  <a:cubicBezTo>
                    <a:pt x="292" y="126"/>
                    <a:pt x="282" y="133"/>
                    <a:pt x="283" y="129"/>
                  </a:cubicBezTo>
                  <a:cubicBezTo>
                    <a:pt x="283" y="125"/>
                    <a:pt x="278" y="125"/>
                    <a:pt x="283" y="120"/>
                  </a:cubicBezTo>
                  <a:cubicBezTo>
                    <a:pt x="287" y="115"/>
                    <a:pt x="285" y="115"/>
                    <a:pt x="281" y="109"/>
                  </a:cubicBezTo>
                  <a:cubicBezTo>
                    <a:pt x="275" y="102"/>
                    <a:pt x="291" y="106"/>
                    <a:pt x="288" y="98"/>
                  </a:cubicBezTo>
                  <a:cubicBezTo>
                    <a:pt x="287" y="92"/>
                    <a:pt x="289" y="93"/>
                    <a:pt x="292" y="97"/>
                  </a:cubicBezTo>
                  <a:cubicBezTo>
                    <a:pt x="294" y="101"/>
                    <a:pt x="286" y="109"/>
                    <a:pt x="294" y="110"/>
                  </a:cubicBezTo>
                  <a:cubicBezTo>
                    <a:pt x="301" y="111"/>
                    <a:pt x="306" y="110"/>
                    <a:pt x="298" y="107"/>
                  </a:cubicBezTo>
                  <a:cubicBezTo>
                    <a:pt x="290" y="105"/>
                    <a:pt x="295" y="101"/>
                    <a:pt x="300" y="103"/>
                  </a:cubicBezTo>
                  <a:cubicBezTo>
                    <a:pt x="303" y="104"/>
                    <a:pt x="299" y="97"/>
                    <a:pt x="311" y="99"/>
                  </a:cubicBezTo>
                  <a:cubicBezTo>
                    <a:pt x="322" y="100"/>
                    <a:pt x="319" y="105"/>
                    <a:pt x="327" y="105"/>
                  </a:cubicBezTo>
                  <a:cubicBezTo>
                    <a:pt x="336" y="105"/>
                    <a:pt x="322" y="115"/>
                    <a:pt x="329" y="112"/>
                  </a:cubicBezTo>
                  <a:cubicBezTo>
                    <a:pt x="336" y="110"/>
                    <a:pt x="326" y="124"/>
                    <a:pt x="333" y="118"/>
                  </a:cubicBezTo>
                  <a:cubicBezTo>
                    <a:pt x="339" y="113"/>
                    <a:pt x="329" y="114"/>
                    <a:pt x="333" y="107"/>
                  </a:cubicBezTo>
                  <a:cubicBezTo>
                    <a:pt x="336" y="101"/>
                    <a:pt x="327" y="106"/>
                    <a:pt x="326" y="101"/>
                  </a:cubicBezTo>
                  <a:cubicBezTo>
                    <a:pt x="326" y="97"/>
                    <a:pt x="315" y="100"/>
                    <a:pt x="319" y="95"/>
                  </a:cubicBezTo>
                  <a:cubicBezTo>
                    <a:pt x="322" y="89"/>
                    <a:pt x="313" y="93"/>
                    <a:pt x="317" y="89"/>
                  </a:cubicBezTo>
                  <a:cubicBezTo>
                    <a:pt x="320" y="84"/>
                    <a:pt x="333" y="87"/>
                    <a:pt x="344" y="85"/>
                  </a:cubicBezTo>
                  <a:cubicBezTo>
                    <a:pt x="351" y="83"/>
                    <a:pt x="354" y="81"/>
                    <a:pt x="349" y="81"/>
                  </a:cubicBezTo>
                  <a:cubicBezTo>
                    <a:pt x="343" y="80"/>
                    <a:pt x="344" y="72"/>
                    <a:pt x="353" y="71"/>
                  </a:cubicBezTo>
                  <a:cubicBezTo>
                    <a:pt x="363" y="71"/>
                    <a:pt x="354" y="68"/>
                    <a:pt x="374" y="67"/>
                  </a:cubicBezTo>
                  <a:cubicBezTo>
                    <a:pt x="393" y="65"/>
                    <a:pt x="373" y="63"/>
                    <a:pt x="391" y="61"/>
                  </a:cubicBezTo>
                  <a:cubicBezTo>
                    <a:pt x="410" y="58"/>
                    <a:pt x="394" y="64"/>
                    <a:pt x="408" y="61"/>
                  </a:cubicBezTo>
                  <a:cubicBezTo>
                    <a:pt x="422" y="58"/>
                    <a:pt x="405" y="58"/>
                    <a:pt x="420" y="57"/>
                  </a:cubicBezTo>
                  <a:cubicBezTo>
                    <a:pt x="427" y="57"/>
                    <a:pt x="418" y="54"/>
                    <a:pt x="434" y="47"/>
                  </a:cubicBezTo>
                  <a:cubicBezTo>
                    <a:pt x="444" y="43"/>
                    <a:pt x="455" y="48"/>
                    <a:pt x="450" y="49"/>
                  </a:cubicBezTo>
                  <a:cubicBezTo>
                    <a:pt x="444" y="51"/>
                    <a:pt x="440" y="52"/>
                    <a:pt x="452" y="53"/>
                  </a:cubicBezTo>
                  <a:cubicBezTo>
                    <a:pt x="465" y="53"/>
                    <a:pt x="445" y="59"/>
                    <a:pt x="456" y="58"/>
                  </a:cubicBezTo>
                  <a:cubicBezTo>
                    <a:pt x="463" y="57"/>
                    <a:pt x="460" y="54"/>
                    <a:pt x="466" y="55"/>
                  </a:cubicBezTo>
                  <a:cubicBezTo>
                    <a:pt x="472" y="57"/>
                    <a:pt x="476" y="53"/>
                    <a:pt x="480" y="57"/>
                  </a:cubicBezTo>
                  <a:cubicBezTo>
                    <a:pt x="485" y="61"/>
                    <a:pt x="488" y="59"/>
                    <a:pt x="490" y="62"/>
                  </a:cubicBezTo>
                  <a:cubicBezTo>
                    <a:pt x="492" y="66"/>
                    <a:pt x="492" y="72"/>
                    <a:pt x="482" y="75"/>
                  </a:cubicBezTo>
                  <a:cubicBezTo>
                    <a:pt x="471" y="78"/>
                    <a:pt x="474" y="80"/>
                    <a:pt x="462" y="85"/>
                  </a:cubicBezTo>
                  <a:cubicBezTo>
                    <a:pt x="450" y="90"/>
                    <a:pt x="450" y="92"/>
                    <a:pt x="462" y="90"/>
                  </a:cubicBezTo>
                  <a:cubicBezTo>
                    <a:pt x="475" y="88"/>
                    <a:pt x="467" y="85"/>
                    <a:pt x="474" y="83"/>
                  </a:cubicBezTo>
                  <a:cubicBezTo>
                    <a:pt x="481" y="82"/>
                    <a:pt x="480" y="87"/>
                    <a:pt x="485" y="84"/>
                  </a:cubicBezTo>
                  <a:cubicBezTo>
                    <a:pt x="490" y="81"/>
                    <a:pt x="486" y="88"/>
                    <a:pt x="493" y="87"/>
                  </a:cubicBezTo>
                  <a:cubicBezTo>
                    <a:pt x="500" y="86"/>
                    <a:pt x="507" y="86"/>
                    <a:pt x="515" y="87"/>
                  </a:cubicBezTo>
                  <a:cubicBezTo>
                    <a:pt x="523" y="88"/>
                    <a:pt x="503" y="91"/>
                    <a:pt x="527" y="93"/>
                  </a:cubicBezTo>
                  <a:cubicBezTo>
                    <a:pt x="543" y="94"/>
                    <a:pt x="554" y="98"/>
                    <a:pt x="559" y="102"/>
                  </a:cubicBezTo>
                  <a:cubicBezTo>
                    <a:pt x="565" y="107"/>
                    <a:pt x="556" y="97"/>
                    <a:pt x="562" y="99"/>
                  </a:cubicBezTo>
                  <a:cubicBezTo>
                    <a:pt x="567" y="101"/>
                    <a:pt x="568" y="104"/>
                    <a:pt x="577" y="112"/>
                  </a:cubicBezTo>
                  <a:cubicBezTo>
                    <a:pt x="586" y="120"/>
                    <a:pt x="584" y="100"/>
                    <a:pt x="592" y="106"/>
                  </a:cubicBezTo>
                  <a:cubicBezTo>
                    <a:pt x="600" y="112"/>
                    <a:pt x="600" y="104"/>
                    <a:pt x="609" y="106"/>
                  </a:cubicBezTo>
                  <a:cubicBezTo>
                    <a:pt x="617" y="109"/>
                    <a:pt x="613" y="104"/>
                    <a:pt x="624" y="107"/>
                  </a:cubicBezTo>
                  <a:cubicBezTo>
                    <a:pt x="634" y="110"/>
                    <a:pt x="616" y="98"/>
                    <a:pt x="626" y="98"/>
                  </a:cubicBezTo>
                  <a:cubicBezTo>
                    <a:pt x="636" y="98"/>
                    <a:pt x="626" y="92"/>
                    <a:pt x="635" y="95"/>
                  </a:cubicBezTo>
                  <a:cubicBezTo>
                    <a:pt x="644" y="97"/>
                    <a:pt x="646" y="95"/>
                    <a:pt x="658" y="98"/>
                  </a:cubicBezTo>
                  <a:cubicBezTo>
                    <a:pt x="670" y="101"/>
                    <a:pt x="670" y="98"/>
                    <a:pt x="677" y="101"/>
                  </a:cubicBezTo>
                  <a:cubicBezTo>
                    <a:pt x="684" y="104"/>
                    <a:pt x="683" y="116"/>
                    <a:pt x="703" y="112"/>
                  </a:cubicBezTo>
                  <a:cubicBezTo>
                    <a:pt x="724" y="108"/>
                    <a:pt x="734" y="116"/>
                    <a:pt x="732" y="120"/>
                  </a:cubicBezTo>
                  <a:cubicBezTo>
                    <a:pt x="730" y="123"/>
                    <a:pt x="731" y="127"/>
                    <a:pt x="744" y="124"/>
                  </a:cubicBezTo>
                  <a:cubicBezTo>
                    <a:pt x="757" y="121"/>
                    <a:pt x="759" y="129"/>
                    <a:pt x="769" y="125"/>
                  </a:cubicBezTo>
                  <a:cubicBezTo>
                    <a:pt x="779" y="122"/>
                    <a:pt x="771" y="129"/>
                    <a:pt x="777" y="129"/>
                  </a:cubicBezTo>
                  <a:cubicBezTo>
                    <a:pt x="783" y="129"/>
                    <a:pt x="780" y="137"/>
                    <a:pt x="787" y="131"/>
                  </a:cubicBezTo>
                  <a:cubicBezTo>
                    <a:pt x="795" y="125"/>
                    <a:pt x="781" y="129"/>
                    <a:pt x="786" y="122"/>
                  </a:cubicBezTo>
                  <a:cubicBezTo>
                    <a:pt x="790" y="115"/>
                    <a:pt x="786" y="121"/>
                    <a:pt x="802" y="122"/>
                  </a:cubicBezTo>
                  <a:cubicBezTo>
                    <a:pt x="817" y="123"/>
                    <a:pt x="809" y="122"/>
                    <a:pt x="820" y="125"/>
                  </a:cubicBezTo>
                  <a:cubicBezTo>
                    <a:pt x="826" y="126"/>
                    <a:pt x="831" y="128"/>
                    <a:pt x="836" y="131"/>
                  </a:cubicBezTo>
                  <a:lnTo>
                    <a:pt x="836" y="165"/>
                  </a:lnTo>
                  <a:close/>
                  <a:moveTo>
                    <a:pt x="206" y="122"/>
                  </a:moveTo>
                  <a:cubicBezTo>
                    <a:pt x="206" y="122"/>
                    <a:pt x="209" y="122"/>
                    <a:pt x="208" y="124"/>
                  </a:cubicBezTo>
                  <a:cubicBezTo>
                    <a:pt x="208" y="125"/>
                    <a:pt x="213" y="124"/>
                    <a:pt x="213" y="123"/>
                  </a:cubicBezTo>
                  <a:cubicBezTo>
                    <a:pt x="214" y="122"/>
                    <a:pt x="210" y="121"/>
                    <a:pt x="207" y="118"/>
                  </a:cubicBezTo>
                  <a:cubicBezTo>
                    <a:pt x="205" y="116"/>
                    <a:pt x="205" y="117"/>
                    <a:pt x="204" y="118"/>
                  </a:cubicBezTo>
                  <a:cubicBezTo>
                    <a:pt x="202" y="118"/>
                    <a:pt x="205" y="120"/>
                    <a:pt x="203" y="119"/>
                  </a:cubicBezTo>
                  <a:cubicBezTo>
                    <a:pt x="202" y="119"/>
                    <a:pt x="202" y="120"/>
                    <a:pt x="204" y="122"/>
                  </a:cubicBezTo>
                  <a:cubicBezTo>
                    <a:pt x="205" y="123"/>
                    <a:pt x="206" y="123"/>
                    <a:pt x="206" y="122"/>
                  </a:cubicBezTo>
                  <a:close/>
                  <a:moveTo>
                    <a:pt x="265" y="88"/>
                  </a:moveTo>
                  <a:cubicBezTo>
                    <a:pt x="261" y="89"/>
                    <a:pt x="260" y="93"/>
                    <a:pt x="268" y="92"/>
                  </a:cubicBezTo>
                  <a:cubicBezTo>
                    <a:pt x="275" y="91"/>
                    <a:pt x="269" y="86"/>
                    <a:pt x="265" y="88"/>
                  </a:cubicBezTo>
                  <a:close/>
                  <a:moveTo>
                    <a:pt x="190" y="108"/>
                  </a:moveTo>
                  <a:cubicBezTo>
                    <a:pt x="188" y="105"/>
                    <a:pt x="185" y="106"/>
                    <a:pt x="187" y="99"/>
                  </a:cubicBezTo>
                  <a:cubicBezTo>
                    <a:pt x="188" y="93"/>
                    <a:pt x="195" y="93"/>
                    <a:pt x="190" y="90"/>
                  </a:cubicBezTo>
                  <a:cubicBezTo>
                    <a:pt x="185" y="88"/>
                    <a:pt x="189" y="89"/>
                    <a:pt x="180" y="90"/>
                  </a:cubicBezTo>
                  <a:cubicBezTo>
                    <a:pt x="171" y="91"/>
                    <a:pt x="178" y="92"/>
                    <a:pt x="173" y="94"/>
                  </a:cubicBezTo>
                  <a:cubicBezTo>
                    <a:pt x="169" y="96"/>
                    <a:pt x="174" y="95"/>
                    <a:pt x="172" y="99"/>
                  </a:cubicBezTo>
                  <a:cubicBezTo>
                    <a:pt x="170" y="103"/>
                    <a:pt x="168" y="98"/>
                    <a:pt x="167" y="102"/>
                  </a:cubicBezTo>
                  <a:cubicBezTo>
                    <a:pt x="165" y="106"/>
                    <a:pt x="165" y="107"/>
                    <a:pt x="170" y="107"/>
                  </a:cubicBezTo>
                  <a:cubicBezTo>
                    <a:pt x="176" y="107"/>
                    <a:pt x="167" y="108"/>
                    <a:pt x="173" y="111"/>
                  </a:cubicBezTo>
                  <a:cubicBezTo>
                    <a:pt x="178" y="114"/>
                    <a:pt x="174" y="105"/>
                    <a:pt x="177" y="109"/>
                  </a:cubicBezTo>
                  <a:cubicBezTo>
                    <a:pt x="180" y="113"/>
                    <a:pt x="172" y="113"/>
                    <a:pt x="179" y="114"/>
                  </a:cubicBezTo>
                  <a:cubicBezTo>
                    <a:pt x="185" y="115"/>
                    <a:pt x="181" y="116"/>
                    <a:pt x="187" y="116"/>
                  </a:cubicBezTo>
                  <a:cubicBezTo>
                    <a:pt x="192" y="116"/>
                    <a:pt x="193" y="118"/>
                    <a:pt x="198" y="115"/>
                  </a:cubicBezTo>
                  <a:cubicBezTo>
                    <a:pt x="200" y="114"/>
                    <a:pt x="191" y="112"/>
                    <a:pt x="190" y="108"/>
                  </a:cubicBezTo>
                  <a:close/>
                  <a:moveTo>
                    <a:pt x="196" y="88"/>
                  </a:moveTo>
                  <a:cubicBezTo>
                    <a:pt x="196" y="86"/>
                    <a:pt x="199" y="88"/>
                    <a:pt x="200" y="84"/>
                  </a:cubicBezTo>
                  <a:cubicBezTo>
                    <a:pt x="201" y="81"/>
                    <a:pt x="204" y="82"/>
                    <a:pt x="204" y="80"/>
                  </a:cubicBezTo>
                  <a:cubicBezTo>
                    <a:pt x="204" y="78"/>
                    <a:pt x="204" y="78"/>
                    <a:pt x="211" y="76"/>
                  </a:cubicBezTo>
                  <a:cubicBezTo>
                    <a:pt x="217" y="74"/>
                    <a:pt x="210" y="74"/>
                    <a:pt x="220" y="69"/>
                  </a:cubicBezTo>
                  <a:cubicBezTo>
                    <a:pt x="230" y="65"/>
                    <a:pt x="247" y="63"/>
                    <a:pt x="255" y="59"/>
                  </a:cubicBezTo>
                  <a:cubicBezTo>
                    <a:pt x="263" y="55"/>
                    <a:pt x="254" y="51"/>
                    <a:pt x="246" y="54"/>
                  </a:cubicBezTo>
                  <a:cubicBezTo>
                    <a:pt x="238" y="56"/>
                    <a:pt x="243" y="56"/>
                    <a:pt x="237" y="58"/>
                  </a:cubicBezTo>
                  <a:cubicBezTo>
                    <a:pt x="231" y="60"/>
                    <a:pt x="235" y="57"/>
                    <a:pt x="228" y="60"/>
                  </a:cubicBezTo>
                  <a:cubicBezTo>
                    <a:pt x="221" y="63"/>
                    <a:pt x="225" y="59"/>
                    <a:pt x="218" y="60"/>
                  </a:cubicBezTo>
                  <a:cubicBezTo>
                    <a:pt x="212" y="60"/>
                    <a:pt x="218" y="62"/>
                    <a:pt x="214" y="62"/>
                  </a:cubicBezTo>
                  <a:cubicBezTo>
                    <a:pt x="210" y="62"/>
                    <a:pt x="201" y="65"/>
                    <a:pt x="199" y="69"/>
                  </a:cubicBezTo>
                  <a:cubicBezTo>
                    <a:pt x="196" y="72"/>
                    <a:pt x="197" y="68"/>
                    <a:pt x="194" y="70"/>
                  </a:cubicBezTo>
                  <a:cubicBezTo>
                    <a:pt x="191" y="73"/>
                    <a:pt x="192" y="69"/>
                    <a:pt x="190" y="71"/>
                  </a:cubicBezTo>
                  <a:cubicBezTo>
                    <a:pt x="187" y="73"/>
                    <a:pt x="192" y="73"/>
                    <a:pt x="190" y="74"/>
                  </a:cubicBezTo>
                  <a:cubicBezTo>
                    <a:pt x="187" y="75"/>
                    <a:pt x="193" y="76"/>
                    <a:pt x="189" y="76"/>
                  </a:cubicBezTo>
                  <a:cubicBezTo>
                    <a:pt x="185" y="77"/>
                    <a:pt x="187" y="81"/>
                    <a:pt x="182" y="83"/>
                  </a:cubicBezTo>
                  <a:cubicBezTo>
                    <a:pt x="177" y="85"/>
                    <a:pt x="176" y="87"/>
                    <a:pt x="180" y="87"/>
                  </a:cubicBezTo>
                  <a:cubicBezTo>
                    <a:pt x="184" y="86"/>
                    <a:pt x="177" y="90"/>
                    <a:pt x="182" y="89"/>
                  </a:cubicBezTo>
                  <a:cubicBezTo>
                    <a:pt x="187" y="87"/>
                    <a:pt x="187" y="87"/>
                    <a:pt x="191" y="90"/>
                  </a:cubicBezTo>
                  <a:cubicBezTo>
                    <a:pt x="192" y="91"/>
                    <a:pt x="196" y="91"/>
                    <a:pt x="196" y="88"/>
                  </a:cubicBezTo>
                  <a:close/>
                  <a:moveTo>
                    <a:pt x="136" y="15"/>
                  </a:moveTo>
                  <a:cubicBezTo>
                    <a:pt x="138" y="15"/>
                    <a:pt x="138" y="17"/>
                    <a:pt x="141" y="16"/>
                  </a:cubicBezTo>
                  <a:cubicBezTo>
                    <a:pt x="145" y="14"/>
                    <a:pt x="145" y="13"/>
                    <a:pt x="149" y="14"/>
                  </a:cubicBezTo>
                  <a:cubicBezTo>
                    <a:pt x="152" y="15"/>
                    <a:pt x="154" y="14"/>
                    <a:pt x="148" y="12"/>
                  </a:cubicBezTo>
                  <a:cubicBezTo>
                    <a:pt x="141" y="11"/>
                    <a:pt x="146" y="13"/>
                    <a:pt x="141" y="13"/>
                  </a:cubicBezTo>
                  <a:cubicBezTo>
                    <a:pt x="135" y="14"/>
                    <a:pt x="130" y="15"/>
                    <a:pt x="134" y="16"/>
                  </a:cubicBezTo>
                  <a:cubicBezTo>
                    <a:pt x="136" y="16"/>
                    <a:pt x="135" y="16"/>
                    <a:pt x="136" y="15"/>
                  </a:cubicBezTo>
                  <a:close/>
                  <a:moveTo>
                    <a:pt x="146" y="19"/>
                  </a:moveTo>
                  <a:cubicBezTo>
                    <a:pt x="149" y="18"/>
                    <a:pt x="145" y="21"/>
                    <a:pt x="149" y="20"/>
                  </a:cubicBezTo>
                  <a:cubicBezTo>
                    <a:pt x="153" y="19"/>
                    <a:pt x="152" y="21"/>
                    <a:pt x="154" y="19"/>
                  </a:cubicBezTo>
                  <a:cubicBezTo>
                    <a:pt x="155" y="18"/>
                    <a:pt x="151" y="19"/>
                    <a:pt x="152" y="18"/>
                  </a:cubicBezTo>
                  <a:cubicBezTo>
                    <a:pt x="154" y="17"/>
                    <a:pt x="156" y="18"/>
                    <a:pt x="157" y="16"/>
                  </a:cubicBezTo>
                  <a:cubicBezTo>
                    <a:pt x="159" y="15"/>
                    <a:pt x="160" y="16"/>
                    <a:pt x="165" y="15"/>
                  </a:cubicBezTo>
                  <a:cubicBezTo>
                    <a:pt x="170" y="14"/>
                    <a:pt x="167" y="12"/>
                    <a:pt x="163" y="13"/>
                  </a:cubicBezTo>
                  <a:cubicBezTo>
                    <a:pt x="159" y="14"/>
                    <a:pt x="165" y="12"/>
                    <a:pt x="161" y="12"/>
                  </a:cubicBezTo>
                  <a:cubicBezTo>
                    <a:pt x="157" y="11"/>
                    <a:pt x="153" y="13"/>
                    <a:pt x="154" y="13"/>
                  </a:cubicBezTo>
                  <a:cubicBezTo>
                    <a:pt x="156" y="14"/>
                    <a:pt x="157" y="16"/>
                    <a:pt x="151" y="16"/>
                  </a:cubicBezTo>
                  <a:cubicBezTo>
                    <a:pt x="146" y="16"/>
                    <a:pt x="144" y="16"/>
                    <a:pt x="146" y="17"/>
                  </a:cubicBezTo>
                  <a:cubicBezTo>
                    <a:pt x="149" y="18"/>
                    <a:pt x="146" y="18"/>
                    <a:pt x="144" y="18"/>
                  </a:cubicBezTo>
                  <a:cubicBezTo>
                    <a:pt x="142" y="17"/>
                    <a:pt x="139" y="17"/>
                    <a:pt x="142" y="19"/>
                  </a:cubicBezTo>
                  <a:cubicBezTo>
                    <a:pt x="144" y="20"/>
                    <a:pt x="144" y="19"/>
                    <a:pt x="146" y="19"/>
                  </a:cubicBezTo>
                  <a:close/>
                  <a:moveTo>
                    <a:pt x="178" y="18"/>
                  </a:moveTo>
                  <a:cubicBezTo>
                    <a:pt x="176" y="16"/>
                    <a:pt x="175" y="16"/>
                    <a:pt x="171" y="18"/>
                  </a:cubicBezTo>
                  <a:cubicBezTo>
                    <a:pt x="168" y="19"/>
                    <a:pt x="181" y="21"/>
                    <a:pt x="178" y="18"/>
                  </a:cubicBezTo>
                  <a:close/>
                  <a:moveTo>
                    <a:pt x="163" y="9"/>
                  </a:moveTo>
                  <a:cubicBezTo>
                    <a:pt x="166" y="8"/>
                    <a:pt x="163" y="7"/>
                    <a:pt x="161" y="9"/>
                  </a:cubicBezTo>
                  <a:cubicBezTo>
                    <a:pt x="158" y="11"/>
                    <a:pt x="161" y="10"/>
                    <a:pt x="163" y="9"/>
                  </a:cubicBezTo>
                  <a:close/>
                  <a:moveTo>
                    <a:pt x="231" y="13"/>
                  </a:moveTo>
                  <a:cubicBezTo>
                    <a:pt x="236" y="12"/>
                    <a:pt x="239" y="13"/>
                    <a:pt x="239" y="10"/>
                  </a:cubicBezTo>
                  <a:cubicBezTo>
                    <a:pt x="239" y="8"/>
                    <a:pt x="234" y="7"/>
                    <a:pt x="232" y="9"/>
                  </a:cubicBezTo>
                  <a:cubicBezTo>
                    <a:pt x="231" y="11"/>
                    <a:pt x="229" y="9"/>
                    <a:pt x="225" y="12"/>
                  </a:cubicBezTo>
                  <a:cubicBezTo>
                    <a:pt x="222" y="13"/>
                    <a:pt x="226" y="14"/>
                    <a:pt x="231" y="13"/>
                  </a:cubicBezTo>
                  <a:close/>
                  <a:moveTo>
                    <a:pt x="231" y="3"/>
                  </a:moveTo>
                  <a:cubicBezTo>
                    <a:pt x="232" y="2"/>
                    <a:pt x="225" y="2"/>
                    <a:pt x="222" y="3"/>
                  </a:cubicBezTo>
                  <a:cubicBezTo>
                    <a:pt x="221" y="3"/>
                    <a:pt x="229" y="5"/>
                    <a:pt x="231" y="3"/>
                  </a:cubicBezTo>
                  <a:close/>
                  <a:moveTo>
                    <a:pt x="208" y="2"/>
                  </a:moveTo>
                  <a:cubicBezTo>
                    <a:pt x="208" y="0"/>
                    <a:pt x="201" y="0"/>
                    <a:pt x="200" y="2"/>
                  </a:cubicBezTo>
                  <a:cubicBezTo>
                    <a:pt x="199" y="4"/>
                    <a:pt x="207" y="3"/>
                    <a:pt x="208" y="2"/>
                  </a:cubicBezTo>
                  <a:close/>
                  <a:moveTo>
                    <a:pt x="216" y="11"/>
                  </a:moveTo>
                  <a:cubicBezTo>
                    <a:pt x="219" y="11"/>
                    <a:pt x="224" y="7"/>
                    <a:pt x="215" y="9"/>
                  </a:cubicBezTo>
                  <a:cubicBezTo>
                    <a:pt x="208" y="11"/>
                    <a:pt x="213" y="12"/>
                    <a:pt x="216" y="11"/>
                  </a:cubicBezTo>
                  <a:close/>
                  <a:moveTo>
                    <a:pt x="215" y="16"/>
                  </a:moveTo>
                  <a:cubicBezTo>
                    <a:pt x="219" y="17"/>
                    <a:pt x="218" y="15"/>
                    <a:pt x="221" y="15"/>
                  </a:cubicBezTo>
                  <a:cubicBezTo>
                    <a:pt x="224" y="15"/>
                    <a:pt x="223" y="9"/>
                    <a:pt x="217" y="12"/>
                  </a:cubicBezTo>
                  <a:cubicBezTo>
                    <a:pt x="211" y="14"/>
                    <a:pt x="209" y="9"/>
                    <a:pt x="207" y="14"/>
                  </a:cubicBezTo>
                  <a:cubicBezTo>
                    <a:pt x="205" y="19"/>
                    <a:pt x="211" y="15"/>
                    <a:pt x="215" y="16"/>
                  </a:cubicBezTo>
                  <a:close/>
                  <a:moveTo>
                    <a:pt x="159" y="20"/>
                  </a:moveTo>
                  <a:cubicBezTo>
                    <a:pt x="161" y="19"/>
                    <a:pt x="161" y="18"/>
                    <a:pt x="158" y="19"/>
                  </a:cubicBezTo>
                  <a:cubicBezTo>
                    <a:pt x="155" y="19"/>
                    <a:pt x="157" y="22"/>
                    <a:pt x="159" y="20"/>
                  </a:cubicBezTo>
                  <a:close/>
                  <a:moveTo>
                    <a:pt x="165" y="22"/>
                  </a:moveTo>
                  <a:cubicBezTo>
                    <a:pt x="169" y="22"/>
                    <a:pt x="164" y="19"/>
                    <a:pt x="161" y="21"/>
                  </a:cubicBezTo>
                  <a:cubicBezTo>
                    <a:pt x="157" y="22"/>
                    <a:pt x="161" y="22"/>
                    <a:pt x="165" y="22"/>
                  </a:cubicBezTo>
                  <a:close/>
                  <a:moveTo>
                    <a:pt x="195" y="21"/>
                  </a:moveTo>
                  <a:cubicBezTo>
                    <a:pt x="198" y="21"/>
                    <a:pt x="196" y="17"/>
                    <a:pt x="194" y="18"/>
                  </a:cubicBezTo>
                  <a:cubicBezTo>
                    <a:pt x="192" y="18"/>
                    <a:pt x="189" y="17"/>
                    <a:pt x="189" y="19"/>
                  </a:cubicBezTo>
                  <a:cubicBezTo>
                    <a:pt x="188" y="22"/>
                    <a:pt x="191" y="20"/>
                    <a:pt x="195" y="21"/>
                  </a:cubicBezTo>
                  <a:close/>
                  <a:moveTo>
                    <a:pt x="200" y="20"/>
                  </a:moveTo>
                  <a:cubicBezTo>
                    <a:pt x="203" y="21"/>
                    <a:pt x="199" y="18"/>
                    <a:pt x="204" y="18"/>
                  </a:cubicBezTo>
                  <a:cubicBezTo>
                    <a:pt x="208" y="18"/>
                    <a:pt x="208" y="17"/>
                    <a:pt x="203" y="16"/>
                  </a:cubicBezTo>
                  <a:cubicBezTo>
                    <a:pt x="199" y="16"/>
                    <a:pt x="194" y="16"/>
                    <a:pt x="196" y="18"/>
                  </a:cubicBezTo>
                  <a:cubicBezTo>
                    <a:pt x="197" y="19"/>
                    <a:pt x="197" y="19"/>
                    <a:pt x="200" y="20"/>
                  </a:cubicBezTo>
                  <a:close/>
                  <a:moveTo>
                    <a:pt x="205" y="20"/>
                  </a:moveTo>
                  <a:cubicBezTo>
                    <a:pt x="202" y="22"/>
                    <a:pt x="206" y="22"/>
                    <a:pt x="209" y="22"/>
                  </a:cubicBezTo>
                  <a:cubicBezTo>
                    <a:pt x="213" y="21"/>
                    <a:pt x="209" y="20"/>
                    <a:pt x="206" y="20"/>
                  </a:cubicBezTo>
                  <a:lnTo>
                    <a:pt x="205" y="20"/>
                  </a:lnTo>
                  <a:close/>
                  <a:moveTo>
                    <a:pt x="196" y="6"/>
                  </a:moveTo>
                  <a:cubicBezTo>
                    <a:pt x="198" y="6"/>
                    <a:pt x="199" y="6"/>
                    <a:pt x="202" y="6"/>
                  </a:cubicBezTo>
                  <a:cubicBezTo>
                    <a:pt x="205" y="6"/>
                    <a:pt x="203" y="6"/>
                    <a:pt x="200" y="5"/>
                  </a:cubicBezTo>
                  <a:cubicBezTo>
                    <a:pt x="197" y="4"/>
                    <a:pt x="198" y="4"/>
                    <a:pt x="195" y="5"/>
                  </a:cubicBezTo>
                  <a:cubicBezTo>
                    <a:pt x="193" y="6"/>
                    <a:pt x="193" y="6"/>
                    <a:pt x="196" y="6"/>
                  </a:cubicBezTo>
                  <a:close/>
                  <a:moveTo>
                    <a:pt x="192" y="8"/>
                  </a:moveTo>
                  <a:cubicBezTo>
                    <a:pt x="193" y="9"/>
                    <a:pt x="194" y="8"/>
                    <a:pt x="199" y="7"/>
                  </a:cubicBezTo>
                  <a:cubicBezTo>
                    <a:pt x="201" y="7"/>
                    <a:pt x="196" y="6"/>
                    <a:pt x="193" y="6"/>
                  </a:cubicBezTo>
                  <a:cubicBezTo>
                    <a:pt x="189" y="6"/>
                    <a:pt x="194" y="8"/>
                    <a:pt x="191" y="7"/>
                  </a:cubicBezTo>
                  <a:cubicBezTo>
                    <a:pt x="189" y="7"/>
                    <a:pt x="186" y="7"/>
                    <a:pt x="187" y="8"/>
                  </a:cubicBezTo>
                  <a:cubicBezTo>
                    <a:pt x="189" y="9"/>
                    <a:pt x="189" y="7"/>
                    <a:pt x="192" y="8"/>
                  </a:cubicBezTo>
                  <a:close/>
                  <a:moveTo>
                    <a:pt x="204" y="11"/>
                  </a:moveTo>
                  <a:cubicBezTo>
                    <a:pt x="205" y="10"/>
                    <a:pt x="201" y="9"/>
                    <a:pt x="200" y="9"/>
                  </a:cubicBezTo>
                  <a:cubicBezTo>
                    <a:pt x="199" y="10"/>
                    <a:pt x="202" y="11"/>
                    <a:pt x="204" y="11"/>
                  </a:cubicBezTo>
                  <a:close/>
                  <a:moveTo>
                    <a:pt x="205" y="13"/>
                  </a:moveTo>
                  <a:cubicBezTo>
                    <a:pt x="206" y="13"/>
                    <a:pt x="207" y="11"/>
                    <a:pt x="202" y="12"/>
                  </a:cubicBezTo>
                  <a:cubicBezTo>
                    <a:pt x="197" y="13"/>
                    <a:pt x="203" y="13"/>
                    <a:pt x="205" y="13"/>
                  </a:cubicBezTo>
                  <a:close/>
                  <a:moveTo>
                    <a:pt x="194" y="11"/>
                  </a:moveTo>
                  <a:cubicBezTo>
                    <a:pt x="196" y="11"/>
                    <a:pt x="196" y="12"/>
                    <a:pt x="200" y="12"/>
                  </a:cubicBezTo>
                  <a:cubicBezTo>
                    <a:pt x="204" y="11"/>
                    <a:pt x="201" y="11"/>
                    <a:pt x="199" y="10"/>
                  </a:cubicBezTo>
                  <a:cubicBezTo>
                    <a:pt x="196" y="10"/>
                    <a:pt x="192" y="9"/>
                    <a:pt x="191" y="9"/>
                  </a:cubicBezTo>
                  <a:cubicBezTo>
                    <a:pt x="190" y="10"/>
                    <a:pt x="193" y="10"/>
                    <a:pt x="194" y="11"/>
                  </a:cubicBezTo>
                  <a:close/>
                  <a:moveTo>
                    <a:pt x="186" y="11"/>
                  </a:moveTo>
                  <a:cubicBezTo>
                    <a:pt x="188" y="11"/>
                    <a:pt x="185" y="11"/>
                    <a:pt x="190" y="12"/>
                  </a:cubicBezTo>
                  <a:cubicBezTo>
                    <a:pt x="196" y="13"/>
                    <a:pt x="195" y="14"/>
                    <a:pt x="198" y="13"/>
                  </a:cubicBezTo>
                  <a:cubicBezTo>
                    <a:pt x="200" y="12"/>
                    <a:pt x="198" y="13"/>
                    <a:pt x="196" y="12"/>
                  </a:cubicBezTo>
                  <a:cubicBezTo>
                    <a:pt x="193" y="11"/>
                    <a:pt x="191" y="10"/>
                    <a:pt x="188" y="10"/>
                  </a:cubicBezTo>
                  <a:cubicBezTo>
                    <a:pt x="186" y="11"/>
                    <a:pt x="184" y="8"/>
                    <a:pt x="182" y="10"/>
                  </a:cubicBezTo>
                  <a:cubicBezTo>
                    <a:pt x="181" y="11"/>
                    <a:pt x="184" y="10"/>
                    <a:pt x="186" y="11"/>
                  </a:cubicBezTo>
                  <a:close/>
                  <a:moveTo>
                    <a:pt x="182" y="13"/>
                  </a:moveTo>
                  <a:cubicBezTo>
                    <a:pt x="184" y="13"/>
                    <a:pt x="183" y="14"/>
                    <a:pt x="185" y="13"/>
                  </a:cubicBezTo>
                  <a:cubicBezTo>
                    <a:pt x="187" y="13"/>
                    <a:pt x="190" y="13"/>
                    <a:pt x="189" y="13"/>
                  </a:cubicBezTo>
                  <a:cubicBezTo>
                    <a:pt x="188" y="13"/>
                    <a:pt x="185" y="11"/>
                    <a:pt x="184" y="12"/>
                  </a:cubicBezTo>
                  <a:cubicBezTo>
                    <a:pt x="183" y="13"/>
                    <a:pt x="181" y="11"/>
                    <a:pt x="179" y="12"/>
                  </a:cubicBezTo>
                  <a:cubicBezTo>
                    <a:pt x="179" y="13"/>
                    <a:pt x="180" y="13"/>
                    <a:pt x="182" y="13"/>
                  </a:cubicBezTo>
                  <a:close/>
                  <a:moveTo>
                    <a:pt x="194" y="14"/>
                  </a:moveTo>
                  <a:cubicBezTo>
                    <a:pt x="196" y="14"/>
                    <a:pt x="193" y="13"/>
                    <a:pt x="191" y="13"/>
                  </a:cubicBezTo>
                  <a:cubicBezTo>
                    <a:pt x="188" y="13"/>
                    <a:pt x="187" y="14"/>
                    <a:pt x="188" y="14"/>
                  </a:cubicBezTo>
                  <a:cubicBezTo>
                    <a:pt x="189" y="15"/>
                    <a:pt x="192" y="14"/>
                    <a:pt x="194" y="14"/>
                  </a:cubicBezTo>
                  <a:close/>
                  <a:moveTo>
                    <a:pt x="200" y="14"/>
                  </a:moveTo>
                  <a:cubicBezTo>
                    <a:pt x="198" y="14"/>
                    <a:pt x="195" y="15"/>
                    <a:pt x="198" y="15"/>
                  </a:cubicBezTo>
                  <a:cubicBezTo>
                    <a:pt x="201" y="16"/>
                    <a:pt x="201" y="14"/>
                    <a:pt x="200" y="14"/>
                  </a:cubicBezTo>
                  <a:close/>
                  <a:moveTo>
                    <a:pt x="181" y="15"/>
                  </a:moveTo>
                  <a:cubicBezTo>
                    <a:pt x="180" y="14"/>
                    <a:pt x="178" y="15"/>
                    <a:pt x="179" y="15"/>
                  </a:cubicBezTo>
                  <a:cubicBezTo>
                    <a:pt x="180" y="16"/>
                    <a:pt x="177" y="17"/>
                    <a:pt x="181" y="16"/>
                  </a:cubicBezTo>
                  <a:cubicBezTo>
                    <a:pt x="183" y="16"/>
                    <a:pt x="182" y="16"/>
                    <a:pt x="181" y="15"/>
                  </a:cubicBezTo>
                  <a:close/>
                  <a:moveTo>
                    <a:pt x="836" y="165"/>
                  </a:moveTo>
                  <a:cubicBezTo>
                    <a:pt x="839" y="162"/>
                    <a:pt x="839" y="162"/>
                    <a:pt x="837" y="159"/>
                  </a:cubicBezTo>
                  <a:cubicBezTo>
                    <a:pt x="834" y="156"/>
                    <a:pt x="840" y="154"/>
                    <a:pt x="842" y="161"/>
                  </a:cubicBezTo>
                  <a:cubicBezTo>
                    <a:pt x="845" y="167"/>
                    <a:pt x="854" y="157"/>
                    <a:pt x="857" y="165"/>
                  </a:cubicBezTo>
                  <a:cubicBezTo>
                    <a:pt x="861" y="173"/>
                    <a:pt x="864" y="167"/>
                    <a:pt x="866" y="172"/>
                  </a:cubicBezTo>
                  <a:cubicBezTo>
                    <a:pt x="869" y="176"/>
                    <a:pt x="876" y="172"/>
                    <a:pt x="876" y="166"/>
                  </a:cubicBezTo>
                  <a:cubicBezTo>
                    <a:pt x="876" y="159"/>
                    <a:pt x="881" y="164"/>
                    <a:pt x="887" y="158"/>
                  </a:cubicBezTo>
                  <a:cubicBezTo>
                    <a:pt x="892" y="153"/>
                    <a:pt x="884" y="158"/>
                    <a:pt x="881" y="152"/>
                  </a:cubicBezTo>
                  <a:cubicBezTo>
                    <a:pt x="878" y="147"/>
                    <a:pt x="873" y="148"/>
                    <a:pt x="867" y="148"/>
                  </a:cubicBezTo>
                  <a:cubicBezTo>
                    <a:pt x="860" y="147"/>
                    <a:pt x="873" y="159"/>
                    <a:pt x="865" y="154"/>
                  </a:cubicBezTo>
                  <a:cubicBezTo>
                    <a:pt x="857" y="150"/>
                    <a:pt x="869" y="146"/>
                    <a:pt x="856" y="140"/>
                  </a:cubicBezTo>
                  <a:cubicBezTo>
                    <a:pt x="849" y="137"/>
                    <a:pt x="842" y="134"/>
                    <a:pt x="836" y="131"/>
                  </a:cubicBezTo>
                  <a:lnTo>
                    <a:pt x="836" y="165"/>
                  </a:lnTo>
                  <a:close/>
                  <a:moveTo>
                    <a:pt x="836" y="113"/>
                  </a:moveTo>
                  <a:cubicBezTo>
                    <a:pt x="839" y="112"/>
                    <a:pt x="842" y="112"/>
                    <a:pt x="846" y="111"/>
                  </a:cubicBezTo>
                  <a:cubicBezTo>
                    <a:pt x="854" y="110"/>
                    <a:pt x="845" y="105"/>
                    <a:pt x="839" y="105"/>
                  </a:cubicBezTo>
                  <a:cubicBezTo>
                    <a:pt x="838" y="106"/>
                    <a:pt x="837" y="106"/>
                    <a:pt x="836" y="106"/>
                  </a:cubicBezTo>
                  <a:lnTo>
                    <a:pt x="836" y="113"/>
                  </a:lnTo>
                  <a:close/>
                  <a:moveTo>
                    <a:pt x="636" y="271"/>
                  </a:moveTo>
                  <a:cubicBezTo>
                    <a:pt x="635" y="273"/>
                    <a:pt x="637" y="272"/>
                    <a:pt x="636" y="274"/>
                  </a:cubicBezTo>
                  <a:cubicBezTo>
                    <a:pt x="635" y="276"/>
                    <a:pt x="637" y="276"/>
                    <a:pt x="637" y="277"/>
                  </a:cubicBezTo>
                  <a:cubicBezTo>
                    <a:pt x="636" y="277"/>
                    <a:pt x="638" y="277"/>
                    <a:pt x="639" y="280"/>
                  </a:cubicBezTo>
                  <a:cubicBezTo>
                    <a:pt x="640" y="282"/>
                    <a:pt x="637" y="284"/>
                    <a:pt x="638" y="286"/>
                  </a:cubicBezTo>
                  <a:cubicBezTo>
                    <a:pt x="639" y="289"/>
                    <a:pt x="638" y="297"/>
                    <a:pt x="637" y="299"/>
                  </a:cubicBezTo>
                  <a:cubicBezTo>
                    <a:pt x="636" y="301"/>
                    <a:pt x="640" y="301"/>
                    <a:pt x="638" y="307"/>
                  </a:cubicBezTo>
                  <a:cubicBezTo>
                    <a:pt x="636" y="310"/>
                    <a:pt x="639" y="312"/>
                    <a:pt x="638" y="314"/>
                  </a:cubicBezTo>
                  <a:cubicBezTo>
                    <a:pt x="636" y="316"/>
                    <a:pt x="637" y="317"/>
                    <a:pt x="637" y="319"/>
                  </a:cubicBezTo>
                  <a:cubicBezTo>
                    <a:pt x="638" y="322"/>
                    <a:pt x="639" y="321"/>
                    <a:pt x="639" y="318"/>
                  </a:cubicBezTo>
                  <a:cubicBezTo>
                    <a:pt x="640" y="315"/>
                    <a:pt x="641" y="314"/>
                    <a:pt x="642" y="315"/>
                  </a:cubicBezTo>
                  <a:cubicBezTo>
                    <a:pt x="642" y="316"/>
                    <a:pt x="643" y="315"/>
                    <a:pt x="644" y="316"/>
                  </a:cubicBezTo>
                  <a:cubicBezTo>
                    <a:pt x="645" y="316"/>
                    <a:pt x="645" y="320"/>
                    <a:pt x="645" y="319"/>
                  </a:cubicBezTo>
                  <a:cubicBezTo>
                    <a:pt x="647" y="316"/>
                    <a:pt x="646" y="317"/>
                    <a:pt x="646" y="315"/>
                  </a:cubicBezTo>
                  <a:cubicBezTo>
                    <a:pt x="646" y="313"/>
                    <a:pt x="646" y="314"/>
                    <a:pt x="644" y="314"/>
                  </a:cubicBezTo>
                  <a:cubicBezTo>
                    <a:pt x="643" y="313"/>
                    <a:pt x="643" y="311"/>
                    <a:pt x="642" y="309"/>
                  </a:cubicBezTo>
                  <a:cubicBezTo>
                    <a:pt x="639" y="307"/>
                    <a:pt x="641" y="301"/>
                    <a:pt x="642" y="299"/>
                  </a:cubicBezTo>
                  <a:cubicBezTo>
                    <a:pt x="644" y="298"/>
                    <a:pt x="642" y="296"/>
                    <a:pt x="644" y="295"/>
                  </a:cubicBezTo>
                  <a:cubicBezTo>
                    <a:pt x="646" y="295"/>
                    <a:pt x="648" y="295"/>
                    <a:pt x="650" y="297"/>
                  </a:cubicBezTo>
                  <a:cubicBezTo>
                    <a:pt x="651" y="299"/>
                    <a:pt x="652" y="301"/>
                    <a:pt x="652" y="299"/>
                  </a:cubicBezTo>
                  <a:cubicBezTo>
                    <a:pt x="652" y="298"/>
                    <a:pt x="650" y="296"/>
                    <a:pt x="649" y="294"/>
                  </a:cubicBezTo>
                  <a:cubicBezTo>
                    <a:pt x="649" y="291"/>
                    <a:pt x="647" y="287"/>
                    <a:pt x="646" y="284"/>
                  </a:cubicBezTo>
                  <a:cubicBezTo>
                    <a:pt x="646" y="281"/>
                    <a:pt x="645" y="280"/>
                    <a:pt x="645" y="278"/>
                  </a:cubicBezTo>
                  <a:cubicBezTo>
                    <a:pt x="645" y="276"/>
                    <a:pt x="644" y="279"/>
                    <a:pt x="644" y="277"/>
                  </a:cubicBezTo>
                  <a:cubicBezTo>
                    <a:pt x="645" y="274"/>
                    <a:pt x="644" y="277"/>
                    <a:pt x="644" y="275"/>
                  </a:cubicBezTo>
                  <a:cubicBezTo>
                    <a:pt x="643" y="272"/>
                    <a:pt x="646" y="272"/>
                    <a:pt x="645" y="266"/>
                  </a:cubicBezTo>
                  <a:cubicBezTo>
                    <a:pt x="644" y="262"/>
                    <a:pt x="643" y="264"/>
                    <a:pt x="644" y="263"/>
                  </a:cubicBezTo>
                  <a:cubicBezTo>
                    <a:pt x="644" y="262"/>
                    <a:pt x="643" y="263"/>
                    <a:pt x="643" y="262"/>
                  </a:cubicBezTo>
                  <a:cubicBezTo>
                    <a:pt x="643" y="260"/>
                    <a:pt x="642" y="260"/>
                    <a:pt x="643" y="259"/>
                  </a:cubicBezTo>
                  <a:cubicBezTo>
                    <a:pt x="644" y="258"/>
                    <a:pt x="643" y="257"/>
                    <a:pt x="642" y="256"/>
                  </a:cubicBezTo>
                  <a:cubicBezTo>
                    <a:pt x="641" y="254"/>
                    <a:pt x="642" y="256"/>
                    <a:pt x="640" y="256"/>
                  </a:cubicBezTo>
                  <a:cubicBezTo>
                    <a:pt x="638" y="257"/>
                    <a:pt x="642" y="258"/>
                    <a:pt x="641" y="260"/>
                  </a:cubicBezTo>
                  <a:cubicBezTo>
                    <a:pt x="641" y="262"/>
                    <a:pt x="640" y="261"/>
                    <a:pt x="640" y="262"/>
                  </a:cubicBezTo>
                  <a:cubicBezTo>
                    <a:pt x="640" y="263"/>
                    <a:pt x="642" y="262"/>
                    <a:pt x="640" y="263"/>
                  </a:cubicBezTo>
                  <a:cubicBezTo>
                    <a:pt x="639" y="265"/>
                    <a:pt x="640" y="262"/>
                    <a:pt x="638" y="263"/>
                  </a:cubicBezTo>
                  <a:cubicBezTo>
                    <a:pt x="637" y="263"/>
                    <a:pt x="636" y="263"/>
                    <a:pt x="637" y="265"/>
                  </a:cubicBezTo>
                  <a:cubicBezTo>
                    <a:pt x="637" y="266"/>
                    <a:pt x="637" y="268"/>
                    <a:pt x="636" y="271"/>
                  </a:cubicBezTo>
                  <a:close/>
                  <a:moveTo>
                    <a:pt x="661" y="333"/>
                  </a:moveTo>
                  <a:cubicBezTo>
                    <a:pt x="663" y="332"/>
                    <a:pt x="659" y="331"/>
                    <a:pt x="659" y="332"/>
                  </a:cubicBezTo>
                  <a:cubicBezTo>
                    <a:pt x="658" y="334"/>
                    <a:pt x="655" y="335"/>
                    <a:pt x="656" y="337"/>
                  </a:cubicBezTo>
                  <a:cubicBezTo>
                    <a:pt x="657" y="338"/>
                    <a:pt x="657" y="334"/>
                    <a:pt x="661" y="333"/>
                  </a:cubicBezTo>
                  <a:close/>
                  <a:moveTo>
                    <a:pt x="666" y="329"/>
                  </a:moveTo>
                  <a:cubicBezTo>
                    <a:pt x="668" y="327"/>
                    <a:pt x="668" y="328"/>
                    <a:pt x="670" y="326"/>
                  </a:cubicBezTo>
                  <a:cubicBezTo>
                    <a:pt x="672" y="325"/>
                    <a:pt x="675" y="326"/>
                    <a:pt x="673" y="324"/>
                  </a:cubicBezTo>
                  <a:cubicBezTo>
                    <a:pt x="672" y="323"/>
                    <a:pt x="671" y="326"/>
                    <a:pt x="669" y="325"/>
                  </a:cubicBezTo>
                  <a:cubicBezTo>
                    <a:pt x="668" y="324"/>
                    <a:pt x="670" y="326"/>
                    <a:pt x="668" y="326"/>
                  </a:cubicBezTo>
                  <a:cubicBezTo>
                    <a:pt x="666" y="327"/>
                    <a:pt x="664" y="328"/>
                    <a:pt x="663" y="331"/>
                  </a:cubicBezTo>
                  <a:cubicBezTo>
                    <a:pt x="663" y="332"/>
                    <a:pt x="665" y="332"/>
                    <a:pt x="666" y="329"/>
                  </a:cubicBezTo>
                  <a:close/>
                  <a:moveTo>
                    <a:pt x="682" y="318"/>
                  </a:moveTo>
                  <a:cubicBezTo>
                    <a:pt x="681" y="318"/>
                    <a:pt x="678" y="320"/>
                    <a:pt x="677" y="322"/>
                  </a:cubicBezTo>
                  <a:cubicBezTo>
                    <a:pt x="676" y="325"/>
                    <a:pt x="683" y="319"/>
                    <a:pt x="682" y="318"/>
                  </a:cubicBezTo>
                  <a:close/>
                  <a:moveTo>
                    <a:pt x="705" y="293"/>
                  </a:moveTo>
                  <a:cubicBezTo>
                    <a:pt x="704" y="292"/>
                    <a:pt x="703" y="296"/>
                    <a:pt x="703" y="297"/>
                  </a:cubicBezTo>
                  <a:cubicBezTo>
                    <a:pt x="703" y="297"/>
                    <a:pt x="706" y="294"/>
                    <a:pt x="705" y="293"/>
                  </a:cubicBezTo>
                  <a:close/>
                  <a:moveTo>
                    <a:pt x="702" y="298"/>
                  </a:moveTo>
                  <a:cubicBezTo>
                    <a:pt x="702" y="298"/>
                    <a:pt x="701" y="299"/>
                    <a:pt x="700" y="299"/>
                  </a:cubicBezTo>
                  <a:cubicBezTo>
                    <a:pt x="700" y="300"/>
                    <a:pt x="702" y="299"/>
                    <a:pt x="702" y="298"/>
                  </a:cubicBezTo>
                  <a:close/>
                  <a:moveTo>
                    <a:pt x="696" y="306"/>
                  </a:moveTo>
                  <a:cubicBezTo>
                    <a:pt x="695" y="306"/>
                    <a:pt x="695" y="307"/>
                    <a:pt x="696" y="307"/>
                  </a:cubicBezTo>
                  <a:cubicBezTo>
                    <a:pt x="696" y="308"/>
                    <a:pt x="696" y="307"/>
                    <a:pt x="696" y="306"/>
                  </a:cubicBezTo>
                  <a:close/>
                  <a:moveTo>
                    <a:pt x="693" y="310"/>
                  </a:moveTo>
                  <a:cubicBezTo>
                    <a:pt x="693" y="309"/>
                    <a:pt x="692" y="310"/>
                    <a:pt x="692" y="310"/>
                  </a:cubicBezTo>
                  <a:cubicBezTo>
                    <a:pt x="693" y="311"/>
                    <a:pt x="693" y="310"/>
                    <a:pt x="693" y="310"/>
                  </a:cubicBezTo>
                  <a:close/>
                  <a:moveTo>
                    <a:pt x="710" y="288"/>
                  </a:moveTo>
                  <a:cubicBezTo>
                    <a:pt x="712" y="288"/>
                    <a:pt x="712" y="284"/>
                    <a:pt x="711" y="284"/>
                  </a:cubicBezTo>
                  <a:cubicBezTo>
                    <a:pt x="710" y="284"/>
                    <a:pt x="710" y="286"/>
                    <a:pt x="709" y="287"/>
                  </a:cubicBezTo>
                  <a:cubicBezTo>
                    <a:pt x="707" y="287"/>
                    <a:pt x="706" y="288"/>
                    <a:pt x="707" y="289"/>
                  </a:cubicBezTo>
                  <a:cubicBezTo>
                    <a:pt x="708" y="291"/>
                    <a:pt x="708" y="289"/>
                    <a:pt x="710" y="288"/>
                  </a:cubicBezTo>
                  <a:close/>
                  <a:moveTo>
                    <a:pt x="714" y="283"/>
                  </a:moveTo>
                  <a:cubicBezTo>
                    <a:pt x="713" y="283"/>
                    <a:pt x="711" y="284"/>
                    <a:pt x="712" y="285"/>
                  </a:cubicBezTo>
                  <a:cubicBezTo>
                    <a:pt x="713" y="285"/>
                    <a:pt x="714" y="284"/>
                    <a:pt x="714" y="283"/>
                  </a:cubicBezTo>
                  <a:close/>
                  <a:moveTo>
                    <a:pt x="766" y="253"/>
                  </a:moveTo>
                  <a:cubicBezTo>
                    <a:pt x="768" y="255"/>
                    <a:pt x="765" y="247"/>
                    <a:pt x="763" y="248"/>
                  </a:cubicBezTo>
                  <a:cubicBezTo>
                    <a:pt x="762" y="249"/>
                    <a:pt x="764" y="251"/>
                    <a:pt x="766" y="253"/>
                  </a:cubicBezTo>
                  <a:close/>
                  <a:moveTo>
                    <a:pt x="0" y="255"/>
                  </a:moveTo>
                  <a:cubicBezTo>
                    <a:pt x="7" y="256"/>
                    <a:pt x="13" y="257"/>
                    <a:pt x="17" y="256"/>
                  </a:cubicBezTo>
                  <a:cubicBezTo>
                    <a:pt x="16" y="253"/>
                    <a:pt x="18" y="252"/>
                    <a:pt x="16" y="251"/>
                  </a:cubicBezTo>
                  <a:cubicBezTo>
                    <a:pt x="14" y="249"/>
                    <a:pt x="16" y="252"/>
                    <a:pt x="9" y="249"/>
                  </a:cubicBezTo>
                  <a:cubicBezTo>
                    <a:pt x="9" y="250"/>
                    <a:pt x="8" y="249"/>
                    <a:pt x="9" y="250"/>
                  </a:cubicBezTo>
                  <a:cubicBezTo>
                    <a:pt x="9" y="252"/>
                    <a:pt x="7" y="252"/>
                    <a:pt x="6" y="252"/>
                  </a:cubicBezTo>
                  <a:cubicBezTo>
                    <a:pt x="5" y="251"/>
                    <a:pt x="7" y="250"/>
                    <a:pt x="7" y="249"/>
                  </a:cubicBezTo>
                  <a:cubicBezTo>
                    <a:pt x="8" y="248"/>
                    <a:pt x="7" y="248"/>
                    <a:pt x="6" y="250"/>
                  </a:cubicBezTo>
                  <a:cubicBezTo>
                    <a:pt x="4" y="252"/>
                    <a:pt x="5" y="251"/>
                    <a:pt x="3" y="251"/>
                  </a:cubicBezTo>
                  <a:cubicBezTo>
                    <a:pt x="1" y="251"/>
                    <a:pt x="3" y="253"/>
                    <a:pt x="0" y="255"/>
                  </a:cubicBezTo>
                  <a:close/>
                  <a:moveTo>
                    <a:pt x="756" y="217"/>
                  </a:moveTo>
                  <a:cubicBezTo>
                    <a:pt x="756" y="215"/>
                    <a:pt x="753" y="217"/>
                    <a:pt x="750" y="220"/>
                  </a:cubicBezTo>
                  <a:cubicBezTo>
                    <a:pt x="749" y="222"/>
                    <a:pt x="756" y="219"/>
                    <a:pt x="756" y="217"/>
                  </a:cubicBezTo>
                  <a:close/>
                  <a:moveTo>
                    <a:pt x="616" y="250"/>
                  </a:moveTo>
                  <a:cubicBezTo>
                    <a:pt x="614" y="249"/>
                    <a:pt x="613" y="251"/>
                    <a:pt x="615" y="253"/>
                  </a:cubicBezTo>
                  <a:cubicBezTo>
                    <a:pt x="617" y="254"/>
                    <a:pt x="619" y="250"/>
                    <a:pt x="616" y="250"/>
                  </a:cubicBezTo>
                  <a:close/>
                  <a:moveTo>
                    <a:pt x="836" y="106"/>
                  </a:moveTo>
                  <a:cubicBezTo>
                    <a:pt x="832" y="107"/>
                    <a:pt x="829" y="110"/>
                    <a:pt x="828" y="112"/>
                  </a:cubicBezTo>
                  <a:cubicBezTo>
                    <a:pt x="828" y="114"/>
                    <a:pt x="832" y="114"/>
                    <a:pt x="836" y="113"/>
                  </a:cubicBezTo>
                  <a:moveTo>
                    <a:pt x="772" y="122"/>
                  </a:moveTo>
                  <a:cubicBezTo>
                    <a:pt x="771" y="123"/>
                    <a:pt x="778" y="126"/>
                    <a:pt x="780" y="124"/>
                  </a:cubicBezTo>
                  <a:cubicBezTo>
                    <a:pt x="782" y="122"/>
                    <a:pt x="774" y="121"/>
                    <a:pt x="772" y="122"/>
                  </a:cubicBezTo>
                  <a:close/>
                  <a:moveTo>
                    <a:pt x="642" y="85"/>
                  </a:moveTo>
                  <a:cubicBezTo>
                    <a:pt x="636" y="82"/>
                    <a:pt x="633" y="85"/>
                    <a:pt x="628" y="88"/>
                  </a:cubicBezTo>
                  <a:cubicBezTo>
                    <a:pt x="624" y="91"/>
                    <a:pt x="629" y="88"/>
                    <a:pt x="637" y="90"/>
                  </a:cubicBezTo>
                  <a:cubicBezTo>
                    <a:pt x="650" y="92"/>
                    <a:pt x="648" y="88"/>
                    <a:pt x="642" y="85"/>
                  </a:cubicBezTo>
                  <a:close/>
                  <a:moveTo>
                    <a:pt x="679" y="75"/>
                  </a:moveTo>
                  <a:cubicBezTo>
                    <a:pt x="684" y="75"/>
                    <a:pt x="685" y="71"/>
                    <a:pt x="682" y="72"/>
                  </a:cubicBezTo>
                  <a:cubicBezTo>
                    <a:pt x="680" y="72"/>
                    <a:pt x="680" y="68"/>
                    <a:pt x="675" y="70"/>
                  </a:cubicBezTo>
                  <a:cubicBezTo>
                    <a:pt x="670" y="72"/>
                    <a:pt x="676" y="68"/>
                    <a:pt x="668" y="69"/>
                  </a:cubicBezTo>
                  <a:cubicBezTo>
                    <a:pt x="660" y="70"/>
                    <a:pt x="662" y="66"/>
                    <a:pt x="661" y="68"/>
                  </a:cubicBezTo>
                  <a:cubicBezTo>
                    <a:pt x="659" y="69"/>
                    <a:pt x="656" y="72"/>
                    <a:pt x="667" y="74"/>
                  </a:cubicBezTo>
                  <a:cubicBezTo>
                    <a:pt x="673" y="76"/>
                    <a:pt x="674" y="75"/>
                    <a:pt x="679" y="75"/>
                  </a:cubicBezTo>
                  <a:close/>
                  <a:moveTo>
                    <a:pt x="654" y="68"/>
                  </a:moveTo>
                  <a:cubicBezTo>
                    <a:pt x="658" y="68"/>
                    <a:pt x="649" y="64"/>
                    <a:pt x="644" y="65"/>
                  </a:cubicBezTo>
                  <a:cubicBezTo>
                    <a:pt x="640" y="66"/>
                    <a:pt x="637" y="60"/>
                    <a:pt x="633" y="62"/>
                  </a:cubicBezTo>
                  <a:cubicBezTo>
                    <a:pt x="629" y="64"/>
                    <a:pt x="634" y="66"/>
                    <a:pt x="632" y="67"/>
                  </a:cubicBezTo>
                  <a:cubicBezTo>
                    <a:pt x="630" y="67"/>
                    <a:pt x="625" y="63"/>
                    <a:pt x="622" y="61"/>
                  </a:cubicBezTo>
                  <a:cubicBezTo>
                    <a:pt x="619" y="60"/>
                    <a:pt x="618" y="61"/>
                    <a:pt x="614" y="64"/>
                  </a:cubicBezTo>
                  <a:cubicBezTo>
                    <a:pt x="610" y="66"/>
                    <a:pt x="615" y="68"/>
                    <a:pt x="613" y="69"/>
                  </a:cubicBezTo>
                  <a:cubicBezTo>
                    <a:pt x="610" y="70"/>
                    <a:pt x="614" y="73"/>
                    <a:pt x="621" y="76"/>
                  </a:cubicBezTo>
                  <a:cubicBezTo>
                    <a:pt x="627" y="78"/>
                    <a:pt x="623" y="73"/>
                    <a:pt x="628" y="74"/>
                  </a:cubicBezTo>
                  <a:cubicBezTo>
                    <a:pt x="633" y="76"/>
                    <a:pt x="635" y="71"/>
                    <a:pt x="638" y="74"/>
                  </a:cubicBezTo>
                  <a:cubicBezTo>
                    <a:pt x="641" y="76"/>
                    <a:pt x="645" y="73"/>
                    <a:pt x="651" y="72"/>
                  </a:cubicBezTo>
                  <a:cubicBezTo>
                    <a:pt x="656" y="70"/>
                    <a:pt x="649" y="68"/>
                    <a:pt x="654" y="68"/>
                  </a:cubicBezTo>
                  <a:close/>
                  <a:moveTo>
                    <a:pt x="606" y="65"/>
                  </a:moveTo>
                  <a:cubicBezTo>
                    <a:pt x="605" y="63"/>
                    <a:pt x="602" y="71"/>
                    <a:pt x="606" y="69"/>
                  </a:cubicBezTo>
                  <a:cubicBezTo>
                    <a:pt x="608" y="68"/>
                    <a:pt x="608" y="67"/>
                    <a:pt x="606" y="65"/>
                  </a:cubicBezTo>
                  <a:close/>
                  <a:moveTo>
                    <a:pt x="558" y="97"/>
                  </a:moveTo>
                  <a:cubicBezTo>
                    <a:pt x="560" y="97"/>
                    <a:pt x="559" y="97"/>
                    <a:pt x="563" y="98"/>
                  </a:cubicBezTo>
                  <a:cubicBezTo>
                    <a:pt x="568" y="100"/>
                    <a:pt x="571" y="103"/>
                    <a:pt x="573" y="100"/>
                  </a:cubicBezTo>
                  <a:cubicBezTo>
                    <a:pt x="574" y="97"/>
                    <a:pt x="566" y="97"/>
                    <a:pt x="571" y="96"/>
                  </a:cubicBezTo>
                  <a:cubicBezTo>
                    <a:pt x="575" y="95"/>
                    <a:pt x="565" y="94"/>
                    <a:pt x="570" y="93"/>
                  </a:cubicBezTo>
                  <a:cubicBezTo>
                    <a:pt x="575" y="92"/>
                    <a:pt x="567" y="89"/>
                    <a:pt x="563" y="88"/>
                  </a:cubicBezTo>
                  <a:cubicBezTo>
                    <a:pt x="559" y="86"/>
                    <a:pt x="558" y="92"/>
                    <a:pt x="557" y="89"/>
                  </a:cubicBezTo>
                  <a:cubicBezTo>
                    <a:pt x="556" y="86"/>
                    <a:pt x="553" y="88"/>
                    <a:pt x="549" y="86"/>
                  </a:cubicBezTo>
                  <a:cubicBezTo>
                    <a:pt x="545" y="84"/>
                    <a:pt x="538" y="87"/>
                    <a:pt x="541" y="89"/>
                  </a:cubicBezTo>
                  <a:cubicBezTo>
                    <a:pt x="544" y="92"/>
                    <a:pt x="535" y="93"/>
                    <a:pt x="541" y="94"/>
                  </a:cubicBezTo>
                  <a:cubicBezTo>
                    <a:pt x="546" y="95"/>
                    <a:pt x="548" y="95"/>
                    <a:pt x="555" y="99"/>
                  </a:cubicBezTo>
                  <a:cubicBezTo>
                    <a:pt x="559" y="100"/>
                    <a:pt x="555" y="97"/>
                    <a:pt x="558" y="97"/>
                  </a:cubicBezTo>
                  <a:close/>
                  <a:moveTo>
                    <a:pt x="485" y="78"/>
                  </a:moveTo>
                  <a:cubicBezTo>
                    <a:pt x="480" y="77"/>
                    <a:pt x="477" y="79"/>
                    <a:pt x="482" y="81"/>
                  </a:cubicBezTo>
                  <a:cubicBezTo>
                    <a:pt x="488" y="84"/>
                    <a:pt x="491" y="78"/>
                    <a:pt x="485" y="78"/>
                  </a:cubicBezTo>
                  <a:close/>
                  <a:moveTo>
                    <a:pt x="420" y="42"/>
                  </a:moveTo>
                  <a:cubicBezTo>
                    <a:pt x="425" y="41"/>
                    <a:pt x="429" y="40"/>
                    <a:pt x="438" y="40"/>
                  </a:cubicBezTo>
                  <a:cubicBezTo>
                    <a:pt x="448" y="39"/>
                    <a:pt x="449" y="37"/>
                    <a:pt x="444" y="34"/>
                  </a:cubicBezTo>
                  <a:cubicBezTo>
                    <a:pt x="439" y="30"/>
                    <a:pt x="440" y="29"/>
                    <a:pt x="433" y="33"/>
                  </a:cubicBezTo>
                  <a:cubicBezTo>
                    <a:pt x="427" y="38"/>
                    <a:pt x="438" y="29"/>
                    <a:pt x="435" y="28"/>
                  </a:cubicBezTo>
                  <a:cubicBezTo>
                    <a:pt x="432" y="27"/>
                    <a:pt x="428" y="25"/>
                    <a:pt x="425" y="31"/>
                  </a:cubicBezTo>
                  <a:cubicBezTo>
                    <a:pt x="421" y="37"/>
                    <a:pt x="421" y="32"/>
                    <a:pt x="417" y="41"/>
                  </a:cubicBezTo>
                  <a:cubicBezTo>
                    <a:pt x="415" y="43"/>
                    <a:pt x="416" y="44"/>
                    <a:pt x="420" y="42"/>
                  </a:cubicBezTo>
                  <a:close/>
                  <a:moveTo>
                    <a:pt x="405" y="33"/>
                  </a:moveTo>
                  <a:cubicBezTo>
                    <a:pt x="412" y="36"/>
                    <a:pt x="421" y="33"/>
                    <a:pt x="418" y="31"/>
                  </a:cubicBezTo>
                  <a:cubicBezTo>
                    <a:pt x="415" y="29"/>
                    <a:pt x="422" y="24"/>
                    <a:pt x="419" y="23"/>
                  </a:cubicBezTo>
                  <a:cubicBezTo>
                    <a:pt x="415" y="21"/>
                    <a:pt x="417" y="19"/>
                    <a:pt x="411" y="22"/>
                  </a:cubicBezTo>
                  <a:cubicBezTo>
                    <a:pt x="404" y="24"/>
                    <a:pt x="410" y="20"/>
                    <a:pt x="407" y="20"/>
                  </a:cubicBezTo>
                  <a:cubicBezTo>
                    <a:pt x="404" y="20"/>
                    <a:pt x="396" y="19"/>
                    <a:pt x="392" y="21"/>
                  </a:cubicBezTo>
                  <a:cubicBezTo>
                    <a:pt x="388" y="24"/>
                    <a:pt x="380" y="27"/>
                    <a:pt x="386" y="27"/>
                  </a:cubicBezTo>
                  <a:cubicBezTo>
                    <a:pt x="393" y="27"/>
                    <a:pt x="388" y="29"/>
                    <a:pt x="392" y="31"/>
                  </a:cubicBezTo>
                  <a:cubicBezTo>
                    <a:pt x="394" y="32"/>
                    <a:pt x="397" y="31"/>
                    <a:pt x="405" y="33"/>
                  </a:cubicBezTo>
                  <a:close/>
                  <a:moveTo>
                    <a:pt x="378" y="20"/>
                  </a:moveTo>
                  <a:cubicBezTo>
                    <a:pt x="372" y="20"/>
                    <a:pt x="371" y="22"/>
                    <a:pt x="375" y="23"/>
                  </a:cubicBezTo>
                  <a:cubicBezTo>
                    <a:pt x="379" y="24"/>
                    <a:pt x="377" y="26"/>
                    <a:pt x="381" y="25"/>
                  </a:cubicBezTo>
                  <a:cubicBezTo>
                    <a:pt x="393" y="22"/>
                    <a:pt x="383" y="21"/>
                    <a:pt x="378" y="20"/>
                  </a:cubicBezTo>
                  <a:close/>
                  <a:moveTo>
                    <a:pt x="394" y="19"/>
                  </a:moveTo>
                  <a:cubicBezTo>
                    <a:pt x="403" y="18"/>
                    <a:pt x="407" y="20"/>
                    <a:pt x="404" y="16"/>
                  </a:cubicBezTo>
                  <a:cubicBezTo>
                    <a:pt x="402" y="13"/>
                    <a:pt x="409" y="15"/>
                    <a:pt x="408" y="13"/>
                  </a:cubicBezTo>
                  <a:cubicBezTo>
                    <a:pt x="407" y="11"/>
                    <a:pt x="404" y="13"/>
                    <a:pt x="401" y="10"/>
                  </a:cubicBezTo>
                  <a:cubicBezTo>
                    <a:pt x="397" y="7"/>
                    <a:pt x="396" y="6"/>
                    <a:pt x="392" y="8"/>
                  </a:cubicBezTo>
                  <a:cubicBezTo>
                    <a:pt x="389" y="10"/>
                    <a:pt x="387" y="8"/>
                    <a:pt x="382" y="11"/>
                  </a:cubicBezTo>
                  <a:cubicBezTo>
                    <a:pt x="377" y="14"/>
                    <a:pt x="385" y="12"/>
                    <a:pt x="382" y="14"/>
                  </a:cubicBezTo>
                  <a:cubicBezTo>
                    <a:pt x="378" y="17"/>
                    <a:pt x="372" y="18"/>
                    <a:pt x="376" y="18"/>
                  </a:cubicBezTo>
                  <a:cubicBezTo>
                    <a:pt x="381" y="19"/>
                    <a:pt x="380" y="20"/>
                    <a:pt x="386" y="21"/>
                  </a:cubicBezTo>
                  <a:cubicBezTo>
                    <a:pt x="393" y="21"/>
                    <a:pt x="386" y="19"/>
                    <a:pt x="394" y="19"/>
                  </a:cubicBezTo>
                  <a:close/>
                  <a:moveTo>
                    <a:pt x="375" y="9"/>
                  </a:moveTo>
                  <a:cubicBezTo>
                    <a:pt x="375" y="8"/>
                    <a:pt x="368" y="7"/>
                    <a:pt x="368" y="8"/>
                  </a:cubicBezTo>
                  <a:cubicBezTo>
                    <a:pt x="367" y="10"/>
                    <a:pt x="375" y="10"/>
                    <a:pt x="375" y="9"/>
                  </a:cubicBezTo>
                  <a:close/>
                  <a:moveTo>
                    <a:pt x="401" y="51"/>
                  </a:moveTo>
                  <a:cubicBezTo>
                    <a:pt x="400" y="50"/>
                    <a:pt x="393" y="52"/>
                    <a:pt x="394" y="53"/>
                  </a:cubicBezTo>
                  <a:cubicBezTo>
                    <a:pt x="397" y="54"/>
                    <a:pt x="402" y="52"/>
                    <a:pt x="401" y="51"/>
                  </a:cubicBezTo>
                  <a:close/>
                </a:path>
              </a:pathLst>
            </a:custGeom>
            <a:grpFill/>
            <a:ln w="317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lvl="0"/>
              <a:endParaRPr lang="en-GB" sz="675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291BA12E-E5C7-AB4B-8347-FAD9717669B6}"/>
              </a:ext>
            </a:extLst>
          </p:cNvPr>
          <p:cNvGrpSpPr/>
          <p:nvPr userDrawn="1"/>
        </p:nvGrpSpPr>
        <p:grpSpPr>
          <a:xfrm>
            <a:off x="3671065" y="2381599"/>
            <a:ext cx="1756104" cy="1734356"/>
            <a:chOff x="3657574" y="3161245"/>
            <a:chExt cx="1957843" cy="2123862"/>
          </a:xfrm>
          <a:solidFill>
            <a:schemeClr val="tx2"/>
          </a:solidFill>
        </p:grpSpPr>
        <p:sp>
          <p:nvSpPr>
            <p:cNvPr id="139" name="Freeform 20168">
              <a:extLst>
                <a:ext uri="{FF2B5EF4-FFF2-40B4-BE49-F238E27FC236}">
                  <a16:creationId xmlns:a16="http://schemas.microsoft.com/office/drawing/2014/main" id="{906B260C-A83B-C44A-8463-8D1E05BC7D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5922" y="3743258"/>
              <a:ext cx="162199" cy="171740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6" y="24"/>
                </a:cxn>
                <a:cxn ang="0">
                  <a:pos x="10" y="21"/>
                </a:cxn>
                <a:cxn ang="0">
                  <a:pos x="15" y="23"/>
                </a:cxn>
                <a:cxn ang="0">
                  <a:pos x="18" y="23"/>
                </a:cxn>
                <a:cxn ang="0">
                  <a:pos x="23" y="25"/>
                </a:cxn>
                <a:cxn ang="0">
                  <a:pos x="28" y="30"/>
                </a:cxn>
                <a:cxn ang="0">
                  <a:pos x="32" y="36"/>
                </a:cxn>
                <a:cxn ang="0">
                  <a:pos x="36" y="34"/>
                </a:cxn>
                <a:cxn ang="0">
                  <a:pos x="33" y="32"/>
                </a:cxn>
                <a:cxn ang="0">
                  <a:pos x="32" y="30"/>
                </a:cxn>
                <a:cxn ang="0">
                  <a:pos x="30" y="28"/>
                </a:cxn>
                <a:cxn ang="0">
                  <a:pos x="27" y="24"/>
                </a:cxn>
                <a:cxn ang="0">
                  <a:pos x="23" y="21"/>
                </a:cxn>
                <a:cxn ang="0">
                  <a:pos x="20" y="18"/>
                </a:cxn>
                <a:cxn ang="0">
                  <a:pos x="18" y="20"/>
                </a:cxn>
                <a:cxn ang="0">
                  <a:pos x="16" y="15"/>
                </a:cxn>
                <a:cxn ang="0">
                  <a:pos x="12" y="0"/>
                </a:cxn>
                <a:cxn ang="0">
                  <a:pos x="7" y="5"/>
                </a:cxn>
                <a:cxn ang="0">
                  <a:pos x="4" y="8"/>
                </a:cxn>
                <a:cxn ang="0">
                  <a:pos x="1" y="19"/>
                </a:cxn>
                <a:cxn ang="0">
                  <a:pos x="2" y="24"/>
                </a:cxn>
              </a:cxnLst>
              <a:rect l="0" t="0" r="r" b="b"/>
              <a:pathLst>
                <a:path w="36" h="38">
                  <a:moveTo>
                    <a:pt x="2" y="24"/>
                  </a:moveTo>
                  <a:cubicBezTo>
                    <a:pt x="6" y="26"/>
                    <a:pt x="5" y="21"/>
                    <a:pt x="6" y="24"/>
                  </a:cubicBezTo>
                  <a:cubicBezTo>
                    <a:pt x="8" y="27"/>
                    <a:pt x="8" y="19"/>
                    <a:pt x="10" y="21"/>
                  </a:cubicBezTo>
                  <a:cubicBezTo>
                    <a:pt x="14" y="27"/>
                    <a:pt x="14" y="21"/>
                    <a:pt x="15" y="23"/>
                  </a:cubicBezTo>
                  <a:cubicBezTo>
                    <a:pt x="16" y="24"/>
                    <a:pt x="15" y="22"/>
                    <a:pt x="18" y="23"/>
                  </a:cubicBezTo>
                  <a:cubicBezTo>
                    <a:pt x="21" y="23"/>
                    <a:pt x="22" y="24"/>
                    <a:pt x="23" y="25"/>
                  </a:cubicBezTo>
                  <a:cubicBezTo>
                    <a:pt x="25" y="25"/>
                    <a:pt x="26" y="29"/>
                    <a:pt x="28" y="30"/>
                  </a:cubicBezTo>
                  <a:cubicBezTo>
                    <a:pt x="30" y="32"/>
                    <a:pt x="29" y="34"/>
                    <a:pt x="32" y="36"/>
                  </a:cubicBezTo>
                  <a:cubicBezTo>
                    <a:pt x="33" y="35"/>
                    <a:pt x="33" y="38"/>
                    <a:pt x="36" y="34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3" y="31"/>
                    <a:pt x="33" y="32"/>
                    <a:pt x="32" y="30"/>
                  </a:cubicBezTo>
                  <a:cubicBezTo>
                    <a:pt x="30" y="26"/>
                    <a:pt x="31" y="30"/>
                    <a:pt x="30" y="28"/>
                  </a:cubicBezTo>
                  <a:cubicBezTo>
                    <a:pt x="29" y="25"/>
                    <a:pt x="29" y="29"/>
                    <a:pt x="27" y="24"/>
                  </a:cubicBezTo>
                  <a:cubicBezTo>
                    <a:pt x="24" y="20"/>
                    <a:pt x="25" y="24"/>
                    <a:pt x="23" y="21"/>
                  </a:cubicBezTo>
                  <a:cubicBezTo>
                    <a:pt x="22" y="18"/>
                    <a:pt x="22" y="23"/>
                    <a:pt x="20" y="18"/>
                  </a:cubicBezTo>
                  <a:cubicBezTo>
                    <a:pt x="18" y="14"/>
                    <a:pt x="19" y="20"/>
                    <a:pt x="18" y="20"/>
                  </a:cubicBezTo>
                  <a:cubicBezTo>
                    <a:pt x="18" y="19"/>
                    <a:pt x="18" y="18"/>
                    <a:pt x="16" y="15"/>
                  </a:cubicBezTo>
                  <a:cubicBezTo>
                    <a:pt x="15" y="12"/>
                    <a:pt x="15" y="5"/>
                    <a:pt x="12" y="0"/>
                  </a:cubicBezTo>
                  <a:cubicBezTo>
                    <a:pt x="10" y="6"/>
                    <a:pt x="8" y="3"/>
                    <a:pt x="7" y="5"/>
                  </a:cubicBezTo>
                  <a:cubicBezTo>
                    <a:pt x="5" y="9"/>
                    <a:pt x="3" y="4"/>
                    <a:pt x="4" y="8"/>
                  </a:cubicBezTo>
                  <a:cubicBezTo>
                    <a:pt x="4" y="14"/>
                    <a:pt x="2" y="17"/>
                    <a:pt x="1" y="19"/>
                  </a:cubicBezTo>
                  <a:cubicBezTo>
                    <a:pt x="0" y="20"/>
                    <a:pt x="2" y="22"/>
                    <a:pt x="2" y="24"/>
                  </a:cubicBezTo>
                  <a:close/>
                </a:path>
              </a:pathLst>
            </a:custGeom>
            <a:grpFill/>
            <a:ln w="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675" dirty="0">
                <a:latin typeface="Calibri" panose="020F0502020204030204" pitchFamily="34" charset="0"/>
              </a:endParaRP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22369AD2-1C06-EE43-8BA0-8F004E8135CD}"/>
                </a:ext>
              </a:extLst>
            </p:cNvPr>
            <p:cNvGrpSpPr/>
            <p:nvPr userDrawn="1"/>
          </p:nvGrpSpPr>
          <p:grpSpPr>
            <a:xfrm>
              <a:off x="3657574" y="3161245"/>
              <a:ext cx="1957843" cy="2123862"/>
              <a:chOff x="3657574" y="3161245"/>
              <a:chExt cx="1957843" cy="2123862"/>
            </a:xfrm>
            <a:grpFill/>
          </p:grpSpPr>
          <p:sp>
            <p:nvSpPr>
              <p:cNvPr id="141" name="Freeform 20162">
                <a:extLst>
                  <a:ext uri="{FF2B5EF4-FFF2-40B4-BE49-F238E27FC236}">
                    <a16:creationId xmlns:a16="http://schemas.microsoft.com/office/drawing/2014/main" id="{078A35DA-8E5F-CE42-BE32-E4124BB2FD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31135" y="3336803"/>
                <a:ext cx="270968" cy="307224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51" y="26"/>
                  </a:cxn>
                  <a:cxn ang="0">
                    <a:pos x="46" y="23"/>
                  </a:cxn>
                  <a:cxn ang="0">
                    <a:pos x="44" y="17"/>
                  </a:cxn>
                  <a:cxn ang="0">
                    <a:pos x="42" y="12"/>
                  </a:cxn>
                  <a:cxn ang="0">
                    <a:pos x="42" y="17"/>
                  </a:cxn>
                  <a:cxn ang="0">
                    <a:pos x="47" y="28"/>
                  </a:cxn>
                  <a:cxn ang="0">
                    <a:pos x="49" y="33"/>
                  </a:cxn>
                  <a:cxn ang="0">
                    <a:pos x="55" y="47"/>
                  </a:cxn>
                  <a:cxn ang="0">
                    <a:pos x="58" y="52"/>
                  </a:cxn>
                  <a:cxn ang="0">
                    <a:pos x="58" y="58"/>
                  </a:cxn>
                  <a:cxn ang="0">
                    <a:pos x="54" y="61"/>
                  </a:cxn>
                  <a:cxn ang="0">
                    <a:pos x="50" y="65"/>
                  </a:cxn>
                  <a:cxn ang="0">
                    <a:pos x="45" y="65"/>
                  </a:cxn>
                  <a:cxn ang="0">
                    <a:pos x="36" y="65"/>
                  </a:cxn>
                  <a:cxn ang="0">
                    <a:pos x="36" y="64"/>
                  </a:cxn>
                  <a:cxn ang="0">
                    <a:pos x="35" y="65"/>
                  </a:cxn>
                  <a:cxn ang="0">
                    <a:pos x="3" y="65"/>
                  </a:cxn>
                  <a:cxn ang="0">
                    <a:pos x="3" y="16"/>
                  </a:cxn>
                  <a:cxn ang="0">
                    <a:pos x="2" y="9"/>
                  </a:cxn>
                  <a:cxn ang="0">
                    <a:pos x="3" y="2"/>
                  </a:cxn>
                  <a:cxn ang="0">
                    <a:pos x="11" y="2"/>
                  </a:cxn>
                  <a:cxn ang="0">
                    <a:pos x="16" y="4"/>
                  </a:cxn>
                  <a:cxn ang="0">
                    <a:pos x="20" y="5"/>
                  </a:cxn>
                  <a:cxn ang="0">
                    <a:pos x="26" y="6"/>
                  </a:cxn>
                  <a:cxn ang="0">
                    <a:pos x="30" y="3"/>
                  </a:cxn>
                  <a:cxn ang="0">
                    <a:pos x="33" y="1"/>
                  </a:cxn>
                  <a:cxn ang="0">
                    <a:pos x="37" y="2"/>
                  </a:cxn>
                  <a:cxn ang="0">
                    <a:pos x="39" y="2"/>
                  </a:cxn>
                  <a:cxn ang="0">
                    <a:pos x="40" y="3"/>
                  </a:cxn>
                  <a:cxn ang="0">
                    <a:pos x="38" y="2"/>
                  </a:cxn>
                  <a:cxn ang="0">
                    <a:pos x="38" y="3"/>
                  </a:cxn>
                  <a:cxn ang="0">
                    <a:pos x="39" y="4"/>
                  </a:cxn>
                  <a:cxn ang="0">
                    <a:pos x="40" y="4"/>
                  </a:cxn>
                  <a:cxn ang="0">
                    <a:pos x="41" y="4"/>
                  </a:cxn>
                  <a:cxn ang="0">
                    <a:pos x="45" y="4"/>
                  </a:cxn>
                  <a:cxn ang="0">
                    <a:pos x="50" y="3"/>
                  </a:cxn>
                  <a:cxn ang="0">
                    <a:pos x="51" y="4"/>
                  </a:cxn>
                  <a:cxn ang="0">
                    <a:pos x="54" y="15"/>
                  </a:cxn>
                </a:cxnLst>
                <a:rect l="0" t="0" r="r" b="b"/>
                <a:pathLst>
                  <a:path w="60" h="68">
                    <a:moveTo>
                      <a:pt x="54" y="15"/>
                    </a:moveTo>
                    <a:cubicBezTo>
                      <a:pt x="51" y="24"/>
                      <a:pt x="52" y="24"/>
                      <a:pt x="51" y="26"/>
                    </a:cubicBezTo>
                    <a:cubicBezTo>
                      <a:pt x="50" y="28"/>
                      <a:pt x="49" y="26"/>
                      <a:pt x="46" y="23"/>
                    </a:cubicBezTo>
                    <a:cubicBezTo>
                      <a:pt x="44" y="21"/>
                      <a:pt x="46" y="19"/>
                      <a:pt x="44" y="17"/>
                    </a:cubicBezTo>
                    <a:cubicBezTo>
                      <a:pt x="41" y="14"/>
                      <a:pt x="43" y="13"/>
                      <a:pt x="42" y="12"/>
                    </a:cubicBezTo>
                    <a:cubicBezTo>
                      <a:pt x="39" y="16"/>
                      <a:pt x="42" y="14"/>
                      <a:pt x="42" y="17"/>
                    </a:cubicBezTo>
                    <a:cubicBezTo>
                      <a:pt x="42" y="21"/>
                      <a:pt x="47" y="25"/>
                      <a:pt x="47" y="28"/>
                    </a:cubicBezTo>
                    <a:cubicBezTo>
                      <a:pt x="47" y="30"/>
                      <a:pt x="49" y="31"/>
                      <a:pt x="49" y="33"/>
                    </a:cubicBezTo>
                    <a:cubicBezTo>
                      <a:pt x="48" y="36"/>
                      <a:pt x="52" y="40"/>
                      <a:pt x="55" y="47"/>
                    </a:cubicBezTo>
                    <a:cubicBezTo>
                      <a:pt x="57" y="52"/>
                      <a:pt x="60" y="52"/>
                      <a:pt x="58" y="52"/>
                    </a:cubicBezTo>
                    <a:cubicBezTo>
                      <a:pt x="56" y="52"/>
                      <a:pt x="57" y="56"/>
                      <a:pt x="58" y="58"/>
                    </a:cubicBezTo>
                    <a:cubicBezTo>
                      <a:pt x="56" y="61"/>
                      <a:pt x="55" y="58"/>
                      <a:pt x="54" y="61"/>
                    </a:cubicBezTo>
                    <a:cubicBezTo>
                      <a:pt x="53" y="64"/>
                      <a:pt x="51" y="63"/>
                      <a:pt x="50" y="65"/>
                    </a:cubicBezTo>
                    <a:cubicBezTo>
                      <a:pt x="49" y="67"/>
                      <a:pt x="47" y="68"/>
                      <a:pt x="45" y="65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4"/>
                      <a:pt x="36" y="64"/>
                      <a:pt x="36" y="64"/>
                    </a:cubicBezTo>
                    <a:cubicBezTo>
                      <a:pt x="35" y="65"/>
                      <a:pt x="35" y="65"/>
                      <a:pt x="35" y="65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4"/>
                      <a:pt x="0" y="13"/>
                      <a:pt x="2" y="9"/>
                    </a:cubicBezTo>
                    <a:cubicBezTo>
                      <a:pt x="4" y="6"/>
                      <a:pt x="1" y="4"/>
                      <a:pt x="3" y="2"/>
                    </a:cubicBezTo>
                    <a:cubicBezTo>
                      <a:pt x="4" y="2"/>
                      <a:pt x="5" y="0"/>
                      <a:pt x="11" y="2"/>
                    </a:cubicBezTo>
                    <a:cubicBezTo>
                      <a:pt x="18" y="3"/>
                      <a:pt x="15" y="4"/>
                      <a:pt x="16" y="4"/>
                    </a:cubicBezTo>
                    <a:cubicBezTo>
                      <a:pt x="18" y="3"/>
                      <a:pt x="18" y="5"/>
                      <a:pt x="20" y="5"/>
                    </a:cubicBezTo>
                    <a:cubicBezTo>
                      <a:pt x="21" y="4"/>
                      <a:pt x="24" y="8"/>
                      <a:pt x="26" y="6"/>
                    </a:cubicBezTo>
                    <a:cubicBezTo>
                      <a:pt x="30" y="2"/>
                      <a:pt x="29" y="4"/>
                      <a:pt x="30" y="3"/>
                    </a:cubicBezTo>
                    <a:cubicBezTo>
                      <a:pt x="31" y="1"/>
                      <a:pt x="31" y="2"/>
                      <a:pt x="33" y="1"/>
                    </a:cubicBezTo>
                    <a:cubicBezTo>
                      <a:pt x="35" y="0"/>
                      <a:pt x="36" y="3"/>
                      <a:pt x="37" y="2"/>
                    </a:cubicBezTo>
                    <a:cubicBezTo>
                      <a:pt x="38" y="1"/>
                      <a:pt x="38" y="1"/>
                      <a:pt x="39" y="2"/>
                    </a:cubicBezTo>
                    <a:cubicBezTo>
                      <a:pt x="39" y="2"/>
                      <a:pt x="40" y="3"/>
                      <a:pt x="40" y="3"/>
                    </a:cubicBezTo>
                    <a:cubicBezTo>
                      <a:pt x="39" y="3"/>
                      <a:pt x="38" y="2"/>
                      <a:pt x="38" y="2"/>
                    </a:cubicBezTo>
                    <a:cubicBezTo>
                      <a:pt x="38" y="3"/>
                      <a:pt x="37" y="3"/>
                      <a:pt x="38" y="3"/>
                    </a:cubicBezTo>
                    <a:cubicBezTo>
                      <a:pt x="38" y="4"/>
                      <a:pt x="39" y="3"/>
                      <a:pt x="39" y="4"/>
                    </a:cubicBezTo>
                    <a:cubicBezTo>
                      <a:pt x="40" y="5"/>
                      <a:pt x="41" y="4"/>
                      <a:pt x="40" y="4"/>
                    </a:cubicBezTo>
                    <a:cubicBezTo>
                      <a:pt x="40" y="3"/>
                      <a:pt x="40" y="3"/>
                      <a:pt x="41" y="4"/>
                    </a:cubicBezTo>
                    <a:cubicBezTo>
                      <a:pt x="43" y="6"/>
                      <a:pt x="44" y="3"/>
                      <a:pt x="45" y="4"/>
                    </a:cubicBezTo>
                    <a:cubicBezTo>
                      <a:pt x="46" y="5"/>
                      <a:pt x="45" y="5"/>
                      <a:pt x="50" y="3"/>
                    </a:cubicBezTo>
                    <a:cubicBezTo>
                      <a:pt x="50" y="3"/>
                      <a:pt x="50" y="4"/>
                      <a:pt x="51" y="4"/>
                    </a:cubicBezTo>
                    <a:cubicBezTo>
                      <a:pt x="52" y="7"/>
                      <a:pt x="53" y="11"/>
                      <a:pt x="54" y="15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42" name="Freeform 20316">
                <a:extLst>
                  <a:ext uri="{FF2B5EF4-FFF2-40B4-BE49-F238E27FC236}">
                    <a16:creationId xmlns:a16="http://schemas.microsoft.com/office/drawing/2014/main" id="{A35269AB-9202-E74D-9F8B-5F768D9932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2440" y="3600140"/>
                <a:ext cx="398820" cy="396911"/>
              </a:xfrm>
              <a:custGeom>
                <a:avLst/>
                <a:gdLst/>
                <a:ahLst/>
                <a:cxnLst>
                  <a:cxn ang="0">
                    <a:pos x="88" y="32"/>
                  </a:cxn>
                  <a:cxn ang="0">
                    <a:pos x="83" y="28"/>
                  </a:cxn>
                  <a:cxn ang="0">
                    <a:pos x="81" y="13"/>
                  </a:cxn>
                  <a:cxn ang="0">
                    <a:pos x="78" y="5"/>
                  </a:cxn>
                  <a:cxn ang="0">
                    <a:pos x="73" y="0"/>
                  </a:cxn>
                  <a:cxn ang="0">
                    <a:pos x="65" y="7"/>
                  </a:cxn>
                  <a:cxn ang="0">
                    <a:pos x="51" y="7"/>
                  </a:cxn>
                  <a:cxn ang="0">
                    <a:pos x="50" y="7"/>
                  </a:cxn>
                  <a:cxn ang="0">
                    <a:pos x="18" y="20"/>
                  </a:cxn>
                  <a:cxn ang="0">
                    <a:pos x="12" y="23"/>
                  </a:cxn>
                  <a:cxn ang="0">
                    <a:pos x="11" y="47"/>
                  </a:cxn>
                  <a:cxn ang="0">
                    <a:pos x="6" y="53"/>
                  </a:cxn>
                  <a:cxn ang="0">
                    <a:pos x="3" y="61"/>
                  </a:cxn>
                  <a:cxn ang="0">
                    <a:pos x="4" y="68"/>
                  </a:cxn>
                  <a:cxn ang="0">
                    <a:pos x="7" y="78"/>
                  </a:cxn>
                  <a:cxn ang="0">
                    <a:pos x="11" y="86"/>
                  </a:cxn>
                  <a:cxn ang="0">
                    <a:pos x="17" y="84"/>
                  </a:cxn>
                  <a:cxn ang="0">
                    <a:pos x="22" y="81"/>
                  </a:cxn>
                  <a:cxn ang="0">
                    <a:pos x="25" y="87"/>
                  </a:cxn>
                  <a:cxn ang="0">
                    <a:pos x="32" y="86"/>
                  </a:cxn>
                  <a:cxn ang="0">
                    <a:pos x="37" y="88"/>
                  </a:cxn>
                  <a:cxn ang="0">
                    <a:pos x="41" y="85"/>
                  </a:cxn>
                  <a:cxn ang="0">
                    <a:pos x="43" y="82"/>
                  </a:cxn>
                  <a:cxn ang="0">
                    <a:pos x="48" y="85"/>
                  </a:cxn>
                  <a:cxn ang="0">
                    <a:pos x="53" y="81"/>
                  </a:cxn>
                  <a:cxn ang="0">
                    <a:pos x="56" y="77"/>
                  </a:cxn>
                  <a:cxn ang="0">
                    <a:pos x="54" y="71"/>
                  </a:cxn>
                  <a:cxn ang="0">
                    <a:pos x="58" y="69"/>
                  </a:cxn>
                  <a:cxn ang="0">
                    <a:pos x="60" y="71"/>
                  </a:cxn>
                  <a:cxn ang="0">
                    <a:pos x="60" y="79"/>
                  </a:cxn>
                  <a:cxn ang="0">
                    <a:pos x="64" y="84"/>
                  </a:cxn>
                  <a:cxn ang="0">
                    <a:pos x="65" y="87"/>
                  </a:cxn>
                  <a:cxn ang="0">
                    <a:pos x="66" y="84"/>
                  </a:cxn>
                  <a:cxn ang="0">
                    <a:pos x="69" y="79"/>
                  </a:cxn>
                  <a:cxn ang="0">
                    <a:pos x="76" y="66"/>
                  </a:cxn>
                  <a:cxn ang="0">
                    <a:pos x="77" y="51"/>
                  </a:cxn>
                  <a:cxn ang="0">
                    <a:pos x="83" y="37"/>
                  </a:cxn>
                </a:cxnLst>
                <a:rect l="0" t="0" r="r" b="b"/>
                <a:pathLst>
                  <a:path w="88" h="88">
                    <a:moveTo>
                      <a:pt x="83" y="37"/>
                    </a:moveTo>
                    <a:cubicBezTo>
                      <a:pt x="84" y="35"/>
                      <a:pt x="86" y="38"/>
                      <a:pt x="88" y="32"/>
                    </a:cubicBezTo>
                    <a:cubicBezTo>
                      <a:pt x="88" y="31"/>
                      <a:pt x="87" y="30"/>
                      <a:pt x="86" y="31"/>
                    </a:cubicBezTo>
                    <a:cubicBezTo>
                      <a:pt x="85" y="31"/>
                      <a:pt x="85" y="28"/>
                      <a:pt x="83" y="28"/>
                    </a:cubicBezTo>
                    <a:cubicBezTo>
                      <a:pt x="82" y="29"/>
                      <a:pt x="80" y="19"/>
                      <a:pt x="81" y="18"/>
                    </a:cubicBezTo>
                    <a:cubicBezTo>
                      <a:pt x="82" y="15"/>
                      <a:pt x="79" y="13"/>
                      <a:pt x="81" y="13"/>
                    </a:cubicBezTo>
                    <a:cubicBezTo>
                      <a:pt x="83" y="14"/>
                      <a:pt x="80" y="12"/>
                      <a:pt x="80" y="7"/>
                    </a:cubicBezTo>
                    <a:cubicBezTo>
                      <a:pt x="79" y="6"/>
                      <a:pt x="79" y="5"/>
                      <a:pt x="78" y="5"/>
                    </a:cubicBezTo>
                    <a:cubicBezTo>
                      <a:pt x="76" y="5"/>
                      <a:pt x="77" y="2"/>
                      <a:pt x="75" y="2"/>
                    </a:cubicBezTo>
                    <a:cubicBezTo>
                      <a:pt x="74" y="2"/>
                      <a:pt x="73" y="1"/>
                      <a:pt x="73" y="0"/>
                    </a:cubicBezTo>
                    <a:cubicBezTo>
                      <a:pt x="71" y="3"/>
                      <a:pt x="70" y="0"/>
                      <a:pt x="69" y="3"/>
                    </a:cubicBezTo>
                    <a:cubicBezTo>
                      <a:pt x="68" y="6"/>
                      <a:pt x="66" y="5"/>
                      <a:pt x="65" y="7"/>
                    </a:cubicBezTo>
                    <a:cubicBezTo>
                      <a:pt x="64" y="9"/>
                      <a:pt x="62" y="10"/>
                      <a:pt x="60" y="7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51" y="6"/>
                      <a:pt x="51" y="6"/>
                      <a:pt x="51" y="6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2" y="46"/>
                      <a:pt x="14" y="48"/>
                      <a:pt x="11" y="47"/>
                    </a:cubicBezTo>
                    <a:cubicBezTo>
                      <a:pt x="9" y="47"/>
                      <a:pt x="7" y="47"/>
                      <a:pt x="7" y="50"/>
                    </a:cubicBezTo>
                    <a:cubicBezTo>
                      <a:pt x="7" y="53"/>
                      <a:pt x="5" y="51"/>
                      <a:pt x="6" y="53"/>
                    </a:cubicBezTo>
                    <a:cubicBezTo>
                      <a:pt x="6" y="56"/>
                      <a:pt x="3" y="53"/>
                      <a:pt x="4" y="56"/>
                    </a:cubicBezTo>
                    <a:cubicBezTo>
                      <a:pt x="6" y="59"/>
                      <a:pt x="1" y="58"/>
                      <a:pt x="3" y="61"/>
                    </a:cubicBezTo>
                    <a:cubicBezTo>
                      <a:pt x="5" y="64"/>
                      <a:pt x="0" y="64"/>
                      <a:pt x="1" y="67"/>
                    </a:cubicBezTo>
                    <a:cubicBezTo>
                      <a:pt x="2" y="68"/>
                      <a:pt x="4" y="65"/>
                      <a:pt x="4" y="68"/>
                    </a:cubicBezTo>
                    <a:cubicBezTo>
                      <a:pt x="4" y="71"/>
                      <a:pt x="5" y="70"/>
                      <a:pt x="5" y="73"/>
                    </a:cubicBezTo>
                    <a:cubicBezTo>
                      <a:pt x="5" y="76"/>
                      <a:pt x="8" y="74"/>
                      <a:pt x="7" y="78"/>
                    </a:cubicBezTo>
                    <a:cubicBezTo>
                      <a:pt x="9" y="81"/>
                      <a:pt x="11" y="83"/>
                      <a:pt x="11" y="86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2" y="86"/>
                      <a:pt x="12" y="86"/>
                      <a:pt x="14" y="85"/>
                    </a:cubicBezTo>
                    <a:cubicBezTo>
                      <a:pt x="15" y="85"/>
                      <a:pt x="16" y="85"/>
                      <a:pt x="17" y="84"/>
                    </a:cubicBezTo>
                    <a:cubicBezTo>
                      <a:pt x="18" y="83"/>
                      <a:pt x="17" y="82"/>
                      <a:pt x="19" y="81"/>
                    </a:cubicBezTo>
                    <a:cubicBezTo>
                      <a:pt x="21" y="81"/>
                      <a:pt x="22" y="81"/>
                      <a:pt x="22" y="81"/>
                    </a:cubicBezTo>
                    <a:cubicBezTo>
                      <a:pt x="22" y="81"/>
                      <a:pt x="22" y="82"/>
                      <a:pt x="23" y="83"/>
                    </a:cubicBezTo>
                    <a:cubicBezTo>
                      <a:pt x="24" y="84"/>
                      <a:pt x="24" y="86"/>
                      <a:pt x="25" y="87"/>
                    </a:cubicBezTo>
                    <a:cubicBezTo>
                      <a:pt x="27" y="87"/>
                      <a:pt x="28" y="86"/>
                      <a:pt x="29" y="86"/>
                    </a:cubicBezTo>
                    <a:cubicBezTo>
                      <a:pt x="31" y="86"/>
                      <a:pt x="32" y="86"/>
                      <a:pt x="32" y="86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7" y="88"/>
                      <a:pt x="37" y="88"/>
                      <a:pt x="37" y="88"/>
                    </a:cubicBezTo>
                    <a:cubicBezTo>
                      <a:pt x="39" y="85"/>
                      <a:pt x="39" y="85"/>
                      <a:pt x="39" y="85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41" y="83"/>
                      <a:pt x="41" y="83"/>
                      <a:pt x="41" y="83"/>
                    </a:cubicBezTo>
                    <a:cubicBezTo>
                      <a:pt x="43" y="82"/>
                      <a:pt x="43" y="82"/>
                      <a:pt x="43" y="82"/>
                    </a:cubicBezTo>
                    <a:cubicBezTo>
                      <a:pt x="43" y="82"/>
                      <a:pt x="45" y="83"/>
                      <a:pt x="46" y="84"/>
                    </a:cubicBezTo>
                    <a:cubicBezTo>
                      <a:pt x="47" y="84"/>
                      <a:pt x="48" y="85"/>
                      <a:pt x="48" y="85"/>
                    </a:cubicBezTo>
                    <a:cubicBezTo>
                      <a:pt x="50" y="85"/>
                      <a:pt x="50" y="85"/>
                      <a:pt x="50" y="85"/>
                    </a:cubicBezTo>
                    <a:cubicBezTo>
                      <a:pt x="50" y="85"/>
                      <a:pt x="53" y="82"/>
                      <a:pt x="53" y="81"/>
                    </a:cubicBezTo>
                    <a:cubicBezTo>
                      <a:pt x="54" y="80"/>
                      <a:pt x="53" y="80"/>
                      <a:pt x="54" y="79"/>
                    </a:cubicBezTo>
                    <a:cubicBezTo>
                      <a:pt x="55" y="78"/>
                      <a:pt x="56" y="77"/>
                      <a:pt x="56" y="77"/>
                    </a:cubicBezTo>
                    <a:cubicBezTo>
                      <a:pt x="56" y="77"/>
                      <a:pt x="56" y="75"/>
                      <a:pt x="56" y="74"/>
                    </a:cubicBezTo>
                    <a:cubicBezTo>
                      <a:pt x="55" y="73"/>
                      <a:pt x="55" y="72"/>
                      <a:pt x="54" y="71"/>
                    </a:cubicBezTo>
                    <a:cubicBezTo>
                      <a:pt x="58" y="71"/>
                      <a:pt x="58" y="71"/>
                      <a:pt x="58" y="71"/>
                    </a:cubicBezTo>
                    <a:cubicBezTo>
                      <a:pt x="58" y="69"/>
                      <a:pt x="58" y="69"/>
                      <a:pt x="58" y="69"/>
                    </a:cubicBezTo>
                    <a:cubicBezTo>
                      <a:pt x="60" y="69"/>
                      <a:pt x="60" y="69"/>
                      <a:pt x="60" y="69"/>
                    </a:cubicBezTo>
                    <a:cubicBezTo>
                      <a:pt x="60" y="69"/>
                      <a:pt x="60" y="71"/>
                      <a:pt x="60" y="71"/>
                    </a:cubicBezTo>
                    <a:cubicBezTo>
                      <a:pt x="60" y="72"/>
                      <a:pt x="59" y="73"/>
                      <a:pt x="60" y="74"/>
                    </a:cubicBezTo>
                    <a:cubicBezTo>
                      <a:pt x="60" y="76"/>
                      <a:pt x="60" y="78"/>
                      <a:pt x="60" y="79"/>
                    </a:cubicBezTo>
                    <a:cubicBezTo>
                      <a:pt x="59" y="79"/>
                      <a:pt x="60" y="79"/>
                      <a:pt x="61" y="80"/>
                    </a:cubicBezTo>
                    <a:cubicBezTo>
                      <a:pt x="62" y="81"/>
                      <a:pt x="64" y="82"/>
                      <a:pt x="64" y="84"/>
                    </a:cubicBezTo>
                    <a:cubicBezTo>
                      <a:pt x="64" y="85"/>
                      <a:pt x="64" y="85"/>
                      <a:pt x="64" y="86"/>
                    </a:cubicBezTo>
                    <a:cubicBezTo>
                      <a:pt x="64" y="87"/>
                      <a:pt x="64" y="87"/>
                      <a:pt x="65" y="87"/>
                    </a:cubicBezTo>
                    <a:cubicBezTo>
                      <a:pt x="65" y="87"/>
                      <a:pt x="65" y="87"/>
                      <a:pt x="65" y="87"/>
                    </a:cubicBezTo>
                    <a:cubicBezTo>
                      <a:pt x="65" y="86"/>
                      <a:pt x="65" y="85"/>
                      <a:pt x="66" y="84"/>
                    </a:cubicBezTo>
                    <a:cubicBezTo>
                      <a:pt x="67" y="81"/>
                      <a:pt x="65" y="82"/>
                      <a:pt x="66" y="79"/>
                    </a:cubicBezTo>
                    <a:cubicBezTo>
                      <a:pt x="68" y="76"/>
                      <a:pt x="68" y="80"/>
                      <a:pt x="69" y="79"/>
                    </a:cubicBezTo>
                    <a:cubicBezTo>
                      <a:pt x="70" y="78"/>
                      <a:pt x="69" y="73"/>
                      <a:pt x="71" y="71"/>
                    </a:cubicBezTo>
                    <a:cubicBezTo>
                      <a:pt x="73" y="70"/>
                      <a:pt x="72" y="66"/>
                      <a:pt x="76" y="66"/>
                    </a:cubicBezTo>
                    <a:cubicBezTo>
                      <a:pt x="75" y="63"/>
                      <a:pt x="77" y="62"/>
                      <a:pt x="78" y="56"/>
                    </a:cubicBezTo>
                    <a:cubicBezTo>
                      <a:pt x="78" y="54"/>
                      <a:pt x="76" y="52"/>
                      <a:pt x="77" y="51"/>
                    </a:cubicBezTo>
                    <a:cubicBezTo>
                      <a:pt x="78" y="49"/>
                      <a:pt x="80" y="46"/>
                      <a:pt x="80" y="40"/>
                    </a:cubicBezTo>
                    <a:cubicBezTo>
                      <a:pt x="79" y="36"/>
                      <a:pt x="81" y="41"/>
                      <a:pt x="83" y="37"/>
                    </a:cubicBezTo>
                    <a:close/>
                  </a:path>
                </a:pathLst>
              </a:custGeom>
              <a:grpFill/>
              <a:ln w="0" cmpd="sng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 sz="675" dirty="0">
                  <a:latin typeface="Calibri" panose="020F0502020204030204" pitchFamily="34" charset="0"/>
                </a:endParaRPr>
              </a:p>
            </p:txBody>
          </p: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C2DEC352-72A5-8044-937E-AEAC73246559}"/>
                  </a:ext>
                </a:extLst>
              </p:cNvPr>
              <p:cNvGrpSpPr/>
              <p:nvPr userDrawn="1"/>
            </p:nvGrpSpPr>
            <p:grpSpPr>
              <a:xfrm>
                <a:off x="3657574" y="3161245"/>
                <a:ext cx="1957843" cy="2123862"/>
                <a:chOff x="3657574" y="3161245"/>
                <a:chExt cx="1957843" cy="2123862"/>
              </a:xfrm>
              <a:grpFill/>
            </p:grpSpPr>
            <p:sp>
              <p:nvSpPr>
                <p:cNvPr id="144" name="Freeform 20157">
                  <a:extLst>
                    <a:ext uri="{FF2B5EF4-FFF2-40B4-BE49-F238E27FC236}">
                      <a16:creationId xmlns:a16="http://schemas.microsoft.com/office/drawing/2014/main" id="{D45FD339-E1F5-4E41-985B-7805E18E08A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464755" y="3296731"/>
                  <a:ext cx="383555" cy="406453"/>
                </a:xfrm>
                <a:custGeom>
                  <a:avLst/>
                  <a:gdLst/>
                  <a:ahLst/>
                  <a:cxnLst>
                    <a:cxn ang="0">
                      <a:pos x="78" y="90"/>
                    </a:cxn>
                    <a:cxn ang="0">
                      <a:pos x="78" y="87"/>
                    </a:cxn>
                    <a:cxn ang="0">
                      <a:pos x="84" y="87"/>
                    </a:cxn>
                    <a:cxn ang="0">
                      <a:pos x="84" y="74"/>
                    </a:cxn>
                    <a:cxn ang="0">
                      <a:pos x="84" y="25"/>
                    </a:cxn>
                    <a:cxn ang="0">
                      <a:pos x="83" y="18"/>
                    </a:cxn>
                    <a:cxn ang="0">
                      <a:pos x="84" y="11"/>
                    </a:cxn>
                    <a:cxn ang="0">
                      <a:pos x="84" y="10"/>
                    </a:cxn>
                    <a:cxn ang="0">
                      <a:pos x="81" y="7"/>
                    </a:cxn>
                    <a:cxn ang="0">
                      <a:pos x="76" y="6"/>
                    </a:cxn>
                    <a:cxn ang="0">
                      <a:pos x="71" y="2"/>
                    </a:cxn>
                    <a:cxn ang="0">
                      <a:pos x="65" y="2"/>
                    </a:cxn>
                    <a:cxn ang="0">
                      <a:pos x="58" y="6"/>
                    </a:cxn>
                    <a:cxn ang="0">
                      <a:pos x="57" y="16"/>
                    </a:cxn>
                    <a:cxn ang="0">
                      <a:pos x="50" y="17"/>
                    </a:cxn>
                    <a:cxn ang="0">
                      <a:pos x="40" y="13"/>
                    </a:cxn>
                    <a:cxn ang="0">
                      <a:pos x="34" y="8"/>
                    </a:cxn>
                    <a:cxn ang="0">
                      <a:pos x="28" y="3"/>
                    </a:cxn>
                    <a:cxn ang="0">
                      <a:pos x="20" y="2"/>
                    </a:cxn>
                    <a:cxn ang="0">
                      <a:pos x="14" y="0"/>
                    </a:cxn>
                    <a:cxn ang="0">
                      <a:pos x="13" y="5"/>
                    </a:cxn>
                    <a:cxn ang="0">
                      <a:pos x="7" y="9"/>
                    </a:cxn>
                    <a:cxn ang="0">
                      <a:pos x="3" y="19"/>
                    </a:cxn>
                    <a:cxn ang="0">
                      <a:pos x="5" y="34"/>
                    </a:cxn>
                    <a:cxn ang="0">
                      <a:pos x="5" y="41"/>
                    </a:cxn>
                    <a:cxn ang="0">
                      <a:pos x="4" y="49"/>
                    </a:cxn>
                    <a:cxn ang="0">
                      <a:pos x="6" y="56"/>
                    </a:cxn>
                    <a:cxn ang="0">
                      <a:pos x="12" y="58"/>
                    </a:cxn>
                    <a:cxn ang="0">
                      <a:pos x="16" y="64"/>
                    </a:cxn>
                    <a:cxn ang="0">
                      <a:pos x="26" y="68"/>
                    </a:cxn>
                    <a:cxn ang="0">
                      <a:pos x="31" y="67"/>
                    </a:cxn>
                    <a:cxn ang="0">
                      <a:pos x="37" y="64"/>
                    </a:cxn>
                    <a:cxn ang="0">
                      <a:pos x="78" y="90"/>
                    </a:cxn>
                  </a:cxnLst>
                  <a:rect l="0" t="0" r="r" b="b"/>
                  <a:pathLst>
                    <a:path w="85" h="90">
                      <a:moveTo>
                        <a:pt x="78" y="90"/>
                      </a:moveTo>
                      <a:cubicBezTo>
                        <a:pt x="78" y="87"/>
                        <a:pt x="78" y="87"/>
                        <a:pt x="78" y="87"/>
                      </a:cubicBezTo>
                      <a:cubicBezTo>
                        <a:pt x="84" y="87"/>
                        <a:pt x="84" y="87"/>
                        <a:pt x="84" y="87"/>
                      </a:cubicBezTo>
                      <a:cubicBezTo>
                        <a:pt x="84" y="74"/>
                        <a:pt x="84" y="74"/>
                        <a:pt x="84" y="74"/>
                      </a:cubicBezTo>
                      <a:cubicBezTo>
                        <a:pt x="84" y="25"/>
                        <a:pt x="84" y="25"/>
                        <a:pt x="84" y="25"/>
                      </a:cubicBezTo>
                      <a:cubicBezTo>
                        <a:pt x="84" y="23"/>
                        <a:pt x="81" y="22"/>
                        <a:pt x="83" y="18"/>
                      </a:cubicBezTo>
                      <a:cubicBezTo>
                        <a:pt x="85" y="15"/>
                        <a:pt x="82" y="13"/>
                        <a:pt x="84" y="11"/>
                      </a:cubicBezTo>
                      <a:cubicBezTo>
                        <a:pt x="84" y="11"/>
                        <a:pt x="84" y="10"/>
                        <a:pt x="84" y="10"/>
                      </a:cubicBezTo>
                      <a:cubicBezTo>
                        <a:pt x="84" y="9"/>
                        <a:pt x="84" y="7"/>
                        <a:pt x="81" y="7"/>
                      </a:cubicBezTo>
                      <a:cubicBezTo>
                        <a:pt x="78" y="7"/>
                        <a:pt x="79" y="7"/>
                        <a:pt x="76" y="6"/>
                      </a:cubicBezTo>
                      <a:cubicBezTo>
                        <a:pt x="73" y="6"/>
                        <a:pt x="76" y="4"/>
                        <a:pt x="71" y="2"/>
                      </a:cubicBezTo>
                      <a:cubicBezTo>
                        <a:pt x="67" y="0"/>
                        <a:pt x="66" y="1"/>
                        <a:pt x="65" y="2"/>
                      </a:cubicBezTo>
                      <a:cubicBezTo>
                        <a:pt x="64" y="3"/>
                        <a:pt x="63" y="1"/>
                        <a:pt x="58" y="6"/>
                      </a:cubicBezTo>
                      <a:cubicBezTo>
                        <a:pt x="56" y="9"/>
                        <a:pt x="60" y="13"/>
                        <a:pt x="57" y="16"/>
                      </a:cubicBezTo>
                      <a:cubicBezTo>
                        <a:pt x="54" y="20"/>
                        <a:pt x="52" y="20"/>
                        <a:pt x="50" y="17"/>
                      </a:cubicBezTo>
                      <a:cubicBezTo>
                        <a:pt x="48" y="15"/>
                        <a:pt x="44" y="13"/>
                        <a:pt x="40" y="13"/>
                      </a:cubicBezTo>
                      <a:cubicBezTo>
                        <a:pt x="37" y="12"/>
                        <a:pt x="35" y="12"/>
                        <a:pt x="34" y="8"/>
                      </a:cubicBezTo>
                      <a:cubicBezTo>
                        <a:pt x="33" y="3"/>
                        <a:pt x="30" y="5"/>
                        <a:pt x="28" y="3"/>
                      </a:cubicBezTo>
                      <a:cubicBezTo>
                        <a:pt x="27" y="2"/>
                        <a:pt x="23" y="1"/>
                        <a:pt x="20" y="2"/>
                      </a:cubicBezTo>
                      <a:cubicBezTo>
                        <a:pt x="18" y="2"/>
                        <a:pt x="15" y="0"/>
                        <a:pt x="14" y="0"/>
                      </a:cubicBezTo>
                      <a:cubicBezTo>
                        <a:pt x="12" y="3"/>
                        <a:pt x="15" y="4"/>
                        <a:pt x="13" y="5"/>
                      </a:cubicBezTo>
                      <a:cubicBezTo>
                        <a:pt x="11" y="6"/>
                        <a:pt x="10" y="7"/>
                        <a:pt x="7" y="9"/>
                      </a:cubicBezTo>
                      <a:cubicBezTo>
                        <a:pt x="4" y="12"/>
                        <a:pt x="10" y="15"/>
                        <a:pt x="3" y="19"/>
                      </a:cubicBezTo>
                      <a:cubicBezTo>
                        <a:pt x="6" y="28"/>
                        <a:pt x="4" y="30"/>
                        <a:pt x="5" y="34"/>
                      </a:cubicBezTo>
                      <a:cubicBezTo>
                        <a:pt x="6" y="37"/>
                        <a:pt x="4" y="38"/>
                        <a:pt x="5" y="41"/>
                      </a:cubicBezTo>
                      <a:cubicBezTo>
                        <a:pt x="6" y="46"/>
                        <a:pt x="0" y="44"/>
                        <a:pt x="4" y="49"/>
                      </a:cubicBezTo>
                      <a:cubicBezTo>
                        <a:pt x="7" y="54"/>
                        <a:pt x="5" y="53"/>
                        <a:pt x="6" y="56"/>
                      </a:cubicBezTo>
                      <a:cubicBezTo>
                        <a:pt x="8" y="59"/>
                        <a:pt x="8" y="56"/>
                        <a:pt x="12" y="58"/>
                      </a:cubicBezTo>
                      <a:cubicBezTo>
                        <a:pt x="15" y="60"/>
                        <a:pt x="14" y="60"/>
                        <a:pt x="16" y="64"/>
                      </a:cubicBezTo>
                      <a:cubicBezTo>
                        <a:pt x="18" y="66"/>
                        <a:pt x="24" y="65"/>
                        <a:pt x="26" y="68"/>
                      </a:cubicBezTo>
                      <a:cubicBezTo>
                        <a:pt x="28" y="71"/>
                        <a:pt x="27" y="70"/>
                        <a:pt x="31" y="67"/>
                      </a:cubicBezTo>
                      <a:cubicBezTo>
                        <a:pt x="33" y="66"/>
                        <a:pt x="36" y="64"/>
                        <a:pt x="37" y="64"/>
                      </a:cubicBezTo>
                      <a:cubicBezTo>
                        <a:pt x="51" y="72"/>
                        <a:pt x="78" y="90"/>
                        <a:pt x="78" y="90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5" name="Freeform 20160">
                  <a:extLst>
                    <a:ext uri="{FF2B5EF4-FFF2-40B4-BE49-F238E27FC236}">
                      <a16:creationId xmlns:a16="http://schemas.microsoft.com/office/drawing/2014/main" id="{257CF8AD-3FEE-C147-97CD-4176F8E7663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050669" y="3165063"/>
                  <a:ext cx="486598" cy="555294"/>
                </a:xfrm>
                <a:custGeom>
                  <a:avLst/>
                  <a:gdLst/>
                  <a:ahLst/>
                  <a:cxnLst>
                    <a:cxn ang="0">
                      <a:pos x="0" y="65"/>
                    </a:cxn>
                    <a:cxn ang="0">
                      <a:pos x="0" y="68"/>
                    </a:cxn>
                    <a:cxn ang="0">
                      <a:pos x="21" y="83"/>
                    </a:cxn>
                    <a:cxn ang="0">
                      <a:pos x="51" y="108"/>
                    </a:cxn>
                    <a:cxn ang="0">
                      <a:pos x="53" y="111"/>
                    </a:cxn>
                    <a:cxn ang="0">
                      <a:pos x="56" y="114"/>
                    </a:cxn>
                    <a:cxn ang="0">
                      <a:pos x="60" y="116"/>
                    </a:cxn>
                    <a:cxn ang="0">
                      <a:pos x="62" y="121"/>
                    </a:cxn>
                    <a:cxn ang="0">
                      <a:pos x="67" y="121"/>
                    </a:cxn>
                    <a:cxn ang="0">
                      <a:pos x="85" y="110"/>
                    </a:cxn>
                    <a:cxn ang="0">
                      <a:pos x="108" y="93"/>
                    </a:cxn>
                    <a:cxn ang="0">
                      <a:pos x="104" y="87"/>
                    </a:cxn>
                    <a:cxn ang="0">
                      <a:pos x="98" y="85"/>
                    </a:cxn>
                    <a:cxn ang="0">
                      <a:pos x="96" y="78"/>
                    </a:cxn>
                    <a:cxn ang="0">
                      <a:pos x="97" y="70"/>
                    </a:cxn>
                    <a:cxn ang="0">
                      <a:pos x="97" y="63"/>
                    </a:cxn>
                    <a:cxn ang="0">
                      <a:pos x="95" y="48"/>
                    </a:cxn>
                    <a:cxn ang="0">
                      <a:pos x="88" y="31"/>
                    </a:cxn>
                    <a:cxn ang="0">
                      <a:pos x="84" y="23"/>
                    </a:cxn>
                    <a:cxn ang="0">
                      <a:pos x="88" y="18"/>
                    </a:cxn>
                    <a:cxn ang="0">
                      <a:pos x="89" y="11"/>
                    </a:cxn>
                    <a:cxn ang="0">
                      <a:pos x="88" y="6"/>
                    </a:cxn>
                    <a:cxn ang="0">
                      <a:pos x="90" y="2"/>
                    </a:cxn>
                    <a:cxn ang="0">
                      <a:pos x="87" y="3"/>
                    </a:cxn>
                    <a:cxn ang="0">
                      <a:pos x="84" y="1"/>
                    </a:cxn>
                    <a:cxn ang="0">
                      <a:pos x="81" y="2"/>
                    </a:cxn>
                    <a:cxn ang="0">
                      <a:pos x="76" y="3"/>
                    </a:cxn>
                    <a:cxn ang="0">
                      <a:pos x="72" y="4"/>
                    </a:cxn>
                    <a:cxn ang="0">
                      <a:pos x="65" y="3"/>
                    </a:cxn>
                    <a:cxn ang="0">
                      <a:pos x="60" y="4"/>
                    </a:cxn>
                    <a:cxn ang="0">
                      <a:pos x="55" y="5"/>
                    </a:cxn>
                    <a:cxn ang="0">
                      <a:pos x="46" y="9"/>
                    </a:cxn>
                    <a:cxn ang="0">
                      <a:pos x="43" y="10"/>
                    </a:cxn>
                    <a:cxn ang="0">
                      <a:pos x="39" y="12"/>
                    </a:cxn>
                    <a:cxn ang="0">
                      <a:pos x="34" y="15"/>
                    </a:cxn>
                    <a:cxn ang="0">
                      <a:pos x="39" y="32"/>
                    </a:cxn>
                    <a:cxn ang="0">
                      <a:pos x="39" y="35"/>
                    </a:cxn>
                    <a:cxn ang="0">
                      <a:pos x="30" y="37"/>
                    </a:cxn>
                    <a:cxn ang="0">
                      <a:pos x="25" y="40"/>
                    </a:cxn>
                    <a:cxn ang="0">
                      <a:pos x="24" y="45"/>
                    </a:cxn>
                    <a:cxn ang="0">
                      <a:pos x="18" y="49"/>
                    </a:cxn>
                    <a:cxn ang="0">
                      <a:pos x="5" y="55"/>
                    </a:cxn>
                    <a:cxn ang="0">
                      <a:pos x="0" y="58"/>
                    </a:cxn>
                    <a:cxn ang="0">
                      <a:pos x="0" y="65"/>
                    </a:cxn>
                  </a:cxnLst>
                  <a:rect l="0" t="0" r="r" b="b"/>
                  <a:pathLst>
                    <a:path w="108" h="123">
                      <a:moveTo>
                        <a:pt x="0" y="65"/>
                      </a:move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21" y="83"/>
                        <a:pt x="21" y="83"/>
                        <a:pt x="21" y="83"/>
                      </a:cubicBezTo>
                      <a:cubicBezTo>
                        <a:pt x="21" y="83"/>
                        <a:pt x="50" y="107"/>
                        <a:pt x="51" y="108"/>
                      </a:cubicBezTo>
                      <a:cubicBezTo>
                        <a:pt x="53" y="110"/>
                        <a:pt x="51" y="110"/>
                        <a:pt x="53" y="111"/>
                      </a:cubicBezTo>
                      <a:cubicBezTo>
                        <a:pt x="55" y="112"/>
                        <a:pt x="54" y="115"/>
                        <a:pt x="56" y="114"/>
                      </a:cubicBezTo>
                      <a:cubicBezTo>
                        <a:pt x="59" y="114"/>
                        <a:pt x="57" y="116"/>
                        <a:pt x="60" y="116"/>
                      </a:cubicBezTo>
                      <a:cubicBezTo>
                        <a:pt x="63" y="116"/>
                        <a:pt x="63" y="119"/>
                        <a:pt x="62" y="121"/>
                      </a:cubicBezTo>
                      <a:cubicBezTo>
                        <a:pt x="61" y="122"/>
                        <a:pt x="62" y="123"/>
                        <a:pt x="67" y="121"/>
                      </a:cubicBezTo>
                      <a:cubicBezTo>
                        <a:pt x="81" y="121"/>
                        <a:pt x="79" y="114"/>
                        <a:pt x="85" y="110"/>
                      </a:cubicBezTo>
                      <a:cubicBezTo>
                        <a:pt x="91" y="105"/>
                        <a:pt x="105" y="95"/>
                        <a:pt x="108" y="93"/>
                      </a:cubicBezTo>
                      <a:cubicBezTo>
                        <a:pt x="106" y="89"/>
                        <a:pt x="107" y="89"/>
                        <a:pt x="104" y="87"/>
                      </a:cubicBezTo>
                      <a:cubicBezTo>
                        <a:pt x="100" y="85"/>
                        <a:pt x="100" y="88"/>
                        <a:pt x="98" y="85"/>
                      </a:cubicBezTo>
                      <a:cubicBezTo>
                        <a:pt x="97" y="82"/>
                        <a:pt x="99" y="83"/>
                        <a:pt x="96" y="78"/>
                      </a:cubicBezTo>
                      <a:cubicBezTo>
                        <a:pt x="92" y="73"/>
                        <a:pt x="98" y="75"/>
                        <a:pt x="97" y="70"/>
                      </a:cubicBezTo>
                      <a:cubicBezTo>
                        <a:pt x="96" y="67"/>
                        <a:pt x="98" y="66"/>
                        <a:pt x="97" y="63"/>
                      </a:cubicBezTo>
                      <a:cubicBezTo>
                        <a:pt x="96" y="59"/>
                        <a:pt x="98" y="57"/>
                        <a:pt x="95" y="48"/>
                      </a:cubicBezTo>
                      <a:cubicBezTo>
                        <a:pt x="93" y="30"/>
                        <a:pt x="90" y="37"/>
                        <a:pt x="88" y="31"/>
                      </a:cubicBezTo>
                      <a:cubicBezTo>
                        <a:pt x="88" y="29"/>
                        <a:pt x="84" y="25"/>
                        <a:pt x="84" y="23"/>
                      </a:cubicBezTo>
                      <a:cubicBezTo>
                        <a:pt x="85" y="21"/>
                        <a:pt x="88" y="19"/>
                        <a:pt x="88" y="18"/>
                      </a:cubicBezTo>
                      <a:cubicBezTo>
                        <a:pt x="88" y="14"/>
                        <a:pt x="90" y="16"/>
                        <a:pt x="89" y="11"/>
                      </a:cubicBezTo>
                      <a:cubicBezTo>
                        <a:pt x="88" y="8"/>
                        <a:pt x="89" y="6"/>
                        <a:pt x="88" y="6"/>
                      </a:cubicBezTo>
                      <a:cubicBezTo>
                        <a:pt x="87" y="5"/>
                        <a:pt x="90" y="4"/>
                        <a:pt x="90" y="2"/>
                      </a:cubicBezTo>
                      <a:cubicBezTo>
                        <a:pt x="89" y="2"/>
                        <a:pt x="88" y="2"/>
                        <a:pt x="87" y="3"/>
                      </a:cubicBezTo>
                      <a:cubicBezTo>
                        <a:pt x="86" y="4"/>
                        <a:pt x="86" y="2"/>
                        <a:pt x="84" y="1"/>
                      </a:cubicBezTo>
                      <a:cubicBezTo>
                        <a:pt x="82" y="0"/>
                        <a:pt x="83" y="3"/>
                        <a:pt x="81" y="2"/>
                      </a:cubicBezTo>
                      <a:cubicBezTo>
                        <a:pt x="78" y="1"/>
                        <a:pt x="79" y="2"/>
                        <a:pt x="76" y="3"/>
                      </a:cubicBezTo>
                      <a:cubicBezTo>
                        <a:pt x="73" y="3"/>
                        <a:pt x="74" y="5"/>
                        <a:pt x="72" y="4"/>
                      </a:cubicBezTo>
                      <a:cubicBezTo>
                        <a:pt x="71" y="2"/>
                        <a:pt x="67" y="2"/>
                        <a:pt x="65" y="3"/>
                      </a:cubicBezTo>
                      <a:cubicBezTo>
                        <a:pt x="62" y="4"/>
                        <a:pt x="61" y="2"/>
                        <a:pt x="60" y="4"/>
                      </a:cubicBezTo>
                      <a:cubicBezTo>
                        <a:pt x="59" y="5"/>
                        <a:pt x="58" y="5"/>
                        <a:pt x="55" y="5"/>
                      </a:cubicBezTo>
                      <a:cubicBezTo>
                        <a:pt x="51" y="5"/>
                        <a:pt x="46" y="7"/>
                        <a:pt x="46" y="9"/>
                      </a:cubicBezTo>
                      <a:cubicBezTo>
                        <a:pt x="45" y="12"/>
                        <a:pt x="44" y="9"/>
                        <a:pt x="43" y="10"/>
                      </a:cubicBezTo>
                      <a:cubicBezTo>
                        <a:pt x="41" y="12"/>
                        <a:pt x="41" y="9"/>
                        <a:pt x="39" y="12"/>
                      </a:cubicBezTo>
                      <a:cubicBezTo>
                        <a:pt x="38" y="13"/>
                        <a:pt x="36" y="16"/>
                        <a:pt x="34" y="15"/>
                      </a:cubicBezTo>
                      <a:cubicBezTo>
                        <a:pt x="38" y="17"/>
                        <a:pt x="35" y="30"/>
                        <a:pt x="39" y="32"/>
                      </a:cubicBezTo>
                      <a:cubicBezTo>
                        <a:pt x="41" y="33"/>
                        <a:pt x="39" y="33"/>
                        <a:pt x="39" y="35"/>
                      </a:cubicBezTo>
                      <a:cubicBezTo>
                        <a:pt x="39" y="37"/>
                        <a:pt x="32" y="34"/>
                        <a:pt x="30" y="37"/>
                      </a:cubicBezTo>
                      <a:cubicBezTo>
                        <a:pt x="28" y="39"/>
                        <a:pt x="24" y="37"/>
                        <a:pt x="25" y="40"/>
                      </a:cubicBezTo>
                      <a:cubicBezTo>
                        <a:pt x="27" y="43"/>
                        <a:pt x="28" y="43"/>
                        <a:pt x="24" y="45"/>
                      </a:cubicBezTo>
                      <a:cubicBezTo>
                        <a:pt x="20" y="46"/>
                        <a:pt x="20" y="46"/>
                        <a:pt x="18" y="49"/>
                      </a:cubicBezTo>
                      <a:cubicBezTo>
                        <a:pt x="18" y="50"/>
                        <a:pt x="6" y="53"/>
                        <a:pt x="5" y="55"/>
                      </a:cubicBezTo>
                      <a:cubicBezTo>
                        <a:pt x="0" y="58"/>
                        <a:pt x="0" y="58"/>
                        <a:pt x="0" y="58"/>
                      </a:cubicBezTo>
                      <a:lnTo>
                        <a:pt x="0" y="65"/>
                      </a:ln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6" name="Freeform 20161">
                  <a:extLst>
                    <a:ext uri="{FF2B5EF4-FFF2-40B4-BE49-F238E27FC236}">
                      <a16:creationId xmlns:a16="http://schemas.microsoft.com/office/drawing/2014/main" id="{53DF1EB5-96B5-764A-94AD-C234BAB25E2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428499" y="3161245"/>
                  <a:ext cx="104953" cy="221354"/>
                </a:xfrm>
                <a:custGeom>
                  <a:avLst/>
                  <a:gdLst/>
                  <a:ahLst/>
                  <a:cxnLst>
                    <a:cxn ang="0">
                      <a:pos x="6" y="3"/>
                    </a:cxn>
                    <a:cxn ang="0">
                      <a:pos x="4" y="7"/>
                    </a:cxn>
                    <a:cxn ang="0">
                      <a:pos x="5" y="12"/>
                    </a:cxn>
                    <a:cxn ang="0">
                      <a:pos x="4" y="19"/>
                    </a:cxn>
                    <a:cxn ang="0">
                      <a:pos x="0" y="24"/>
                    </a:cxn>
                    <a:cxn ang="0">
                      <a:pos x="4" y="32"/>
                    </a:cxn>
                    <a:cxn ang="0">
                      <a:pos x="11" y="49"/>
                    </a:cxn>
                    <a:cxn ang="0">
                      <a:pos x="15" y="39"/>
                    </a:cxn>
                    <a:cxn ang="0">
                      <a:pos x="21" y="35"/>
                    </a:cxn>
                    <a:cxn ang="0">
                      <a:pos x="22" y="30"/>
                    </a:cxn>
                    <a:cxn ang="0">
                      <a:pos x="19" y="27"/>
                    </a:cxn>
                    <a:cxn ang="0">
                      <a:pos x="18" y="26"/>
                    </a:cxn>
                    <a:cxn ang="0">
                      <a:pos x="14" y="23"/>
                    </a:cxn>
                    <a:cxn ang="0">
                      <a:pos x="19" y="15"/>
                    </a:cxn>
                    <a:cxn ang="0">
                      <a:pos x="17" y="11"/>
                    </a:cxn>
                    <a:cxn ang="0">
                      <a:pos x="16" y="7"/>
                    </a:cxn>
                    <a:cxn ang="0">
                      <a:pos x="19" y="3"/>
                    </a:cxn>
                    <a:cxn ang="0">
                      <a:pos x="15" y="5"/>
                    </a:cxn>
                    <a:cxn ang="0">
                      <a:pos x="13" y="1"/>
                    </a:cxn>
                    <a:cxn ang="0">
                      <a:pos x="7" y="3"/>
                    </a:cxn>
                    <a:cxn ang="0">
                      <a:pos x="6" y="3"/>
                    </a:cxn>
                  </a:cxnLst>
                  <a:rect l="0" t="0" r="r" b="b"/>
                  <a:pathLst>
                    <a:path w="23" h="49">
                      <a:moveTo>
                        <a:pt x="6" y="3"/>
                      </a:moveTo>
                      <a:cubicBezTo>
                        <a:pt x="6" y="5"/>
                        <a:pt x="3" y="6"/>
                        <a:pt x="4" y="7"/>
                      </a:cubicBezTo>
                      <a:cubicBezTo>
                        <a:pt x="5" y="7"/>
                        <a:pt x="4" y="9"/>
                        <a:pt x="5" y="12"/>
                      </a:cubicBezTo>
                      <a:cubicBezTo>
                        <a:pt x="6" y="17"/>
                        <a:pt x="4" y="15"/>
                        <a:pt x="4" y="19"/>
                      </a:cubicBezTo>
                      <a:cubicBezTo>
                        <a:pt x="4" y="20"/>
                        <a:pt x="1" y="22"/>
                        <a:pt x="0" y="24"/>
                      </a:cubicBezTo>
                      <a:cubicBezTo>
                        <a:pt x="0" y="26"/>
                        <a:pt x="4" y="30"/>
                        <a:pt x="4" y="32"/>
                      </a:cubicBezTo>
                      <a:cubicBezTo>
                        <a:pt x="6" y="38"/>
                        <a:pt x="9" y="31"/>
                        <a:pt x="11" y="49"/>
                      </a:cubicBezTo>
                      <a:cubicBezTo>
                        <a:pt x="18" y="45"/>
                        <a:pt x="12" y="42"/>
                        <a:pt x="15" y="39"/>
                      </a:cubicBezTo>
                      <a:cubicBezTo>
                        <a:pt x="18" y="37"/>
                        <a:pt x="19" y="36"/>
                        <a:pt x="21" y="35"/>
                      </a:cubicBezTo>
                      <a:cubicBezTo>
                        <a:pt x="23" y="34"/>
                        <a:pt x="20" y="33"/>
                        <a:pt x="22" y="30"/>
                      </a:cubicBezTo>
                      <a:cubicBezTo>
                        <a:pt x="20" y="29"/>
                        <a:pt x="20" y="29"/>
                        <a:pt x="19" y="27"/>
                      </a:cubicBezTo>
                      <a:cubicBezTo>
                        <a:pt x="19" y="25"/>
                        <a:pt x="18" y="27"/>
                        <a:pt x="18" y="26"/>
                      </a:cubicBezTo>
                      <a:cubicBezTo>
                        <a:pt x="17" y="26"/>
                        <a:pt x="14" y="26"/>
                        <a:pt x="14" y="23"/>
                      </a:cubicBezTo>
                      <a:cubicBezTo>
                        <a:pt x="13" y="21"/>
                        <a:pt x="21" y="17"/>
                        <a:pt x="19" y="15"/>
                      </a:cubicBezTo>
                      <a:cubicBezTo>
                        <a:pt x="18" y="13"/>
                        <a:pt x="20" y="13"/>
                        <a:pt x="17" y="11"/>
                      </a:cubicBezTo>
                      <a:cubicBezTo>
                        <a:pt x="15" y="10"/>
                        <a:pt x="15" y="8"/>
                        <a:pt x="16" y="7"/>
                      </a:cubicBezTo>
                      <a:cubicBezTo>
                        <a:pt x="18" y="6"/>
                        <a:pt x="20" y="4"/>
                        <a:pt x="19" y="3"/>
                      </a:cubicBezTo>
                      <a:cubicBezTo>
                        <a:pt x="18" y="1"/>
                        <a:pt x="16" y="5"/>
                        <a:pt x="15" y="5"/>
                      </a:cubicBezTo>
                      <a:cubicBezTo>
                        <a:pt x="14" y="4"/>
                        <a:pt x="16" y="2"/>
                        <a:pt x="13" y="1"/>
                      </a:cubicBezTo>
                      <a:cubicBezTo>
                        <a:pt x="9" y="0"/>
                        <a:pt x="8" y="3"/>
                        <a:pt x="7" y="3"/>
                      </a:cubicBezTo>
                      <a:cubicBezTo>
                        <a:pt x="7" y="3"/>
                        <a:pt x="7" y="3"/>
                        <a:pt x="6" y="3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7" name="Freeform 20182">
                  <a:extLst>
                    <a:ext uri="{FF2B5EF4-FFF2-40B4-BE49-F238E27FC236}">
                      <a16:creationId xmlns:a16="http://schemas.microsoft.com/office/drawing/2014/main" id="{A11487A1-2EE6-B948-A1EC-7323C2E6FE9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563983" y="3584874"/>
                  <a:ext cx="263336" cy="465608"/>
                </a:xfrm>
                <a:custGeom>
                  <a:avLst/>
                  <a:gdLst/>
                  <a:ahLst/>
                  <a:cxnLst>
                    <a:cxn ang="0">
                      <a:pos x="12" y="102"/>
                    </a:cxn>
                    <a:cxn ang="0">
                      <a:pos x="17" y="101"/>
                    </a:cxn>
                    <a:cxn ang="0">
                      <a:pos x="20" y="101"/>
                    </a:cxn>
                    <a:cxn ang="0">
                      <a:pos x="30" y="97"/>
                    </a:cxn>
                    <a:cxn ang="0">
                      <a:pos x="30" y="93"/>
                    </a:cxn>
                    <a:cxn ang="0">
                      <a:pos x="41" y="89"/>
                    </a:cxn>
                    <a:cxn ang="0">
                      <a:pos x="44" y="83"/>
                    </a:cxn>
                    <a:cxn ang="0">
                      <a:pos x="51" y="81"/>
                    </a:cxn>
                    <a:cxn ang="0">
                      <a:pos x="49" y="76"/>
                    </a:cxn>
                    <a:cxn ang="0">
                      <a:pos x="48" y="71"/>
                    </a:cxn>
                    <a:cxn ang="0">
                      <a:pos x="45" y="70"/>
                    </a:cxn>
                    <a:cxn ang="0">
                      <a:pos x="47" y="64"/>
                    </a:cxn>
                    <a:cxn ang="0">
                      <a:pos x="48" y="59"/>
                    </a:cxn>
                    <a:cxn ang="0">
                      <a:pos x="50" y="56"/>
                    </a:cxn>
                    <a:cxn ang="0">
                      <a:pos x="51" y="53"/>
                    </a:cxn>
                    <a:cxn ang="0">
                      <a:pos x="55" y="50"/>
                    </a:cxn>
                    <a:cxn ang="0">
                      <a:pos x="56" y="49"/>
                    </a:cxn>
                    <a:cxn ang="0">
                      <a:pos x="56" y="26"/>
                    </a:cxn>
                    <a:cxn ang="0">
                      <a:pos x="15" y="0"/>
                    </a:cxn>
                    <a:cxn ang="0">
                      <a:pos x="9" y="3"/>
                    </a:cxn>
                    <a:cxn ang="0">
                      <a:pos x="12" y="17"/>
                    </a:cxn>
                    <a:cxn ang="0">
                      <a:pos x="13" y="28"/>
                    </a:cxn>
                    <a:cxn ang="0">
                      <a:pos x="11" y="44"/>
                    </a:cxn>
                    <a:cxn ang="0">
                      <a:pos x="2" y="63"/>
                    </a:cxn>
                    <a:cxn ang="0">
                      <a:pos x="5" y="67"/>
                    </a:cxn>
                    <a:cxn ang="0">
                      <a:pos x="8" y="69"/>
                    </a:cxn>
                    <a:cxn ang="0">
                      <a:pos x="9" y="73"/>
                    </a:cxn>
                    <a:cxn ang="0">
                      <a:pos x="13" y="86"/>
                    </a:cxn>
                    <a:cxn ang="0">
                      <a:pos x="7" y="87"/>
                    </a:cxn>
                    <a:cxn ang="0">
                      <a:pos x="5" y="90"/>
                    </a:cxn>
                    <a:cxn ang="0">
                      <a:pos x="11" y="98"/>
                    </a:cxn>
                    <a:cxn ang="0">
                      <a:pos x="12" y="102"/>
                    </a:cxn>
                  </a:cxnLst>
                  <a:rect l="0" t="0" r="r" b="b"/>
                  <a:pathLst>
                    <a:path w="58" h="103">
                      <a:moveTo>
                        <a:pt x="12" y="102"/>
                      </a:moveTo>
                      <a:cubicBezTo>
                        <a:pt x="14" y="103"/>
                        <a:pt x="16" y="102"/>
                        <a:pt x="17" y="101"/>
                      </a:cubicBezTo>
                      <a:cubicBezTo>
                        <a:pt x="18" y="99"/>
                        <a:pt x="18" y="103"/>
                        <a:pt x="20" y="101"/>
                      </a:cubicBezTo>
                      <a:cubicBezTo>
                        <a:pt x="24" y="98"/>
                        <a:pt x="27" y="101"/>
                        <a:pt x="30" y="97"/>
                      </a:cubicBezTo>
                      <a:cubicBezTo>
                        <a:pt x="32" y="94"/>
                        <a:pt x="29" y="94"/>
                        <a:pt x="30" y="93"/>
                      </a:cubicBezTo>
                      <a:cubicBezTo>
                        <a:pt x="31" y="92"/>
                        <a:pt x="37" y="94"/>
                        <a:pt x="41" y="89"/>
                      </a:cubicBezTo>
                      <a:cubicBezTo>
                        <a:pt x="44" y="84"/>
                        <a:pt x="45" y="86"/>
                        <a:pt x="44" y="83"/>
                      </a:cubicBezTo>
                      <a:cubicBezTo>
                        <a:pt x="44" y="82"/>
                        <a:pt x="49" y="80"/>
                        <a:pt x="51" y="81"/>
                      </a:cubicBezTo>
                      <a:cubicBezTo>
                        <a:pt x="52" y="77"/>
                        <a:pt x="49" y="79"/>
                        <a:pt x="49" y="76"/>
                      </a:cubicBezTo>
                      <a:cubicBezTo>
                        <a:pt x="49" y="73"/>
                        <a:pt x="48" y="74"/>
                        <a:pt x="48" y="71"/>
                      </a:cubicBezTo>
                      <a:cubicBezTo>
                        <a:pt x="48" y="68"/>
                        <a:pt x="46" y="71"/>
                        <a:pt x="45" y="70"/>
                      </a:cubicBezTo>
                      <a:cubicBezTo>
                        <a:pt x="44" y="67"/>
                        <a:pt x="49" y="67"/>
                        <a:pt x="47" y="64"/>
                      </a:cubicBezTo>
                      <a:cubicBezTo>
                        <a:pt x="45" y="61"/>
                        <a:pt x="50" y="62"/>
                        <a:pt x="48" y="59"/>
                      </a:cubicBezTo>
                      <a:cubicBezTo>
                        <a:pt x="47" y="56"/>
                        <a:pt x="50" y="59"/>
                        <a:pt x="50" y="56"/>
                      </a:cubicBezTo>
                      <a:cubicBezTo>
                        <a:pt x="49" y="54"/>
                        <a:pt x="51" y="56"/>
                        <a:pt x="51" y="53"/>
                      </a:cubicBezTo>
                      <a:cubicBezTo>
                        <a:pt x="51" y="50"/>
                        <a:pt x="53" y="50"/>
                        <a:pt x="55" y="50"/>
                      </a:cubicBezTo>
                      <a:cubicBezTo>
                        <a:pt x="58" y="51"/>
                        <a:pt x="56" y="49"/>
                        <a:pt x="56" y="49"/>
                      </a:cubicBezTo>
                      <a:cubicBezTo>
                        <a:pt x="56" y="26"/>
                        <a:pt x="56" y="26"/>
                        <a:pt x="56" y="26"/>
                      </a:cubicBezTo>
                      <a:cubicBezTo>
                        <a:pt x="56" y="26"/>
                        <a:pt x="29" y="8"/>
                        <a:pt x="15" y="0"/>
                      </a:cubicBezTo>
                      <a:cubicBezTo>
                        <a:pt x="14" y="0"/>
                        <a:pt x="11" y="2"/>
                        <a:pt x="9" y="3"/>
                      </a:cubicBezTo>
                      <a:cubicBezTo>
                        <a:pt x="12" y="9"/>
                        <a:pt x="9" y="11"/>
                        <a:pt x="12" y="17"/>
                      </a:cubicBezTo>
                      <a:cubicBezTo>
                        <a:pt x="16" y="24"/>
                        <a:pt x="13" y="21"/>
                        <a:pt x="13" y="28"/>
                      </a:cubicBezTo>
                      <a:cubicBezTo>
                        <a:pt x="13" y="34"/>
                        <a:pt x="12" y="43"/>
                        <a:pt x="11" y="44"/>
                      </a:cubicBezTo>
                      <a:cubicBezTo>
                        <a:pt x="10" y="45"/>
                        <a:pt x="0" y="57"/>
                        <a:pt x="2" y="63"/>
                      </a:cubicBezTo>
                      <a:cubicBezTo>
                        <a:pt x="5" y="67"/>
                        <a:pt x="5" y="67"/>
                        <a:pt x="5" y="67"/>
                      </a:cubicBezTo>
                      <a:cubicBezTo>
                        <a:pt x="11" y="67"/>
                        <a:pt x="5" y="68"/>
                        <a:pt x="8" y="69"/>
                      </a:cubicBezTo>
                      <a:cubicBezTo>
                        <a:pt x="10" y="70"/>
                        <a:pt x="8" y="73"/>
                        <a:pt x="9" y="73"/>
                      </a:cubicBezTo>
                      <a:cubicBezTo>
                        <a:pt x="11" y="74"/>
                        <a:pt x="8" y="83"/>
                        <a:pt x="13" y="86"/>
                      </a:cubicBezTo>
                      <a:cubicBezTo>
                        <a:pt x="10" y="88"/>
                        <a:pt x="8" y="87"/>
                        <a:pt x="7" y="87"/>
                      </a:cubicBezTo>
                      <a:cubicBezTo>
                        <a:pt x="5" y="86"/>
                        <a:pt x="4" y="89"/>
                        <a:pt x="5" y="90"/>
                      </a:cubicBezTo>
                      <a:cubicBezTo>
                        <a:pt x="9" y="96"/>
                        <a:pt x="11" y="95"/>
                        <a:pt x="11" y="98"/>
                      </a:cubicBezTo>
                      <a:cubicBezTo>
                        <a:pt x="12" y="102"/>
                        <a:pt x="13" y="100"/>
                        <a:pt x="12" y="102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8" name="Freeform 20183">
                  <a:extLst>
                    <a:ext uri="{FF2B5EF4-FFF2-40B4-BE49-F238E27FC236}">
                      <a16:creationId xmlns:a16="http://schemas.microsoft.com/office/drawing/2014/main" id="{0F83E6F5-6568-F14E-B67A-A96EC428303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256758" y="3584874"/>
                  <a:ext cx="379737" cy="343480"/>
                </a:xfrm>
                <a:custGeom>
                  <a:avLst/>
                  <a:gdLst/>
                  <a:ahLst/>
                  <a:cxnLst>
                    <a:cxn ang="0">
                      <a:pos x="21" y="28"/>
                    </a:cxn>
                    <a:cxn ang="0">
                      <a:pos x="21" y="46"/>
                    </a:cxn>
                    <a:cxn ang="0">
                      <a:pos x="19" y="51"/>
                    </a:cxn>
                    <a:cxn ang="0">
                      <a:pos x="17" y="52"/>
                    </a:cxn>
                    <a:cxn ang="0">
                      <a:pos x="9" y="53"/>
                    </a:cxn>
                    <a:cxn ang="0">
                      <a:pos x="1" y="55"/>
                    </a:cxn>
                    <a:cxn ang="0">
                      <a:pos x="2" y="61"/>
                    </a:cxn>
                    <a:cxn ang="0">
                      <a:pos x="4" y="64"/>
                    </a:cxn>
                    <a:cxn ang="0">
                      <a:pos x="5" y="65"/>
                    </a:cxn>
                    <a:cxn ang="0">
                      <a:pos x="5" y="67"/>
                    </a:cxn>
                    <a:cxn ang="0">
                      <a:pos x="9" y="70"/>
                    </a:cxn>
                    <a:cxn ang="0">
                      <a:pos x="11" y="72"/>
                    </a:cxn>
                    <a:cxn ang="0">
                      <a:pos x="12" y="75"/>
                    </a:cxn>
                    <a:cxn ang="0">
                      <a:pos x="13" y="72"/>
                    </a:cxn>
                    <a:cxn ang="0">
                      <a:pos x="15" y="72"/>
                    </a:cxn>
                    <a:cxn ang="0">
                      <a:pos x="18" y="76"/>
                    </a:cxn>
                    <a:cxn ang="0">
                      <a:pos x="20" y="70"/>
                    </a:cxn>
                    <a:cxn ang="0">
                      <a:pos x="21" y="64"/>
                    </a:cxn>
                    <a:cxn ang="0">
                      <a:pos x="26" y="63"/>
                    </a:cxn>
                    <a:cxn ang="0">
                      <a:pos x="29" y="62"/>
                    </a:cxn>
                    <a:cxn ang="0">
                      <a:pos x="34" y="66"/>
                    </a:cxn>
                    <a:cxn ang="0">
                      <a:pos x="41" y="65"/>
                    </a:cxn>
                    <a:cxn ang="0">
                      <a:pos x="47" y="69"/>
                    </a:cxn>
                    <a:cxn ang="0">
                      <a:pos x="55" y="65"/>
                    </a:cxn>
                    <a:cxn ang="0">
                      <a:pos x="65" y="66"/>
                    </a:cxn>
                    <a:cxn ang="0">
                      <a:pos x="70" y="63"/>
                    </a:cxn>
                    <a:cxn ang="0">
                      <a:pos x="79" y="44"/>
                    </a:cxn>
                    <a:cxn ang="0">
                      <a:pos x="81" y="28"/>
                    </a:cxn>
                    <a:cxn ang="0">
                      <a:pos x="80" y="17"/>
                    </a:cxn>
                    <a:cxn ang="0">
                      <a:pos x="77" y="3"/>
                    </a:cxn>
                    <a:cxn ang="0">
                      <a:pos x="72" y="4"/>
                    </a:cxn>
                    <a:cxn ang="0">
                      <a:pos x="62" y="0"/>
                    </a:cxn>
                    <a:cxn ang="0">
                      <a:pos x="39" y="17"/>
                    </a:cxn>
                    <a:cxn ang="0">
                      <a:pos x="21" y="28"/>
                    </a:cxn>
                  </a:cxnLst>
                  <a:rect l="0" t="0" r="r" b="b"/>
                  <a:pathLst>
                    <a:path w="84" h="76">
                      <a:moveTo>
                        <a:pt x="21" y="28"/>
                      </a:moveTo>
                      <a:cubicBezTo>
                        <a:pt x="21" y="28"/>
                        <a:pt x="22" y="45"/>
                        <a:pt x="21" y="46"/>
                      </a:cubicBezTo>
                      <a:cubicBezTo>
                        <a:pt x="20" y="48"/>
                        <a:pt x="21" y="51"/>
                        <a:pt x="19" y="51"/>
                      </a:cubicBezTo>
                      <a:cubicBezTo>
                        <a:pt x="17" y="51"/>
                        <a:pt x="18" y="53"/>
                        <a:pt x="17" y="52"/>
                      </a:cubicBezTo>
                      <a:cubicBezTo>
                        <a:pt x="16" y="52"/>
                        <a:pt x="15" y="53"/>
                        <a:pt x="9" y="53"/>
                      </a:cubicBezTo>
                      <a:cubicBezTo>
                        <a:pt x="4" y="53"/>
                        <a:pt x="7" y="56"/>
                        <a:pt x="1" y="55"/>
                      </a:cubicBezTo>
                      <a:cubicBezTo>
                        <a:pt x="0" y="59"/>
                        <a:pt x="1" y="57"/>
                        <a:pt x="2" y="61"/>
                      </a:cubicBezTo>
                      <a:cubicBezTo>
                        <a:pt x="2" y="64"/>
                        <a:pt x="3" y="62"/>
                        <a:pt x="4" y="64"/>
                      </a:cubicBezTo>
                      <a:cubicBezTo>
                        <a:pt x="6" y="65"/>
                        <a:pt x="6" y="66"/>
                        <a:pt x="5" y="65"/>
                      </a:cubicBezTo>
                      <a:cubicBezTo>
                        <a:pt x="4" y="65"/>
                        <a:pt x="4" y="67"/>
                        <a:pt x="5" y="67"/>
                      </a:cubicBezTo>
                      <a:cubicBezTo>
                        <a:pt x="6" y="68"/>
                        <a:pt x="8" y="71"/>
                        <a:pt x="9" y="70"/>
                      </a:cubicBezTo>
                      <a:cubicBezTo>
                        <a:pt x="10" y="68"/>
                        <a:pt x="12" y="71"/>
                        <a:pt x="11" y="72"/>
                      </a:cubicBezTo>
                      <a:cubicBezTo>
                        <a:pt x="10" y="72"/>
                        <a:pt x="11" y="73"/>
                        <a:pt x="12" y="75"/>
                      </a:cubicBezTo>
                      <a:cubicBezTo>
                        <a:pt x="13" y="73"/>
                        <a:pt x="11" y="72"/>
                        <a:pt x="13" y="72"/>
                      </a:cubicBezTo>
                      <a:cubicBezTo>
                        <a:pt x="14" y="72"/>
                        <a:pt x="13" y="70"/>
                        <a:pt x="15" y="72"/>
                      </a:cubicBezTo>
                      <a:cubicBezTo>
                        <a:pt x="17" y="74"/>
                        <a:pt x="17" y="74"/>
                        <a:pt x="18" y="76"/>
                      </a:cubicBezTo>
                      <a:cubicBezTo>
                        <a:pt x="19" y="74"/>
                        <a:pt x="17" y="71"/>
                        <a:pt x="20" y="70"/>
                      </a:cubicBezTo>
                      <a:cubicBezTo>
                        <a:pt x="22" y="68"/>
                        <a:pt x="20" y="66"/>
                        <a:pt x="21" y="64"/>
                      </a:cubicBezTo>
                      <a:cubicBezTo>
                        <a:pt x="23" y="63"/>
                        <a:pt x="23" y="63"/>
                        <a:pt x="26" y="63"/>
                      </a:cubicBezTo>
                      <a:cubicBezTo>
                        <a:pt x="28" y="63"/>
                        <a:pt x="27" y="61"/>
                        <a:pt x="29" y="62"/>
                      </a:cubicBezTo>
                      <a:cubicBezTo>
                        <a:pt x="31" y="63"/>
                        <a:pt x="33" y="62"/>
                        <a:pt x="34" y="66"/>
                      </a:cubicBezTo>
                      <a:cubicBezTo>
                        <a:pt x="36" y="70"/>
                        <a:pt x="39" y="65"/>
                        <a:pt x="41" y="65"/>
                      </a:cubicBezTo>
                      <a:cubicBezTo>
                        <a:pt x="42" y="65"/>
                        <a:pt x="44" y="68"/>
                        <a:pt x="47" y="69"/>
                      </a:cubicBezTo>
                      <a:cubicBezTo>
                        <a:pt x="51" y="69"/>
                        <a:pt x="50" y="66"/>
                        <a:pt x="55" y="65"/>
                      </a:cubicBezTo>
                      <a:cubicBezTo>
                        <a:pt x="61" y="64"/>
                        <a:pt x="64" y="69"/>
                        <a:pt x="65" y="66"/>
                      </a:cubicBezTo>
                      <a:cubicBezTo>
                        <a:pt x="66" y="63"/>
                        <a:pt x="67" y="65"/>
                        <a:pt x="70" y="63"/>
                      </a:cubicBezTo>
                      <a:cubicBezTo>
                        <a:pt x="68" y="57"/>
                        <a:pt x="78" y="45"/>
                        <a:pt x="79" y="44"/>
                      </a:cubicBezTo>
                      <a:cubicBezTo>
                        <a:pt x="80" y="43"/>
                        <a:pt x="81" y="34"/>
                        <a:pt x="81" y="28"/>
                      </a:cubicBezTo>
                      <a:cubicBezTo>
                        <a:pt x="81" y="21"/>
                        <a:pt x="84" y="24"/>
                        <a:pt x="80" y="17"/>
                      </a:cubicBezTo>
                      <a:cubicBezTo>
                        <a:pt x="77" y="11"/>
                        <a:pt x="80" y="9"/>
                        <a:pt x="77" y="3"/>
                      </a:cubicBezTo>
                      <a:cubicBezTo>
                        <a:pt x="73" y="6"/>
                        <a:pt x="74" y="7"/>
                        <a:pt x="72" y="4"/>
                      </a:cubicBezTo>
                      <a:cubicBezTo>
                        <a:pt x="70" y="1"/>
                        <a:pt x="64" y="2"/>
                        <a:pt x="62" y="0"/>
                      </a:cubicBezTo>
                      <a:cubicBezTo>
                        <a:pt x="59" y="2"/>
                        <a:pt x="45" y="12"/>
                        <a:pt x="39" y="17"/>
                      </a:cubicBezTo>
                      <a:cubicBezTo>
                        <a:pt x="33" y="21"/>
                        <a:pt x="35" y="28"/>
                        <a:pt x="21" y="28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9" name="Freeform 20184">
                  <a:extLst>
                    <a:ext uri="{FF2B5EF4-FFF2-40B4-BE49-F238E27FC236}">
                      <a16:creationId xmlns:a16="http://schemas.microsoft.com/office/drawing/2014/main" id="{4079E2EE-E076-214E-949A-4B23FD9266F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964799" y="3540984"/>
                  <a:ext cx="393094" cy="442709"/>
                </a:xfrm>
                <a:custGeom>
                  <a:avLst/>
                  <a:gdLst/>
                  <a:ahLst/>
                  <a:cxnLst>
                    <a:cxn ang="0">
                      <a:pos x="66" y="65"/>
                    </a:cxn>
                    <a:cxn ang="0">
                      <a:pos x="74" y="63"/>
                    </a:cxn>
                    <a:cxn ang="0">
                      <a:pos x="82" y="62"/>
                    </a:cxn>
                    <a:cxn ang="0">
                      <a:pos x="84" y="61"/>
                    </a:cxn>
                    <a:cxn ang="0">
                      <a:pos x="86" y="56"/>
                    </a:cxn>
                    <a:cxn ang="0">
                      <a:pos x="86" y="38"/>
                    </a:cxn>
                    <a:cxn ang="0">
                      <a:pos x="81" y="38"/>
                    </a:cxn>
                    <a:cxn ang="0">
                      <a:pos x="79" y="33"/>
                    </a:cxn>
                    <a:cxn ang="0">
                      <a:pos x="75" y="31"/>
                    </a:cxn>
                    <a:cxn ang="0">
                      <a:pos x="72" y="28"/>
                    </a:cxn>
                    <a:cxn ang="0">
                      <a:pos x="70" y="25"/>
                    </a:cxn>
                    <a:cxn ang="0">
                      <a:pos x="40" y="0"/>
                    </a:cxn>
                    <a:cxn ang="0">
                      <a:pos x="30" y="0"/>
                    </a:cxn>
                    <a:cxn ang="0">
                      <a:pos x="35" y="55"/>
                    </a:cxn>
                    <a:cxn ang="0">
                      <a:pos x="36" y="62"/>
                    </a:cxn>
                    <a:cxn ang="0">
                      <a:pos x="17" y="62"/>
                    </a:cxn>
                    <a:cxn ang="0">
                      <a:pos x="15" y="62"/>
                    </a:cxn>
                    <a:cxn ang="0">
                      <a:pos x="10" y="62"/>
                    </a:cxn>
                    <a:cxn ang="0">
                      <a:pos x="7" y="64"/>
                    </a:cxn>
                    <a:cxn ang="0">
                      <a:pos x="3" y="62"/>
                    </a:cxn>
                    <a:cxn ang="0">
                      <a:pos x="1" y="67"/>
                    </a:cxn>
                    <a:cxn ang="0">
                      <a:pos x="2" y="71"/>
                    </a:cxn>
                    <a:cxn ang="0">
                      <a:pos x="2" y="74"/>
                    </a:cxn>
                    <a:cxn ang="0">
                      <a:pos x="5" y="77"/>
                    </a:cxn>
                    <a:cxn ang="0">
                      <a:pos x="5" y="81"/>
                    </a:cxn>
                    <a:cxn ang="0">
                      <a:pos x="7" y="83"/>
                    </a:cxn>
                    <a:cxn ang="0">
                      <a:pos x="8" y="84"/>
                    </a:cxn>
                    <a:cxn ang="0">
                      <a:pos x="13" y="83"/>
                    </a:cxn>
                    <a:cxn ang="0">
                      <a:pos x="15" y="82"/>
                    </a:cxn>
                    <a:cxn ang="0">
                      <a:pos x="17" y="81"/>
                    </a:cxn>
                    <a:cxn ang="0">
                      <a:pos x="18" y="84"/>
                    </a:cxn>
                    <a:cxn ang="0">
                      <a:pos x="19" y="86"/>
                    </a:cxn>
                    <a:cxn ang="0">
                      <a:pos x="20" y="88"/>
                    </a:cxn>
                    <a:cxn ang="0">
                      <a:pos x="20" y="90"/>
                    </a:cxn>
                    <a:cxn ang="0">
                      <a:pos x="21" y="93"/>
                    </a:cxn>
                    <a:cxn ang="0">
                      <a:pos x="23" y="96"/>
                    </a:cxn>
                    <a:cxn ang="0">
                      <a:pos x="29" y="95"/>
                    </a:cxn>
                    <a:cxn ang="0">
                      <a:pos x="32" y="94"/>
                    </a:cxn>
                    <a:cxn ang="0">
                      <a:pos x="36" y="94"/>
                    </a:cxn>
                    <a:cxn ang="0">
                      <a:pos x="36" y="90"/>
                    </a:cxn>
                    <a:cxn ang="0">
                      <a:pos x="37" y="85"/>
                    </a:cxn>
                    <a:cxn ang="0">
                      <a:pos x="41" y="83"/>
                    </a:cxn>
                    <a:cxn ang="0">
                      <a:pos x="41" y="80"/>
                    </a:cxn>
                    <a:cxn ang="0">
                      <a:pos x="43" y="78"/>
                    </a:cxn>
                    <a:cxn ang="0">
                      <a:pos x="43" y="75"/>
                    </a:cxn>
                    <a:cxn ang="0">
                      <a:pos x="45" y="76"/>
                    </a:cxn>
                    <a:cxn ang="0">
                      <a:pos x="47" y="74"/>
                    </a:cxn>
                    <a:cxn ang="0">
                      <a:pos x="50" y="73"/>
                    </a:cxn>
                    <a:cxn ang="0">
                      <a:pos x="53" y="70"/>
                    </a:cxn>
                    <a:cxn ang="0">
                      <a:pos x="56" y="67"/>
                    </a:cxn>
                    <a:cxn ang="0">
                      <a:pos x="62" y="64"/>
                    </a:cxn>
                    <a:cxn ang="0">
                      <a:pos x="64" y="65"/>
                    </a:cxn>
                    <a:cxn ang="0">
                      <a:pos x="66" y="65"/>
                    </a:cxn>
                  </a:cxnLst>
                  <a:rect l="0" t="0" r="r" b="b"/>
                  <a:pathLst>
                    <a:path w="87" h="98">
                      <a:moveTo>
                        <a:pt x="66" y="65"/>
                      </a:moveTo>
                      <a:cubicBezTo>
                        <a:pt x="72" y="66"/>
                        <a:pt x="69" y="63"/>
                        <a:pt x="74" y="63"/>
                      </a:cubicBezTo>
                      <a:cubicBezTo>
                        <a:pt x="80" y="63"/>
                        <a:pt x="81" y="62"/>
                        <a:pt x="82" y="62"/>
                      </a:cubicBezTo>
                      <a:cubicBezTo>
                        <a:pt x="83" y="63"/>
                        <a:pt x="82" y="61"/>
                        <a:pt x="84" y="61"/>
                      </a:cubicBezTo>
                      <a:cubicBezTo>
                        <a:pt x="86" y="61"/>
                        <a:pt x="85" y="58"/>
                        <a:pt x="86" y="56"/>
                      </a:cubicBezTo>
                      <a:cubicBezTo>
                        <a:pt x="87" y="55"/>
                        <a:pt x="86" y="38"/>
                        <a:pt x="86" y="38"/>
                      </a:cubicBezTo>
                      <a:cubicBezTo>
                        <a:pt x="81" y="40"/>
                        <a:pt x="80" y="39"/>
                        <a:pt x="81" y="38"/>
                      </a:cubicBezTo>
                      <a:cubicBezTo>
                        <a:pt x="82" y="36"/>
                        <a:pt x="82" y="33"/>
                        <a:pt x="79" y="33"/>
                      </a:cubicBezTo>
                      <a:cubicBezTo>
                        <a:pt x="76" y="33"/>
                        <a:pt x="78" y="31"/>
                        <a:pt x="75" y="31"/>
                      </a:cubicBezTo>
                      <a:cubicBezTo>
                        <a:pt x="73" y="32"/>
                        <a:pt x="74" y="29"/>
                        <a:pt x="72" y="28"/>
                      </a:cubicBezTo>
                      <a:cubicBezTo>
                        <a:pt x="70" y="27"/>
                        <a:pt x="72" y="27"/>
                        <a:pt x="70" y="25"/>
                      </a:cubicBezTo>
                      <a:cubicBezTo>
                        <a:pt x="69" y="24"/>
                        <a:pt x="40" y="0"/>
                        <a:pt x="4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5" y="52"/>
                        <a:pt x="35" y="55"/>
                      </a:cubicBezTo>
                      <a:cubicBezTo>
                        <a:pt x="36" y="58"/>
                        <a:pt x="38" y="53"/>
                        <a:pt x="36" y="62"/>
                      </a:cubicBezTo>
                      <a:cubicBezTo>
                        <a:pt x="36" y="62"/>
                        <a:pt x="20" y="62"/>
                        <a:pt x="17" y="62"/>
                      </a:cubicBezTo>
                      <a:cubicBezTo>
                        <a:pt x="15" y="62"/>
                        <a:pt x="16" y="60"/>
                        <a:pt x="15" y="62"/>
                      </a:cubicBezTo>
                      <a:cubicBezTo>
                        <a:pt x="15" y="63"/>
                        <a:pt x="12" y="63"/>
                        <a:pt x="10" y="62"/>
                      </a:cubicBezTo>
                      <a:cubicBezTo>
                        <a:pt x="7" y="61"/>
                        <a:pt x="8" y="66"/>
                        <a:pt x="7" y="64"/>
                      </a:cubicBezTo>
                      <a:cubicBezTo>
                        <a:pt x="6" y="62"/>
                        <a:pt x="5" y="59"/>
                        <a:pt x="3" y="62"/>
                      </a:cubicBezTo>
                      <a:cubicBezTo>
                        <a:pt x="1" y="65"/>
                        <a:pt x="5" y="65"/>
                        <a:pt x="1" y="67"/>
                      </a:cubicBezTo>
                      <a:cubicBezTo>
                        <a:pt x="0" y="70"/>
                        <a:pt x="2" y="68"/>
                        <a:pt x="2" y="71"/>
                      </a:cubicBezTo>
                      <a:cubicBezTo>
                        <a:pt x="2" y="74"/>
                        <a:pt x="1" y="72"/>
                        <a:pt x="2" y="74"/>
                      </a:cubicBezTo>
                      <a:cubicBezTo>
                        <a:pt x="3" y="77"/>
                        <a:pt x="3" y="74"/>
                        <a:pt x="5" y="77"/>
                      </a:cubicBezTo>
                      <a:cubicBezTo>
                        <a:pt x="6" y="79"/>
                        <a:pt x="5" y="79"/>
                        <a:pt x="5" y="81"/>
                      </a:cubicBezTo>
                      <a:cubicBezTo>
                        <a:pt x="4" y="84"/>
                        <a:pt x="6" y="85"/>
                        <a:pt x="7" y="83"/>
                      </a:cubicBezTo>
                      <a:cubicBezTo>
                        <a:pt x="7" y="82"/>
                        <a:pt x="8" y="83"/>
                        <a:pt x="8" y="84"/>
                      </a:cubicBezTo>
                      <a:cubicBezTo>
                        <a:pt x="10" y="86"/>
                        <a:pt x="9" y="81"/>
                        <a:pt x="13" y="83"/>
                      </a:cubicBezTo>
                      <a:cubicBezTo>
                        <a:pt x="15" y="85"/>
                        <a:pt x="14" y="83"/>
                        <a:pt x="15" y="82"/>
                      </a:cubicBezTo>
                      <a:cubicBezTo>
                        <a:pt x="17" y="82"/>
                        <a:pt x="14" y="80"/>
                        <a:pt x="17" y="81"/>
                      </a:cubicBezTo>
                      <a:cubicBezTo>
                        <a:pt x="19" y="82"/>
                        <a:pt x="18" y="83"/>
                        <a:pt x="18" y="84"/>
                      </a:cubicBezTo>
                      <a:cubicBezTo>
                        <a:pt x="19" y="84"/>
                        <a:pt x="18" y="86"/>
                        <a:pt x="19" y="86"/>
                      </a:cubicBezTo>
                      <a:cubicBezTo>
                        <a:pt x="20" y="86"/>
                        <a:pt x="22" y="88"/>
                        <a:pt x="20" y="88"/>
                      </a:cubicBezTo>
                      <a:cubicBezTo>
                        <a:pt x="19" y="89"/>
                        <a:pt x="19" y="92"/>
                        <a:pt x="20" y="90"/>
                      </a:cubicBezTo>
                      <a:cubicBezTo>
                        <a:pt x="21" y="89"/>
                        <a:pt x="22" y="90"/>
                        <a:pt x="21" y="93"/>
                      </a:cubicBezTo>
                      <a:cubicBezTo>
                        <a:pt x="21" y="95"/>
                        <a:pt x="22" y="93"/>
                        <a:pt x="23" y="96"/>
                      </a:cubicBezTo>
                      <a:cubicBezTo>
                        <a:pt x="27" y="91"/>
                        <a:pt x="26" y="98"/>
                        <a:pt x="29" y="95"/>
                      </a:cubicBezTo>
                      <a:cubicBezTo>
                        <a:pt x="31" y="92"/>
                        <a:pt x="32" y="90"/>
                        <a:pt x="32" y="94"/>
                      </a:cubicBezTo>
                      <a:cubicBezTo>
                        <a:pt x="32" y="97"/>
                        <a:pt x="34" y="94"/>
                        <a:pt x="36" y="94"/>
                      </a:cubicBezTo>
                      <a:cubicBezTo>
                        <a:pt x="37" y="91"/>
                        <a:pt x="35" y="90"/>
                        <a:pt x="36" y="90"/>
                      </a:cubicBezTo>
                      <a:cubicBezTo>
                        <a:pt x="37" y="89"/>
                        <a:pt x="37" y="86"/>
                        <a:pt x="37" y="85"/>
                      </a:cubicBezTo>
                      <a:cubicBezTo>
                        <a:pt x="36" y="84"/>
                        <a:pt x="40" y="85"/>
                        <a:pt x="41" y="83"/>
                      </a:cubicBezTo>
                      <a:cubicBezTo>
                        <a:pt x="42" y="81"/>
                        <a:pt x="42" y="81"/>
                        <a:pt x="41" y="80"/>
                      </a:cubicBezTo>
                      <a:cubicBezTo>
                        <a:pt x="41" y="79"/>
                        <a:pt x="44" y="80"/>
                        <a:pt x="43" y="78"/>
                      </a:cubicBezTo>
                      <a:cubicBezTo>
                        <a:pt x="42" y="77"/>
                        <a:pt x="42" y="76"/>
                        <a:pt x="43" y="75"/>
                      </a:cubicBezTo>
                      <a:cubicBezTo>
                        <a:pt x="44" y="74"/>
                        <a:pt x="43" y="76"/>
                        <a:pt x="45" y="76"/>
                      </a:cubicBezTo>
                      <a:cubicBezTo>
                        <a:pt x="47" y="77"/>
                        <a:pt x="47" y="75"/>
                        <a:pt x="47" y="74"/>
                      </a:cubicBezTo>
                      <a:cubicBezTo>
                        <a:pt x="47" y="72"/>
                        <a:pt x="50" y="75"/>
                        <a:pt x="50" y="73"/>
                      </a:cubicBezTo>
                      <a:cubicBezTo>
                        <a:pt x="50" y="70"/>
                        <a:pt x="51" y="69"/>
                        <a:pt x="53" y="70"/>
                      </a:cubicBezTo>
                      <a:cubicBezTo>
                        <a:pt x="55" y="71"/>
                        <a:pt x="53" y="68"/>
                        <a:pt x="56" y="67"/>
                      </a:cubicBezTo>
                      <a:cubicBezTo>
                        <a:pt x="62" y="65"/>
                        <a:pt x="60" y="63"/>
                        <a:pt x="62" y="64"/>
                      </a:cubicBezTo>
                      <a:cubicBezTo>
                        <a:pt x="63" y="65"/>
                        <a:pt x="63" y="64"/>
                        <a:pt x="64" y="65"/>
                      </a:cubicBezTo>
                      <a:cubicBezTo>
                        <a:pt x="65" y="65"/>
                        <a:pt x="65" y="65"/>
                        <a:pt x="66" y="65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0" name="Freeform 20185">
                  <a:extLst>
                    <a:ext uri="{FF2B5EF4-FFF2-40B4-BE49-F238E27FC236}">
                      <a16:creationId xmlns:a16="http://schemas.microsoft.com/office/drawing/2014/main" id="{07E567DB-478E-4848-902A-33DC0D28EAD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852213" y="3472289"/>
                  <a:ext cx="291959" cy="370196"/>
                </a:xfrm>
                <a:custGeom>
                  <a:avLst/>
                  <a:gdLst/>
                  <a:ahLst/>
                  <a:cxnLst>
                    <a:cxn ang="0">
                      <a:pos x="4" y="72"/>
                    </a:cxn>
                    <a:cxn ang="0">
                      <a:pos x="14" y="70"/>
                    </a:cxn>
                    <a:cxn ang="0">
                      <a:pos x="19" y="73"/>
                    </a:cxn>
                    <a:cxn ang="0">
                      <a:pos x="26" y="82"/>
                    </a:cxn>
                    <a:cxn ang="0">
                      <a:pos x="28" y="77"/>
                    </a:cxn>
                    <a:cxn ang="0">
                      <a:pos x="32" y="79"/>
                    </a:cxn>
                    <a:cxn ang="0">
                      <a:pos x="35" y="77"/>
                    </a:cxn>
                    <a:cxn ang="0">
                      <a:pos x="40" y="77"/>
                    </a:cxn>
                    <a:cxn ang="0">
                      <a:pos x="42" y="77"/>
                    </a:cxn>
                    <a:cxn ang="0">
                      <a:pos x="61" y="77"/>
                    </a:cxn>
                    <a:cxn ang="0">
                      <a:pos x="60" y="70"/>
                    </a:cxn>
                    <a:cxn ang="0">
                      <a:pos x="55" y="15"/>
                    </a:cxn>
                    <a:cxn ang="0">
                      <a:pos x="65" y="15"/>
                    </a:cxn>
                    <a:cxn ang="0">
                      <a:pos x="44" y="0"/>
                    </a:cxn>
                    <a:cxn ang="0">
                      <a:pos x="44" y="9"/>
                    </a:cxn>
                    <a:cxn ang="0">
                      <a:pos x="27" y="9"/>
                    </a:cxn>
                    <a:cxn ang="0">
                      <a:pos x="27" y="25"/>
                    </a:cxn>
                    <a:cxn ang="0">
                      <a:pos x="22" y="39"/>
                    </a:cxn>
                    <a:cxn ang="0">
                      <a:pos x="2" y="39"/>
                    </a:cxn>
                    <a:cxn ang="0">
                      <a:pos x="1" y="43"/>
                    </a:cxn>
                    <a:cxn ang="0">
                      <a:pos x="2" y="41"/>
                    </a:cxn>
                    <a:cxn ang="0">
                      <a:pos x="3" y="44"/>
                    </a:cxn>
                    <a:cxn ang="0">
                      <a:pos x="5" y="48"/>
                    </a:cxn>
                    <a:cxn ang="0">
                      <a:pos x="4" y="52"/>
                    </a:cxn>
                    <a:cxn ang="0">
                      <a:pos x="5" y="65"/>
                    </a:cxn>
                    <a:cxn ang="0">
                      <a:pos x="4" y="72"/>
                    </a:cxn>
                  </a:cxnLst>
                  <a:rect l="0" t="0" r="r" b="b"/>
                  <a:pathLst>
                    <a:path w="65" h="82">
                      <a:moveTo>
                        <a:pt x="4" y="72"/>
                      </a:moveTo>
                      <a:cubicBezTo>
                        <a:pt x="4" y="69"/>
                        <a:pt x="11" y="70"/>
                        <a:pt x="14" y="70"/>
                      </a:cubicBezTo>
                      <a:cubicBezTo>
                        <a:pt x="16" y="69"/>
                        <a:pt x="18" y="72"/>
                        <a:pt x="19" y="73"/>
                      </a:cubicBezTo>
                      <a:cubicBezTo>
                        <a:pt x="21" y="74"/>
                        <a:pt x="24" y="80"/>
                        <a:pt x="26" y="82"/>
                      </a:cubicBezTo>
                      <a:cubicBezTo>
                        <a:pt x="30" y="80"/>
                        <a:pt x="26" y="80"/>
                        <a:pt x="28" y="77"/>
                      </a:cubicBezTo>
                      <a:cubicBezTo>
                        <a:pt x="30" y="74"/>
                        <a:pt x="31" y="77"/>
                        <a:pt x="32" y="79"/>
                      </a:cubicBezTo>
                      <a:cubicBezTo>
                        <a:pt x="33" y="81"/>
                        <a:pt x="32" y="76"/>
                        <a:pt x="35" y="77"/>
                      </a:cubicBezTo>
                      <a:cubicBezTo>
                        <a:pt x="37" y="78"/>
                        <a:pt x="40" y="78"/>
                        <a:pt x="40" y="77"/>
                      </a:cubicBezTo>
                      <a:cubicBezTo>
                        <a:pt x="41" y="75"/>
                        <a:pt x="40" y="77"/>
                        <a:pt x="42" y="77"/>
                      </a:cubicBezTo>
                      <a:cubicBezTo>
                        <a:pt x="45" y="77"/>
                        <a:pt x="61" y="77"/>
                        <a:pt x="61" y="77"/>
                      </a:cubicBezTo>
                      <a:cubicBezTo>
                        <a:pt x="63" y="68"/>
                        <a:pt x="61" y="73"/>
                        <a:pt x="60" y="70"/>
                      </a:cubicBezTo>
                      <a:cubicBezTo>
                        <a:pt x="60" y="67"/>
                        <a:pt x="55" y="15"/>
                        <a:pt x="55" y="15"/>
                      </a:cubicBezTo>
                      <a:cubicBezTo>
                        <a:pt x="65" y="15"/>
                        <a:pt x="65" y="15"/>
                        <a:pt x="65" y="15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9"/>
                        <a:pt x="44" y="9"/>
                        <a:pt x="44" y="9"/>
                      </a:cubicBezTo>
                      <a:cubicBezTo>
                        <a:pt x="27" y="9"/>
                        <a:pt x="27" y="9"/>
                        <a:pt x="27" y="9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1" y="28"/>
                        <a:pt x="20" y="27"/>
                        <a:pt x="22" y="39"/>
                      </a:cubicBezTo>
                      <a:cubicBezTo>
                        <a:pt x="22" y="39"/>
                        <a:pt x="3" y="39"/>
                        <a:pt x="2" y="39"/>
                      </a:cubicBezTo>
                      <a:cubicBezTo>
                        <a:pt x="1" y="39"/>
                        <a:pt x="0" y="41"/>
                        <a:pt x="1" y="43"/>
                      </a:cubicBezTo>
                      <a:cubicBezTo>
                        <a:pt x="2" y="43"/>
                        <a:pt x="1" y="40"/>
                        <a:pt x="2" y="41"/>
                      </a:cubicBezTo>
                      <a:cubicBezTo>
                        <a:pt x="3" y="41"/>
                        <a:pt x="2" y="44"/>
                        <a:pt x="3" y="44"/>
                      </a:cubicBezTo>
                      <a:cubicBezTo>
                        <a:pt x="4" y="43"/>
                        <a:pt x="5" y="46"/>
                        <a:pt x="5" y="48"/>
                      </a:cubicBezTo>
                      <a:cubicBezTo>
                        <a:pt x="5" y="51"/>
                        <a:pt x="2" y="51"/>
                        <a:pt x="4" y="52"/>
                      </a:cubicBezTo>
                      <a:cubicBezTo>
                        <a:pt x="5" y="53"/>
                        <a:pt x="7" y="60"/>
                        <a:pt x="5" y="65"/>
                      </a:cubicBezTo>
                      <a:cubicBezTo>
                        <a:pt x="4" y="69"/>
                        <a:pt x="3" y="70"/>
                        <a:pt x="4" y="72"/>
                      </a:cubicBez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1" name="Freeform 20201">
                  <a:extLst>
                    <a:ext uri="{FF2B5EF4-FFF2-40B4-BE49-F238E27FC236}">
                      <a16:creationId xmlns:a16="http://schemas.microsoft.com/office/drawing/2014/main" id="{CDBD412C-25C3-4A43-A519-B74DD5CBA00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945718" y="3205135"/>
                  <a:ext cx="290050" cy="253794"/>
                </a:xfrm>
                <a:custGeom>
                  <a:avLst/>
                  <a:gdLst/>
                  <a:ahLst/>
                  <a:cxnLst>
                    <a:cxn ang="0">
                      <a:pos x="23" y="56"/>
                    </a:cxn>
                    <a:cxn ang="0">
                      <a:pos x="0" y="56"/>
                    </a:cxn>
                    <a:cxn ang="0">
                      <a:pos x="10" y="51"/>
                    </a:cxn>
                    <a:cxn ang="0">
                      <a:pos x="17" y="42"/>
                    </a:cxn>
                    <a:cxn ang="0">
                      <a:pos x="19" y="28"/>
                    </a:cxn>
                    <a:cxn ang="0">
                      <a:pos x="21" y="22"/>
                    </a:cxn>
                    <a:cxn ang="0">
                      <a:pos x="29" y="16"/>
                    </a:cxn>
                    <a:cxn ang="0">
                      <a:pos x="39" y="1"/>
                    </a:cxn>
                    <a:cxn ang="0">
                      <a:pos x="43" y="5"/>
                    </a:cxn>
                    <a:cxn ang="0">
                      <a:pos x="50" y="5"/>
                    </a:cxn>
                    <a:cxn ang="0">
                      <a:pos x="53" y="4"/>
                    </a:cxn>
                    <a:cxn ang="0">
                      <a:pos x="57" y="6"/>
                    </a:cxn>
                    <a:cxn ang="0">
                      <a:pos x="62" y="23"/>
                    </a:cxn>
                    <a:cxn ang="0">
                      <a:pos x="62" y="26"/>
                    </a:cxn>
                    <a:cxn ang="0">
                      <a:pos x="53" y="28"/>
                    </a:cxn>
                    <a:cxn ang="0">
                      <a:pos x="48" y="31"/>
                    </a:cxn>
                    <a:cxn ang="0">
                      <a:pos x="47" y="36"/>
                    </a:cxn>
                    <a:cxn ang="0">
                      <a:pos x="41" y="40"/>
                    </a:cxn>
                    <a:cxn ang="0">
                      <a:pos x="28" y="46"/>
                    </a:cxn>
                    <a:cxn ang="0">
                      <a:pos x="23" y="49"/>
                    </a:cxn>
                    <a:cxn ang="0">
                      <a:pos x="23" y="56"/>
                    </a:cxn>
                  </a:cxnLst>
                  <a:rect l="0" t="0" r="r" b="b"/>
                  <a:pathLst>
                    <a:path w="64" h="56">
                      <a:moveTo>
                        <a:pt x="23" y="56"/>
                      </a:move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1" y="52"/>
                        <a:pt x="6" y="55"/>
                        <a:pt x="10" y="51"/>
                      </a:cubicBezTo>
                      <a:cubicBezTo>
                        <a:pt x="13" y="46"/>
                        <a:pt x="13" y="51"/>
                        <a:pt x="17" y="42"/>
                      </a:cubicBezTo>
                      <a:cubicBezTo>
                        <a:pt x="19" y="38"/>
                        <a:pt x="15" y="33"/>
                        <a:pt x="19" y="28"/>
                      </a:cubicBezTo>
                      <a:cubicBezTo>
                        <a:pt x="22" y="24"/>
                        <a:pt x="18" y="25"/>
                        <a:pt x="21" y="22"/>
                      </a:cubicBezTo>
                      <a:cubicBezTo>
                        <a:pt x="24" y="19"/>
                        <a:pt x="21" y="19"/>
                        <a:pt x="29" y="16"/>
                      </a:cubicBezTo>
                      <a:cubicBezTo>
                        <a:pt x="37" y="13"/>
                        <a:pt x="35" y="2"/>
                        <a:pt x="39" y="1"/>
                      </a:cubicBezTo>
                      <a:cubicBezTo>
                        <a:pt x="42" y="0"/>
                        <a:pt x="39" y="3"/>
                        <a:pt x="43" y="5"/>
                      </a:cubicBezTo>
                      <a:cubicBezTo>
                        <a:pt x="47" y="7"/>
                        <a:pt x="48" y="4"/>
                        <a:pt x="50" y="5"/>
                      </a:cubicBezTo>
                      <a:cubicBezTo>
                        <a:pt x="52" y="6"/>
                        <a:pt x="53" y="2"/>
                        <a:pt x="53" y="4"/>
                      </a:cubicBezTo>
                      <a:cubicBezTo>
                        <a:pt x="53" y="7"/>
                        <a:pt x="56" y="6"/>
                        <a:pt x="57" y="6"/>
                      </a:cubicBezTo>
                      <a:cubicBezTo>
                        <a:pt x="61" y="8"/>
                        <a:pt x="58" y="21"/>
                        <a:pt x="62" y="23"/>
                      </a:cubicBezTo>
                      <a:cubicBezTo>
                        <a:pt x="64" y="24"/>
                        <a:pt x="62" y="24"/>
                        <a:pt x="62" y="26"/>
                      </a:cubicBezTo>
                      <a:cubicBezTo>
                        <a:pt x="62" y="28"/>
                        <a:pt x="55" y="25"/>
                        <a:pt x="53" y="28"/>
                      </a:cubicBezTo>
                      <a:cubicBezTo>
                        <a:pt x="51" y="30"/>
                        <a:pt x="47" y="28"/>
                        <a:pt x="48" y="31"/>
                      </a:cubicBezTo>
                      <a:cubicBezTo>
                        <a:pt x="50" y="34"/>
                        <a:pt x="51" y="34"/>
                        <a:pt x="47" y="36"/>
                      </a:cubicBezTo>
                      <a:cubicBezTo>
                        <a:pt x="43" y="37"/>
                        <a:pt x="43" y="37"/>
                        <a:pt x="41" y="40"/>
                      </a:cubicBezTo>
                      <a:cubicBezTo>
                        <a:pt x="41" y="41"/>
                        <a:pt x="29" y="44"/>
                        <a:pt x="28" y="46"/>
                      </a:cubicBezTo>
                      <a:cubicBezTo>
                        <a:pt x="23" y="49"/>
                        <a:pt x="23" y="49"/>
                        <a:pt x="23" y="49"/>
                      </a:cubicBezTo>
                      <a:lnTo>
                        <a:pt x="23" y="56"/>
                      </a:ln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2" name="Freeform 20202">
                  <a:extLst>
                    <a:ext uri="{FF2B5EF4-FFF2-40B4-BE49-F238E27FC236}">
                      <a16:creationId xmlns:a16="http://schemas.microsoft.com/office/drawing/2014/main" id="{14F9FCB5-B0A6-E844-8042-908E4BC787C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852213" y="3458930"/>
                  <a:ext cx="198455" cy="207996"/>
                </a:xfrm>
                <a:custGeom>
                  <a:avLst/>
                  <a:gdLst/>
                  <a:ahLst/>
                  <a:cxnLst>
                    <a:cxn ang="0">
                      <a:pos x="44" y="3"/>
                    </a:cxn>
                    <a:cxn ang="0">
                      <a:pos x="44" y="12"/>
                    </a:cxn>
                    <a:cxn ang="0">
                      <a:pos x="27" y="12"/>
                    </a:cxn>
                    <a:cxn ang="0">
                      <a:pos x="27" y="28"/>
                    </a:cxn>
                    <a:cxn ang="0">
                      <a:pos x="22" y="42"/>
                    </a:cxn>
                    <a:cxn ang="0">
                      <a:pos x="2" y="42"/>
                    </a:cxn>
                    <a:cxn ang="0">
                      <a:pos x="1" y="46"/>
                    </a:cxn>
                    <a:cxn ang="0">
                      <a:pos x="1" y="39"/>
                    </a:cxn>
                    <a:cxn ang="0">
                      <a:pos x="5" y="33"/>
                    </a:cxn>
                    <a:cxn ang="0">
                      <a:pos x="7" y="27"/>
                    </a:cxn>
                    <a:cxn ang="0">
                      <a:pos x="8" y="24"/>
                    </a:cxn>
                    <a:cxn ang="0">
                      <a:pos x="12" y="17"/>
                    </a:cxn>
                    <a:cxn ang="0">
                      <a:pos x="14" y="12"/>
                    </a:cxn>
                    <a:cxn ang="0">
                      <a:pos x="21" y="0"/>
                    </a:cxn>
                    <a:cxn ang="0">
                      <a:pos x="44" y="0"/>
                    </a:cxn>
                    <a:cxn ang="0">
                      <a:pos x="44" y="3"/>
                    </a:cxn>
                  </a:cxnLst>
                  <a:rect l="0" t="0" r="r" b="b"/>
                  <a:pathLst>
                    <a:path w="44" h="46">
                      <a:moveTo>
                        <a:pt x="44" y="3"/>
                      </a:moveTo>
                      <a:cubicBezTo>
                        <a:pt x="44" y="12"/>
                        <a:pt x="44" y="12"/>
                        <a:pt x="44" y="12"/>
                      </a:cubicBezTo>
                      <a:cubicBezTo>
                        <a:pt x="27" y="12"/>
                        <a:pt x="27" y="12"/>
                        <a:pt x="27" y="12"/>
                      </a:cubicBezTo>
                      <a:cubicBezTo>
                        <a:pt x="27" y="28"/>
                        <a:pt x="27" y="28"/>
                        <a:pt x="27" y="28"/>
                      </a:cubicBezTo>
                      <a:cubicBezTo>
                        <a:pt x="21" y="31"/>
                        <a:pt x="20" y="30"/>
                        <a:pt x="22" y="42"/>
                      </a:cubicBezTo>
                      <a:cubicBezTo>
                        <a:pt x="22" y="42"/>
                        <a:pt x="3" y="42"/>
                        <a:pt x="2" y="42"/>
                      </a:cubicBezTo>
                      <a:cubicBezTo>
                        <a:pt x="1" y="42"/>
                        <a:pt x="0" y="44"/>
                        <a:pt x="1" y="46"/>
                      </a:cubicBezTo>
                      <a:cubicBezTo>
                        <a:pt x="0" y="46"/>
                        <a:pt x="0" y="44"/>
                        <a:pt x="1" y="39"/>
                      </a:cubicBezTo>
                      <a:cubicBezTo>
                        <a:pt x="2" y="35"/>
                        <a:pt x="4" y="37"/>
                        <a:pt x="5" y="33"/>
                      </a:cubicBezTo>
                      <a:cubicBezTo>
                        <a:pt x="5" y="29"/>
                        <a:pt x="8" y="27"/>
                        <a:pt x="7" y="27"/>
                      </a:cubicBezTo>
                      <a:cubicBezTo>
                        <a:pt x="6" y="27"/>
                        <a:pt x="5" y="27"/>
                        <a:pt x="8" y="24"/>
                      </a:cubicBezTo>
                      <a:cubicBezTo>
                        <a:pt x="11" y="21"/>
                        <a:pt x="12" y="22"/>
                        <a:pt x="12" y="17"/>
                      </a:cubicBezTo>
                      <a:cubicBezTo>
                        <a:pt x="13" y="12"/>
                        <a:pt x="13" y="15"/>
                        <a:pt x="14" y="12"/>
                      </a:cubicBezTo>
                      <a:cubicBezTo>
                        <a:pt x="15" y="6"/>
                        <a:pt x="17" y="12"/>
                        <a:pt x="21" y="0"/>
                      </a:cubicBezTo>
                      <a:cubicBezTo>
                        <a:pt x="44" y="0"/>
                        <a:pt x="44" y="0"/>
                        <a:pt x="44" y="0"/>
                      </a:cubicBezTo>
                      <a:lnTo>
                        <a:pt x="44" y="3"/>
                      </a:lnTo>
                      <a:close/>
                    </a:path>
                  </a:pathLst>
                </a:custGeom>
                <a:grpFill/>
                <a:ln w="0" cmpd="sng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 sz="675" dirty="0">
                    <a:latin typeface="Calibri" panose="020F0502020204030204" pitchFamily="34" charset="0"/>
                  </a:endParaRPr>
                </a:p>
              </p:txBody>
            </p:sp>
            <p:grpSp>
              <p:nvGrpSpPr>
                <p:cNvPr id="153" name="Group 152">
                  <a:extLst>
                    <a:ext uri="{FF2B5EF4-FFF2-40B4-BE49-F238E27FC236}">
                      <a16:creationId xmlns:a16="http://schemas.microsoft.com/office/drawing/2014/main" id="{7DDF762D-474D-694E-9DAD-26BDA567D0CD}"/>
                    </a:ext>
                  </a:extLst>
                </p:cNvPr>
                <p:cNvGrpSpPr/>
                <p:nvPr userDrawn="1"/>
              </p:nvGrpSpPr>
              <p:grpSpPr>
                <a:xfrm>
                  <a:off x="3657574" y="3771880"/>
                  <a:ext cx="1957843" cy="1513227"/>
                  <a:chOff x="3657574" y="3771880"/>
                  <a:chExt cx="1957843" cy="1513227"/>
                </a:xfrm>
                <a:grpFill/>
              </p:grpSpPr>
              <p:sp>
                <p:nvSpPr>
                  <p:cNvPr id="154" name="Freeform 20117">
                    <a:extLst>
                      <a:ext uri="{FF2B5EF4-FFF2-40B4-BE49-F238E27FC236}">
                        <a16:creationId xmlns:a16="http://schemas.microsoft.com/office/drawing/2014/main" id="{8708D7C9-AE9A-734C-82EA-DE00F2D8B33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268121" y="4594327"/>
                    <a:ext cx="177465" cy="415993"/>
                  </a:xfrm>
                  <a:custGeom>
                    <a:avLst/>
                    <a:gdLst/>
                    <a:ahLst/>
                    <a:cxnLst>
                      <a:cxn ang="0">
                        <a:pos x="30" y="8"/>
                      </a:cxn>
                      <a:cxn ang="0">
                        <a:pos x="31" y="3"/>
                      </a:cxn>
                      <a:cxn ang="0">
                        <a:pos x="35" y="7"/>
                      </a:cxn>
                      <a:cxn ang="0">
                        <a:pos x="38" y="21"/>
                      </a:cxn>
                      <a:cxn ang="0">
                        <a:pos x="36" y="27"/>
                      </a:cxn>
                      <a:cxn ang="0">
                        <a:pos x="34" y="28"/>
                      </a:cxn>
                      <a:cxn ang="0">
                        <a:pos x="35" y="33"/>
                      </a:cxn>
                      <a:cxn ang="0">
                        <a:pos x="33" y="38"/>
                      </a:cxn>
                      <a:cxn ang="0">
                        <a:pos x="29" y="54"/>
                      </a:cxn>
                      <a:cxn ang="0">
                        <a:pos x="19" y="87"/>
                      </a:cxn>
                      <a:cxn ang="0">
                        <a:pos x="10" y="89"/>
                      </a:cxn>
                      <a:cxn ang="0">
                        <a:pos x="4" y="84"/>
                      </a:cxn>
                      <a:cxn ang="0">
                        <a:pos x="3" y="75"/>
                      </a:cxn>
                      <a:cxn ang="0">
                        <a:pos x="1" y="65"/>
                      </a:cxn>
                      <a:cxn ang="0">
                        <a:pos x="4" y="60"/>
                      </a:cxn>
                      <a:cxn ang="0">
                        <a:pos x="7" y="52"/>
                      </a:cxn>
                      <a:cxn ang="0">
                        <a:pos x="6" y="46"/>
                      </a:cxn>
                      <a:cxn ang="0">
                        <a:pos x="5" y="41"/>
                      </a:cxn>
                      <a:cxn ang="0">
                        <a:pos x="6" y="34"/>
                      </a:cxn>
                      <a:cxn ang="0">
                        <a:pos x="8" y="29"/>
                      </a:cxn>
                      <a:cxn ang="0">
                        <a:pos x="12" y="27"/>
                      </a:cxn>
                      <a:cxn ang="0">
                        <a:pos x="21" y="20"/>
                      </a:cxn>
                      <a:cxn ang="0">
                        <a:pos x="25" y="14"/>
                      </a:cxn>
                      <a:cxn ang="0">
                        <a:pos x="30" y="8"/>
                      </a:cxn>
                    </a:cxnLst>
                    <a:rect l="0" t="0" r="r" b="b"/>
                    <a:pathLst>
                      <a:path w="39" h="92">
                        <a:moveTo>
                          <a:pt x="30" y="8"/>
                        </a:moveTo>
                        <a:cubicBezTo>
                          <a:pt x="30" y="4"/>
                          <a:pt x="30" y="5"/>
                          <a:pt x="31" y="3"/>
                        </a:cubicBezTo>
                        <a:cubicBezTo>
                          <a:pt x="33" y="0"/>
                          <a:pt x="33" y="6"/>
                          <a:pt x="35" y="7"/>
                        </a:cubicBezTo>
                        <a:cubicBezTo>
                          <a:pt x="37" y="8"/>
                          <a:pt x="37" y="19"/>
                          <a:pt x="38" y="21"/>
                        </a:cubicBezTo>
                        <a:cubicBezTo>
                          <a:pt x="39" y="24"/>
                          <a:pt x="37" y="29"/>
                          <a:pt x="36" y="27"/>
                        </a:cubicBezTo>
                        <a:cubicBezTo>
                          <a:pt x="34" y="22"/>
                          <a:pt x="33" y="25"/>
                          <a:pt x="34" y="28"/>
                        </a:cubicBezTo>
                        <a:cubicBezTo>
                          <a:pt x="36" y="30"/>
                          <a:pt x="34" y="30"/>
                          <a:pt x="35" y="33"/>
                        </a:cubicBezTo>
                        <a:cubicBezTo>
                          <a:pt x="35" y="35"/>
                          <a:pt x="32" y="33"/>
                          <a:pt x="33" y="38"/>
                        </a:cubicBezTo>
                        <a:cubicBezTo>
                          <a:pt x="34" y="43"/>
                          <a:pt x="32" y="44"/>
                          <a:pt x="29" y="54"/>
                        </a:cubicBezTo>
                        <a:cubicBezTo>
                          <a:pt x="26" y="68"/>
                          <a:pt x="22" y="87"/>
                          <a:pt x="19" y="87"/>
                        </a:cubicBezTo>
                        <a:cubicBezTo>
                          <a:pt x="17" y="87"/>
                          <a:pt x="12" y="92"/>
                          <a:pt x="10" y="89"/>
                        </a:cubicBezTo>
                        <a:cubicBezTo>
                          <a:pt x="8" y="87"/>
                          <a:pt x="6" y="89"/>
                          <a:pt x="4" y="84"/>
                        </a:cubicBezTo>
                        <a:cubicBezTo>
                          <a:pt x="1" y="78"/>
                          <a:pt x="4" y="77"/>
                          <a:pt x="3" y="75"/>
                        </a:cubicBezTo>
                        <a:cubicBezTo>
                          <a:pt x="1" y="72"/>
                          <a:pt x="0" y="71"/>
                          <a:pt x="1" y="65"/>
                        </a:cubicBezTo>
                        <a:cubicBezTo>
                          <a:pt x="2" y="60"/>
                          <a:pt x="3" y="64"/>
                          <a:pt x="4" y="60"/>
                        </a:cubicBezTo>
                        <a:cubicBezTo>
                          <a:pt x="5" y="57"/>
                          <a:pt x="8" y="56"/>
                          <a:pt x="7" y="52"/>
                        </a:cubicBezTo>
                        <a:cubicBezTo>
                          <a:pt x="6" y="48"/>
                          <a:pt x="5" y="48"/>
                          <a:pt x="6" y="46"/>
                        </a:cubicBezTo>
                        <a:cubicBezTo>
                          <a:pt x="6" y="44"/>
                          <a:pt x="4" y="44"/>
                          <a:pt x="5" y="41"/>
                        </a:cubicBezTo>
                        <a:cubicBezTo>
                          <a:pt x="6" y="37"/>
                          <a:pt x="3" y="39"/>
                          <a:pt x="6" y="34"/>
                        </a:cubicBezTo>
                        <a:cubicBezTo>
                          <a:pt x="8" y="29"/>
                          <a:pt x="5" y="28"/>
                          <a:pt x="8" y="29"/>
                        </a:cubicBezTo>
                        <a:cubicBezTo>
                          <a:pt x="11" y="29"/>
                          <a:pt x="9" y="27"/>
                          <a:pt x="12" y="27"/>
                        </a:cubicBezTo>
                        <a:cubicBezTo>
                          <a:pt x="19" y="26"/>
                          <a:pt x="17" y="24"/>
                          <a:pt x="21" y="20"/>
                        </a:cubicBezTo>
                        <a:cubicBezTo>
                          <a:pt x="25" y="16"/>
                          <a:pt x="26" y="16"/>
                          <a:pt x="25" y="14"/>
                        </a:cubicBezTo>
                        <a:cubicBezTo>
                          <a:pt x="23" y="11"/>
                          <a:pt x="29" y="15"/>
                          <a:pt x="30" y="8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55" name="Freeform 20166">
                    <a:extLst>
                      <a:ext uri="{FF2B5EF4-FFF2-40B4-BE49-F238E27FC236}">
                        <a16:creationId xmlns:a16="http://schemas.microsoft.com/office/drawing/2014/main" id="{BBE2FFFC-424C-DB45-937B-BFE99296BA51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218504" y="3914998"/>
                    <a:ext cx="253794" cy="393094"/>
                  </a:xfrm>
                  <a:custGeom>
                    <a:avLst/>
                    <a:gdLst/>
                    <a:ahLst/>
                    <a:cxnLst>
                      <a:cxn ang="0">
                        <a:pos x="3" y="87"/>
                      </a:cxn>
                      <a:cxn ang="0">
                        <a:pos x="0" y="81"/>
                      </a:cxn>
                      <a:cxn ang="0">
                        <a:pos x="0" y="59"/>
                      </a:cxn>
                      <a:cxn ang="0">
                        <a:pos x="5" y="52"/>
                      </a:cxn>
                      <a:cxn ang="0">
                        <a:pos x="8" y="50"/>
                      </a:cxn>
                      <a:cxn ang="0">
                        <a:pos x="12" y="47"/>
                      </a:cxn>
                      <a:cxn ang="0">
                        <a:pos x="22" y="44"/>
                      </a:cxn>
                      <a:cxn ang="0">
                        <a:pos x="32" y="31"/>
                      </a:cxn>
                      <a:cxn ang="0">
                        <a:pos x="35" y="26"/>
                      </a:cxn>
                      <a:cxn ang="0">
                        <a:pos x="25" y="24"/>
                      </a:cxn>
                      <a:cxn ang="0">
                        <a:pos x="15" y="19"/>
                      </a:cxn>
                      <a:cxn ang="0">
                        <a:pos x="12" y="16"/>
                      </a:cxn>
                      <a:cxn ang="0">
                        <a:pos x="10" y="13"/>
                      </a:cxn>
                      <a:cxn ang="0">
                        <a:pos x="10" y="8"/>
                      </a:cxn>
                      <a:cxn ang="0">
                        <a:pos x="12" y="4"/>
                      </a:cxn>
                      <a:cxn ang="0">
                        <a:pos x="18" y="11"/>
                      </a:cxn>
                      <a:cxn ang="0">
                        <a:pos x="27" y="9"/>
                      </a:cxn>
                      <a:cxn ang="0">
                        <a:pos x="35" y="7"/>
                      </a:cxn>
                      <a:cxn ang="0">
                        <a:pos x="41" y="5"/>
                      </a:cxn>
                      <a:cxn ang="0">
                        <a:pos x="52" y="2"/>
                      </a:cxn>
                      <a:cxn ang="0">
                        <a:pos x="53" y="10"/>
                      </a:cxn>
                      <a:cxn ang="0">
                        <a:pos x="51" y="15"/>
                      </a:cxn>
                      <a:cxn ang="0">
                        <a:pos x="45" y="31"/>
                      </a:cxn>
                      <a:cxn ang="0">
                        <a:pos x="23" y="63"/>
                      </a:cxn>
                      <a:cxn ang="0">
                        <a:pos x="8" y="78"/>
                      </a:cxn>
                      <a:cxn ang="0">
                        <a:pos x="3" y="87"/>
                      </a:cxn>
                    </a:cxnLst>
                    <a:rect l="0" t="0" r="r" b="b"/>
                    <a:pathLst>
                      <a:path w="56" h="87">
                        <a:moveTo>
                          <a:pt x="3" y="87"/>
                        </a:moveTo>
                        <a:cubicBezTo>
                          <a:pt x="2" y="84"/>
                          <a:pt x="0" y="85"/>
                          <a:pt x="0" y="81"/>
                        </a:cubicBezTo>
                        <a:cubicBezTo>
                          <a:pt x="0" y="76"/>
                          <a:pt x="0" y="59"/>
                          <a:pt x="0" y="59"/>
                        </a:cubicBezTo>
                        <a:cubicBezTo>
                          <a:pt x="0" y="59"/>
                          <a:pt x="3" y="54"/>
                          <a:pt x="5" y="52"/>
                        </a:cubicBezTo>
                        <a:cubicBezTo>
                          <a:pt x="6" y="50"/>
                          <a:pt x="6" y="50"/>
                          <a:pt x="8" y="50"/>
                        </a:cubicBezTo>
                        <a:cubicBezTo>
                          <a:pt x="12" y="50"/>
                          <a:pt x="7" y="49"/>
                          <a:pt x="12" y="47"/>
                        </a:cubicBezTo>
                        <a:cubicBezTo>
                          <a:pt x="18" y="44"/>
                          <a:pt x="18" y="49"/>
                          <a:pt x="22" y="44"/>
                        </a:cubicBezTo>
                        <a:cubicBezTo>
                          <a:pt x="26" y="39"/>
                          <a:pt x="28" y="36"/>
                          <a:pt x="32" y="31"/>
                        </a:cubicBezTo>
                        <a:cubicBezTo>
                          <a:pt x="37" y="26"/>
                          <a:pt x="37" y="26"/>
                          <a:pt x="35" y="26"/>
                        </a:cubicBezTo>
                        <a:cubicBezTo>
                          <a:pt x="34" y="26"/>
                          <a:pt x="32" y="27"/>
                          <a:pt x="25" y="24"/>
                        </a:cubicBezTo>
                        <a:cubicBezTo>
                          <a:pt x="18" y="21"/>
                          <a:pt x="17" y="22"/>
                          <a:pt x="15" y="19"/>
                        </a:cubicBezTo>
                        <a:cubicBezTo>
                          <a:pt x="13" y="17"/>
                          <a:pt x="12" y="18"/>
                          <a:pt x="12" y="16"/>
                        </a:cubicBezTo>
                        <a:cubicBezTo>
                          <a:pt x="11" y="14"/>
                          <a:pt x="11" y="15"/>
                          <a:pt x="10" y="13"/>
                        </a:cubicBezTo>
                        <a:cubicBezTo>
                          <a:pt x="9" y="10"/>
                          <a:pt x="8" y="10"/>
                          <a:pt x="10" y="8"/>
                        </a:cubicBezTo>
                        <a:cubicBezTo>
                          <a:pt x="12" y="4"/>
                          <a:pt x="12" y="4"/>
                          <a:pt x="12" y="4"/>
                        </a:cubicBezTo>
                        <a:cubicBezTo>
                          <a:pt x="14" y="7"/>
                          <a:pt x="13" y="9"/>
                          <a:pt x="18" y="11"/>
                        </a:cubicBezTo>
                        <a:cubicBezTo>
                          <a:pt x="21" y="13"/>
                          <a:pt x="22" y="7"/>
                          <a:pt x="27" y="9"/>
                        </a:cubicBezTo>
                        <a:cubicBezTo>
                          <a:pt x="31" y="11"/>
                          <a:pt x="30" y="6"/>
                          <a:pt x="35" y="7"/>
                        </a:cubicBezTo>
                        <a:cubicBezTo>
                          <a:pt x="40" y="7"/>
                          <a:pt x="34" y="5"/>
                          <a:pt x="41" y="5"/>
                        </a:cubicBezTo>
                        <a:cubicBezTo>
                          <a:pt x="48" y="6"/>
                          <a:pt x="49" y="0"/>
                          <a:pt x="52" y="2"/>
                        </a:cubicBezTo>
                        <a:cubicBezTo>
                          <a:pt x="55" y="3"/>
                          <a:pt x="50" y="5"/>
                          <a:pt x="53" y="10"/>
                        </a:cubicBezTo>
                        <a:cubicBezTo>
                          <a:pt x="56" y="14"/>
                          <a:pt x="52" y="8"/>
                          <a:pt x="51" y="15"/>
                        </a:cubicBezTo>
                        <a:cubicBezTo>
                          <a:pt x="51" y="19"/>
                          <a:pt x="48" y="22"/>
                          <a:pt x="45" y="31"/>
                        </a:cubicBezTo>
                        <a:cubicBezTo>
                          <a:pt x="39" y="46"/>
                          <a:pt x="31" y="57"/>
                          <a:pt x="23" y="63"/>
                        </a:cubicBezTo>
                        <a:cubicBezTo>
                          <a:pt x="14" y="70"/>
                          <a:pt x="14" y="71"/>
                          <a:pt x="8" y="78"/>
                        </a:cubicBezTo>
                        <a:cubicBezTo>
                          <a:pt x="3" y="84"/>
                          <a:pt x="6" y="83"/>
                          <a:pt x="3" y="87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56" name="Freeform 20167">
                    <a:extLst>
                      <a:ext uri="{FF2B5EF4-FFF2-40B4-BE49-F238E27FC236}">
                        <a16:creationId xmlns:a16="http://schemas.microsoft.com/office/drawing/2014/main" id="{81AA4C42-1922-8044-AD54-AEB78E0C8E37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020049" y="3829126"/>
                    <a:ext cx="366380" cy="339664"/>
                  </a:xfrm>
                  <a:custGeom>
                    <a:avLst/>
                    <a:gdLst/>
                    <a:ahLst/>
                    <a:cxnLst>
                      <a:cxn ang="0">
                        <a:pos x="17" y="67"/>
                      </a:cxn>
                      <a:cxn ang="0">
                        <a:pos x="25" y="70"/>
                      </a:cxn>
                      <a:cxn ang="0">
                        <a:pos x="32" y="73"/>
                      </a:cxn>
                      <a:cxn ang="0">
                        <a:pos x="35" y="74"/>
                      </a:cxn>
                      <a:cxn ang="0">
                        <a:pos x="40" y="70"/>
                      </a:cxn>
                      <a:cxn ang="0">
                        <a:pos x="44" y="70"/>
                      </a:cxn>
                      <a:cxn ang="0">
                        <a:pos x="49" y="71"/>
                      </a:cxn>
                      <a:cxn ang="0">
                        <a:pos x="52" y="69"/>
                      </a:cxn>
                      <a:cxn ang="0">
                        <a:pos x="56" y="66"/>
                      </a:cxn>
                      <a:cxn ang="0">
                        <a:pos x="66" y="63"/>
                      </a:cxn>
                      <a:cxn ang="0">
                        <a:pos x="76" y="50"/>
                      </a:cxn>
                      <a:cxn ang="0">
                        <a:pos x="79" y="45"/>
                      </a:cxn>
                      <a:cxn ang="0">
                        <a:pos x="69" y="43"/>
                      </a:cxn>
                      <a:cxn ang="0">
                        <a:pos x="59" y="38"/>
                      </a:cxn>
                      <a:cxn ang="0">
                        <a:pos x="56" y="35"/>
                      </a:cxn>
                      <a:cxn ang="0">
                        <a:pos x="54" y="32"/>
                      </a:cxn>
                      <a:cxn ang="0">
                        <a:pos x="54" y="27"/>
                      </a:cxn>
                      <a:cxn ang="0">
                        <a:pos x="48" y="26"/>
                      </a:cxn>
                      <a:cxn ang="0">
                        <a:pos x="51" y="17"/>
                      </a:cxn>
                      <a:cxn ang="0">
                        <a:pos x="47" y="11"/>
                      </a:cxn>
                      <a:cxn ang="0">
                        <a:pos x="42" y="6"/>
                      </a:cxn>
                      <a:cxn ang="0">
                        <a:pos x="37" y="4"/>
                      </a:cxn>
                      <a:cxn ang="0">
                        <a:pos x="34" y="4"/>
                      </a:cxn>
                      <a:cxn ang="0">
                        <a:pos x="29" y="2"/>
                      </a:cxn>
                      <a:cxn ang="0">
                        <a:pos x="25" y="5"/>
                      </a:cxn>
                      <a:cxn ang="0">
                        <a:pos x="21" y="5"/>
                      </a:cxn>
                      <a:cxn ang="0">
                        <a:pos x="19" y="15"/>
                      </a:cxn>
                      <a:cxn ang="0">
                        <a:pos x="14" y="20"/>
                      </a:cxn>
                      <a:cxn ang="0">
                        <a:pos x="12" y="28"/>
                      </a:cxn>
                      <a:cxn ang="0">
                        <a:pos x="9" y="28"/>
                      </a:cxn>
                      <a:cxn ang="0">
                        <a:pos x="9" y="33"/>
                      </a:cxn>
                      <a:cxn ang="0">
                        <a:pos x="6" y="43"/>
                      </a:cxn>
                      <a:cxn ang="0">
                        <a:pos x="3" y="45"/>
                      </a:cxn>
                      <a:cxn ang="0">
                        <a:pos x="8" y="50"/>
                      </a:cxn>
                      <a:cxn ang="0">
                        <a:pos x="12" y="56"/>
                      </a:cxn>
                      <a:cxn ang="0">
                        <a:pos x="16" y="62"/>
                      </a:cxn>
                      <a:cxn ang="0">
                        <a:pos x="17" y="67"/>
                      </a:cxn>
                    </a:cxnLst>
                    <a:rect l="0" t="0" r="r" b="b"/>
                    <a:pathLst>
                      <a:path w="81" h="75">
                        <a:moveTo>
                          <a:pt x="17" y="67"/>
                        </a:moveTo>
                        <a:cubicBezTo>
                          <a:pt x="20" y="70"/>
                          <a:pt x="20" y="65"/>
                          <a:pt x="25" y="70"/>
                        </a:cubicBezTo>
                        <a:cubicBezTo>
                          <a:pt x="30" y="75"/>
                          <a:pt x="30" y="72"/>
                          <a:pt x="32" y="73"/>
                        </a:cubicBezTo>
                        <a:cubicBezTo>
                          <a:pt x="34" y="74"/>
                          <a:pt x="35" y="73"/>
                          <a:pt x="35" y="74"/>
                        </a:cubicBezTo>
                        <a:cubicBezTo>
                          <a:pt x="37" y="75"/>
                          <a:pt x="36" y="72"/>
                          <a:pt x="40" y="70"/>
                        </a:cubicBezTo>
                        <a:cubicBezTo>
                          <a:pt x="43" y="68"/>
                          <a:pt x="43" y="69"/>
                          <a:pt x="44" y="70"/>
                        </a:cubicBezTo>
                        <a:cubicBezTo>
                          <a:pt x="45" y="71"/>
                          <a:pt x="47" y="71"/>
                          <a:pt x="49" y="71"/>
                        </a:cubicBezTo>
                        <a:cubicBezTo>
                          <a:pt x="50" y="69"/>
                          <a:pt x="50" y="69"/>
                          <a:pt x="52" y="69"/>
                        </a:cubicBezTo>
                        <a:cubicBezTo>
                          <a:pt x="56" y="69"/>
                          <a:pt x="51" y="68"/>
                          <a:pt x="56" y="66"/>
                        </a:cubicBezTo>
                        <a:cubicBezTo>
                          <a:pt x="62" y="63"/>
                          <a:pt x="62" y="68"/>
                          <a:pt x="66" y="63"/>
                        </a:cubicBezTo>
                        <a:cubicBezTo>
                          <a:pt x="70" y="58"/>
                          <a:pt x="72" y="55"/>
                          <a:pt x="76" y="50"/>
                        </a:cubicBezTo>
                        <a:cubicBezTo>
                          <a:pt x="81" y="45"/>
                          <a:pt x="81" y="45"/>
                          <a:pt x="79" y="45"/>
                        </a:cubicBezTo>
                        <a:cubicBezTo>
                          <a:pt x="78" y="45"/>
                          <a:pt x="76" y="46"/>
                          <a:pt x="69" y="43"/>
                        </a:cubicBezTo>
                        <a:cubicBezTo>
                          <a:pt x="62" y="40"/>
                          <a:pt x="61" y="41"/>
                          <a:pt x="59" y="38"/>
                        </a:cubicBezTo>
                        <a:cubicBezTo>
                          <a:pt x="57" y="36"/>
                          <a:pt x="56" y="37"/>
                          <a:pt x="56" y="35"/>
                        </a:cubicBezTo>
                        <a:cubicBezTo>
                          <a:pt x="55" y="33"/>
                          <a:pt x="55" y="34"/>
                          <a:pt x="54" y="32"/>
                        </a:cubicBezTo>
                        <a:cubicBezTo>
                          <a:pt x="53" y="29"/>
                          <a:pt x="52" y="29"/>
                          <a:pt x="54" y="27"/>
                        </a:cubicBezTo>
                        <a:cubicBezTo>
                          <a:pt x="53" y="24"/>
                          <a:pt x="50" y="28"/>
                          <a:pt x="48" y="26"/>
                        </a:cubicBezTo>
                        <a:cubicBezTo>
                          <a:pt x="48" y="20"/>
                          <a:pt x="49" y="23"/>
                          <a:pt x="51" y="17"/>
                        </a:cubicBezTo>
                        <a:cubicBezTo>
                          <a:pt x="48" y="15"/>
                          <a:pt x="49" y="13"/>
                          <a:pt x="47" y="11"/>
                        </a:cubicBezTo>
                        <a:cubicBezTo>
                          <a:pt x="45" y="10"/>
                          <a:pt x="44" y="6"/>
                          <a:pt x="42" y="6"/>
                        </a:cubicBezTo>
                        <a:cubicBezTo>
                          <a:pt x="41" y="5"/>
                          <a:pt x="40" y="4"/>
                          <a:pt x="37" y="4"/>
                        </a:cubicBezTo>
                        <a:cubicBezTo>
                          <a:pt x="34" y="3"/>
                          <a:pt x="35" y="5"/>
                          <a:pt x="34" y="4"/>
                        </a:cubicBezTo>
                        <a:cubicBezTo>
                          <a:pt x="33" y="2"/>
                          <a:pt x="33" y="8"/>
                          <a:pt x="29" y="2"/>
                        </a:cubicBezTo>
                        <a:cubicBezTo>
                          <a:pt x="27" y="0"/>
                          <a:pt x="27" y="8"/>
                          <a:pt x="25" y="5"/>
                        </a:cubicBezTo>
                        <a:cubicBezTo>
                          <a:pt x="24" y="2"/>
                          <a:pt x="25" y="7"/>
                          <a:pt x="21" y="5"/>
                        </a:cubicBezTo>
                        <a:cubicBezTo>
                          <a:pt x="20" y="11"/>
                          <a:pt x="18" y="12"/>
                          <a:pt x="19" y="15"/>
                        </a:cubicBezTo>
                        <a:cubicBezTo>
                          <a:pt x="15" y="15"/>
                          <a:pt x="16" y="19"/>
                          <a:pt x="14" y="20"/>
                        </a:cubicBezTo>
                        <a:cubicBezTo>
                          <a:pt x="12" y="22"/>
                          <a:pt x="13" y="27"/>
                          <a:pt x="12" y="28"/>
                        </a:cubicBezTo>
                        <a:cubicBezTo>
                          <a:pt x="11" y="29"/>
                          <a:pt x="11" y="25"/>
                          <a:pt x="9" y="28"/>
                        </a:cubicBezTo>
                        <a:cubicBezTo>
                          <a:pt x="8" y="31"/>
                          <a:pt x="10" y="30"/>
                          <a:pt x="9" y="33"/>
                        </a:cubicBezTo>
                        <a:cubicBezTo>
                          <a:pt x="7" y="37"/>
                          <a:pt x="10" y="44"/>
                          <a:pt x="6" y="43"/>
                        </a:cubicBezTo>
                        <a:cubicBezTo>
                          <a:pt x="1" y="41"/>
                          <a:pt x="4" y="44"/>
                          <a:pt x="3" y="45"/>
                        </a:cubicBezTo>
                        <a:cubicBezTo>
                          <a:pt x="0" y="47"/>
                          <a:pt x="6" y="46"/>
                          <a:pt x="8" y="50"/>
                        </a:cubicBezTo>
                        <a:cubicBezTo>
                          <a:pt x="10" y="53"/>
                          <a:pt x="11" y="51"/>
                          <a:pt x="12" y="56"/>
                        </a:cubicBezTo>
                        <a:cubicBezTo>
                          <a:pt x="13" y="61"/>
                          <a:pt x="13" y="61"/>
                          <a:pt x="16" y="62"/>
                        </a:cubicBezTo>
                        <a:cubicBezTo>
                          <a:pt x="18" y="62"/>
                          <a:pt x="16" y="63"/>
                          <a:pt x="17" y="67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57" name="Freeform 20169">
                    <a:extLst>
                      <a:ext uri="{FF2B5EF4-FFF2-40B4-BE49-F238E27FC236}">
                        <a16:creationId xmlns:a16="http://schemas.microsoft.com/office/drawing/2014/main" id="{36A01DF5-3684-B147-A0E3-2ABCBC38673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237588" y="3897823"/>
                    <a:ext cx="40072" cy="59156"/>
                  </a:xfrm>
                  <a:custGeom>
                    <a:avLst/>
                    <a:gdLst/>
                    <a:ahLst/>
                    <a:cxnLst>
                      <a:cxn ang="0">
                        <a:pos x="6" y="12"/>
                      </a:cxn>
                      <a:cxn ang="0">
                        <a:pos x="0" y="11"/>
                      </a:cxn>
                      <a:cxn ang="0">
                        <a:pos x="3" y="2"/>
                      </a:cxn>
                      <a:cxn ang="0">
                        <a:pos x="7" y="0"/>
                      </a:cxn>
                      <a:cxn ang="0">
                        <a:pos x="7" y="6"/>
                      </a:cxn>
                      <a:cxn ang="0">
                        <a:pos x="8" y="8"/>
                      </a:cxn>
                      <a:cxn ang="0">
                        <a:pos x="6" y="12"/>
                      </a:cxn>
                    </a:cxnLst>
                    <a:rect l="0" t="0" r="r" b="b"/>
                    <a:pathLst>
                      <a:path w="9" h="13">
                        <a:moveTo>
                          <a:pt x="6" y="12"/>
                        </a:moveTo>
                        <a:cubicBezTo>
                          <a:pt x="5" y="9"/>
                          <a:pt x="2" y="13"/>
                          <a:pt x="0" y="11"/>
                        </a:cubicBezTo>
                        <a:cubicBezTo>
                          <a:pt x="0" y="5"/>
                          <a:pt x="1" y="8"/>
                          <a:pt x="3" y="2"/>
                        </a:cubicBezTo>
                        <a:cubicBezTo>
                          <a:pt x="4" y="1"/>
                          <a:pt x="4" y="4"/>
                          <a:pt x="7" y="0"/>
                        </a:cubicBezTo>
                        <a:cubicBezTo>
                          <a:pt x="8" y="3"/>
                          <a:pt x="9" y="4"/>
                          <a:pt x="7" y="6"/>
                        </a:cubicBezTo>
                        <a:cubicBezTo>
                          <a:pt x="2" y="9"/>
                          <a:pt x="6" y="7"/>
                          <a:pt x="8" y="8"/>
                        </a:cubicBezTo>
                        <a:lnTo>
                          <a:pt x="6" y="12"/>
                        </a:ln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58" name="Freeform 20170">
                    <a:extLst>
                      <a:ext uri="{FF2B5EF4-FFF2-40B4-BE49-F238E27FC236}">
                        <a16:creationId xmlns:a16="http://schemas.microsoft.com/office/drawing/2014/main" id="{23EE574B-2F6D-7443-BD60-8F4227E5301A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541084" y="4100096"/>
                    <a:ext cx="456066" cy="561019"/>
                  </a:xfrm>
                  <a:custGeom>
                    <a:avLst/>
                    <a:gdLst/>
                    <a:ahLst/>
                    <a:cxnLst>
                      <a:cxn ang="0">
                        <a:pos x="90" y="73"/>
                      </a:cxn>
                      <a:cxn ang="0">
                        <a:pos x="97" y="87"/>
                      </a:cxn>
                      <a:cxn ang="0">
                        <a:pos x="85" y="95"/>
                      </a:cxn>
                      <a:cxn ang="0">
                        <a:pos x="84" y="109"/>
                      </a:cxn>
                      <a:cxn ang="0">
                        <a:pos x="92" y="116"/>
                      </a:cxn>
                      <a:cxn ang="0">
                        <a:pos x="86" y="117"/>
                      </a:cxn>
                      <a:cxn ang="0">
                        <a:pos x="78" y="110"/>
                      </a:cxn>
                      <a:cxn ang="0">
                        <a:pos x="70" y="110"/>
                      </a:cxn>
                      <a:cxn ang="0">
                        <a:pos x="61" y="104"/>
                      </a:cxn>
                      <a:cxn ang="0">
                        <a:pos x="55" y="105"/>
                      </a:cxn>
                      <a:cxn ang="0">
                        <a:pos x="51" y="98"/>
                      </a:cxn>
                      <a:cxn ang="0">
                        <a:pos x="50" y="82"/>
                      </a:cxn>
                      <a:cxn ang="0">
                        <a:pos x="42" y="79"/>
                      </a:cxn>
                      <a:cxn ang="0">
                        <a:pos x="37" y="85"/>
                      </a:cxn>
                      <a:cxn ang="0">
                        <a:pos x="27" y="85"/>
                      </a:cxn>
                      <a:cxn ang="0">
                        <a:pos x="23" y="75"/>
                      </a:cxn>
                      <a:cxn ang="0">
                        <a:pos x="5" y="72"/>
                      </a:cxn>
                      <a:cxn ang="0">
                        <a:pos x="0" y="72"/>
                      </a:cxn>
                      <a:cxn ang="0">
                        <a:pos x="5" y="65"/>
                      </a:cxn>
                      <a:cxn ang="0">
                        <a:pos x="12" y="66"/>
                      </a:cxn>
                      <a:cxn ang="0">
                        <a:pos x="21" y="55"/>
                      </a:cxn>
                      <a:cxn ang="0">
                        <a:pos x="30" y="34"/>
                      </a:cxn>
                      <a:cxn ang="0">
                        <a:pos x="31" y="19"/>
                      </a:cxn>
                      <a:cxn ang="0">
                        <a:pos x="34" y="8"/>
                      </a:cxn>
                      <a:cxn ang="0">
                        <a:pos x="44" y="8"/>
                      </a:cxn>
                      <a:cxn ang="0">
                        <a:pos x="61" y="5"/>
                      </a:cxn>
                      <a:cxn ang="0">
                        <a:pos x="76" y="4"/>
                      </a:cxn>
                      <a:cxn ang="0">
                        <a:pos x="85" y="8"/>
                      </a:cxn>
                      <a:cxn ang="0">
                        <a:pos x="93" y="9"/>
                      </a:cxn>
                      <a:cxn ang="0">
                        <a:pos x="98" y="21"/>
                      </a:cxn>
                      <a:cxn ang="0">
                        <a:pos x="91" y="44"/>
                      </a:cxn>
                      <a:cxn ang="0">
                        <a:pos x="87" y="53"/>
                      </a:cxn>
                      <a:cxn ang="0">
                        <a:pos x="90" y="64"/>
                      </a:cxn>
                    </a:cxnLst>
                    <a:rect l="0" t="0" r="r" b="b"/>
                    <a:pathLst>
                      <a:path w="101" h="124">
                        <a:moveTo>
                          <a:pt x="90" y="64"/>
                        </a:moveTo>
                        <a:cubicBezTo>
                          <a:pt x="89" y="68"/>
                          <a:pt x="91" y="70"/>
                          <a:pt x="90" y="73"/>
                        </a:cubicBezTo>
                        <a:cubicBezTo>
                          <a:pt x="89" y="76"/>
                          <a:pt x="94" y="80"/>
                          <a:pt x="95" y="82"/>
                        </a:cubicBezTo>
                        <a:cubicBezTo>
                          <a:pt x="95" y="85"/>
                          <a:pt x="96" y="86"/>
                          <a:pt x="97" y="87"/>
                        </a:cubicBezTo>
                        <a:cubicBezTo>
                          <a:pt x="93" y="88"/>
                          <a:pt x="87" y="87"/>
                          <a:pt x="87" y="90"/>
                        </a:cubicBezTo>
                        <a:cubicBezTo>
                          <a:pt x="87" y="94"/>
                          <a:pt x="83" y="93"/>
                          <a:pt x="85" y="95"/>
                        </a:cubicBezTo>
                        <a:cubicBezTo>
                          <a:pt x="88" y="99"/>
                          <a:pt x="84" y="98"/>
                          <a:pt x="85" y="101"/>
                        </a:cubicBezTo>
                        <a:cubicBezTo>
                          <a:pt x="87" y="103"/>
                          <a:pt x="83" y="107"/>
                          <a:pt x="84" y="109"/>
                        </a:cubicBezTo>
                        <a:cubicBezTo>
                          <a:pt x="85" y="111"/>
                          <a:pt x="86" y="113"/>
                          <a:pt x="88" y="114"/>
                        </a:cubicBezTo>
                        <a:cubicBezTo>
                          <a:pt x="91" y="115"/>
                          <a:pt x="92" y="108"/>
                          <a:pt x="92" y="116"/>
                        </a:cubicBezTo>
                        <a:cubicBezTo>
                          <a:pt x="91" y="124"/>
                          <a:pt x="91" y="118"/>
                          <a:pt x="90" y="119"/>
                        </a:cubicBezTo>
                        <a:cubicBezTo>
                          <a:pt x="88" y="121"/>
                          <a:pt x="88" y="121"/>
                          <a:pt x="86" y="117"/>
                        </a:cubicBezTo>
                        <a:cubicBezTo>
                          <a:pt x="84" y="114"/>
                          <a:pt x="83" y="113"/>
                          <a:pt x="81" y="113"/>
                        </a:cubicBezTo>
                        <a:cubicBezTo>
                          <a:pt x="80" y="113"/>
                          <a:pt x="79" y="111"/>
                          <a:pt x="78" y="110"/>
                        </a:cubicBezTo>
                        <a:cubicBezTo>
                          <a:pt x="78" y="108"/>
                          <a:pt x="77" y="107"/>
                          <a:pt x="77" y="110"/>
                        </a:cubicBezTo>
                        <a:cubicBezTo>
                          <a:pt x="76" y="112"/>
                          <a:pt x="75" y="111"/>
                          <a:pt x="70" y="110"/>
                        </a:cubicBezTo>
                        <a:cubicBezTo>
                          <a:pt x="66" y="109"/>
                          <a:pt x="71" y="104"/>
                          <a:pt x="66" y="107"/>
                        </a:cubicBezTo>
                        <a:cubicBezTo>
                          <a:pt x="62" y="109"/>
                          <a:pt x="66" y="104"/>
                          <a:pt x="61" y="104"/>
                        </a:cubicBezTo>
                        <a:cubicBezTo>
                          <a:pt x="61" y="105"/>
                          <a:pt x="61" y="105"/>
                          <a:pt x="59" y="105"/>
                        </a:cubicBezTo>
                        <a:cubicBezTo>
                          <a:pt x="58" y="104"/>
                          <a:pt x="57" y="106"/>
                          <a:pt x="55" y="105"/>
                        </a:cubicBezTo>
                        <a:cubicBezTo>
                          <a:pt x="53" y="105"/>
                          <a:pt x="54" y="107"/>
                          <a:pt x="52" y="107"/>
                        </a:cubicBezTo>
                        <a:cubicBezTo>
                          <a:pt x="50" y="106"/>
                          <a:pt x="54" y="102"/>
                          <a:pt x="51" y="98"/>
                        </a:cubicBezTo>
                        <a:cubicBezTo>
                          <a:pt x="48" y="94"/>
                          <a:pt x="51" y="90"/>
                          <a:pt x="50" y="87"/>
                        </a:cubicBezTo>
                        <a:cubicBezTo>
                          <a:pt x="49" y="84"/>
                          <a:pt x="50" y="84"/>
                          <a:pt x="50" y="82"/>
                        </a:cubicBezTo>
                        <a:cubicBezTo>
                          <a:pt x="50" y="80"/>
                          <a:pt x="42" y="83"/>
                          <a:pt x="44" y="80"/>
                        </a:cubicBezTo>
                        <a:cubicBezTo>
                          <a:pt x="44" y="79"/>
                          <a:pt x="43" y="78"/>
                          <a:pt x="42" y="79"/>
                        </a:cubicBezTo>
                        <a:cubicBezTo>
                          <a:pt x="41" y="80"/>
                          <a:pt x="38" y="78"/>
                          <a:pt x="38" y="81"/>
                        </a:cubicBezTo>
                        <a:cubicBezTo>
                          <a:pt x="38" y="84"/>
                          <a:pt x="37" y="82"/>
                          <a:pt x="37" y="85"/>
                        </a:cubicBezTo>
                        <a:cubicBezTo>
                          <a:pt x="38" y="87"/>
                          <a:pt x="35" y="86"/>
                          <a:pt x="34" y="86"/>
                        </a:cubicBezTo>
                        <a:cubicBezTo>
                          <a:pt x="33" y="85"/>
                          <a:pt x="28" y="88"/>
                          <a:pt x="27" y="85"/>
                        </a:cubicBezTo>
                        <a:cubicBezTo>
                          <a:pt x="26" y="82"/>
                          <a:pt x="25" y="83"/>
                          <a:pt x="25" y="80"/>
                        </a:cubicBezTo>
                        <a:cubicBezTo>
                          <a:pt x="25" y="78"/>
                          <a:pt x="24" y="78"/>
                          <a:pt x="23" y="75"/>
                        </a:cubicBezTo>
                        <a:cubicBezTo>
                          <a:pt x="23" y="72"/>
                          <a:pt x="23" y="72"/>
                          <a:pt x="16" y="73"/>
                        </a:cubicBezTo>
                        <a:cubicBezTo>
                          <a:pt x="8" y="73"/>
                          <a:pt x="9" y="72"/>
                          <a:pt x="5" y="72"/>
                        </a:cubicBezTo>
                        <a:cubicBezTo>
                          <a:pt x="4" y="72"/>
                          <a:pt x="4" y="72"/>
                          <a:pt x="2" y="72"/>
                        </a:cubicBezTo>
                        <a:cubicBezTo>
                          <a:pt x="1" y="73"/>
                          <a:pt x="1" y="73"/>
                          <a:pt x="0" y="72"/>
                        </a:cubicBezTo>
                        <a:cubicBezTo>
                          <a:pt x="3" y="72"/>
                          <a:pt x="1" y="68"/>
                          <a:pt x="2" y="66"/>
                        </a:cubicBezTo>
                        <a:cubicBezTo>
                          <a:pt x="4" y="65"/>
                          <a:pt x="4" y="65"/>
                          <a:pt x="5" y="65"/>
                        </a:cubicBezTo>
                        <a:cubicBezTo>
                          <a:pt x="7" y="68"/>
                          <a:pt x="9" y="62"/>
                          <a:pt x="11" y="63"/>
                        </a:cubicBezTo>
                        <a:cubicBezTo>
                          <a:pt x="13" y="64"/>
                          <a:pt x="10" y="66"/>
                          <a:pt x="12" y="66"/>
                        </a:cubicBezTo>
                        <a:cubicBezTo>
                          <a:pt x="15" y="67"/>
                          <a:pt x="17" y="61"/>
                          <a:pt x="18" y="61"/>
                        </a:cubicBezTo>
                        <a:cubicBezTo>
                          <a:pt x="20" y="61"/>
                          <a:pt x="22" y="57"/>
                          <a:pt x="21" y="55"/>
                        </a:cubicBezTo>
                        <a:cubicBezTo>
                          <a:pt x="19" y="51"/>
                          <a:pt x="24" y="43"/>
                          <a:pt x="27" y="42"/>
                        </a:cubicBezTo>
                        <a:cubicBezTo>
                          <a:pt x="30" y="40"/>
                          <a:pt x="28" y="38"/>
                          <a:pt x="30" y="34"/>
                        </a:cubicBezTo>
                        <a:cubicBezTo>
                          <a:pt x="31" y="31"/>
                          <a:pt x="29" y="32"/>
                          <a:pt x="30" y="27"/>
                        </a:cubicBezTo>
                        <a:cubicBezTo>
                          <a:pt x="31" y="22"/>
                          <a:pt x="29" y="23"/>
                          <a:pt x="31" y="19"/>
                        </a:cubicBezTo>
                        <a:cubicBezTo>
                          <a:pt x="34" y="16"/>
                          <a:pt x="34" y="15"/>
                          <a:pt x="34" y="14"/>
                        </a:cubicBezTo>
                        <a:cubicBezTo>
                          <a:pt x="33" y="11"/>
                          <a:pt x="32" y="9"/>
                          <a:pt x="34" y="8"/>
                        </a:cubicBezTo>
                        <a:cubicBezTo>
                          <a:pt x="35" y="7"/>
                          <a:pt x="35" y="2"/>
                          <a:pt x="40" y="4"/>
                        </a:cubicBezTo>
                        <a:cubicBezTo>
                          <a:pt x="44" y="6"/>
                          <a:pt x="42" y="8"/>
                          <a:pt x="44" y="8"/>
                        </a:cubicBezTo>
                        <a:cubicBezTo>
                          <a:pt x="50" y="8"/>
                          <a:pt x="53" y="12"/>
                          <a:pt x="55" y="7"/>
                        </a:cubicBezTo>
                        <a:cubicBezTo>
                          <a:pt x="57" y="2"/>
                          <a:pt x="55" y="9"/>
                          <a:pt x="61" y="5"/>
                        </a:cubicBezTo>
                        <a:cubicBezTo>
                          <a:pt x="66" y="2"/>
                          <a:pt x="66" y="6"/>
                          <a:pt x="68" y="3"/>
                        </a:cubicBezTo>
                        <a:cubicBezTo>
                          <a:pt x="70" y="0"/>
                          <a:pt x="75" y="6"/>
                          <a:pt x="76" y="4"/>
                        </a:cubicBezTo>
                        <a:cubicBezTo>
                          <a:pt x="78" y="2"/>
                          <a:pt x="78" y="4"/>
                          <a:pt x="80" y="4"/>
                        </a:cubicBezTo>
                        <a:cubicBezTo>
                          <a:pt x="82" y="7"/>
                          <a:pt x="84" y="10"/>
                          <a:pt x="85" y="8"/>
                        </a:cubicBezTo>
                        <a:cubicBezTo>
                          <a:pt x="87" y="6"/>
                          <a:pt x="88" y="10"/>
                          <a:pt x="89" y="7"/>
                        </a:cubicBezTo>
                        <a:cubicBezTo>
                          <a:pt x="91" y="5"/>
                          <a:pt x="92" y="6"/>
                          <a:pt x="93" y="9"/>
                        </a:cubicBezTo>
                        <a:cubicBezTo>
                          <a:pt x="95" y="12"/>
                          <a:pt x="95" y="10"/>
                          <a:pt x="97" y="14"/>
                        </a:cubicBezTo>
                        <a:cubicBezTo>
                          <a:pt x="97" y="19"/>
                          <a:pt x="95" y="20"/>
                          <a:pt x="98" y="21"/>
                        </a:cubicBezTo>
                        <a:cubicBezTo>
                          <a:pt x="101" y="23"/>
                          <a:pt x="97" y="25"/>
                          <a:pt x="94" y="28"/>
                        </a:cubicBezTo>
                        <a:cubicBezTo>
                          <a:pt x="91" y="31"/>
                          <a:pt x="91" y="38"/>
                          <a:pt x="91" y="44"/>
                        </a:cubicBezTo>
                        <a:cubicBezTo>
                          <a:pt x="85" y="48"/>
                          <a:pt x="90" y="48"/>
                          <a:pt x="88" y="50"/>
                        </a:cubicBezTo>
                        <a:cubicBezTo>
                          <a:pt x="86" y="51"/>
                          <a:pt x="87" y="51"/>
                          <a:pt x="87" y="53"/>
                        </a:cubicBezTo>
                        <a:cubicBezTo>
                          <a:pt x="88" y="55"/>
                          <a:pt x="89" y="55"/>
                          <a:pt x="88" y="58"/>
                        </a:cubicBezTo>
                        <a:cubicBezTo>
                          <a:pt x="88" y="61"/>
                          <a:pt x="90" y="62"/>
                          <a:pt x="90" y="64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59" name="Freeform 20171">
                    <a:extLst>
                      <a:ext uri="{FF2B5EF4-FFF2-40B4-BE49-F238E27FC236}">
                        <a16:creationId xmlns:a16="http://schemas.microsoft.com/office/drawing/2014/main" id="{E65E9D40-3401-7C45-85B5-89BDACDA2E16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046764" y="4119177"/>
                    <a:ext cx="194639" cy="274784"/>
                  </a:xfrm>
                  <a:custGeom>
                    <a:avLst/>
                    <a:gdLst/>
                    <a:ahLst/>
                    <a:cxnLst>
                      <a:cxn ang="0">
                        <a:pos x="1" y="5"/>
                      </a:cxn>
                      <a:cxn ang="0">
                        <a:pos x="5" y="14"/>
                      </a:cxn>
                      <a:cxn ang="0">
                        <a:pos x="4" y="26"/>
                      </a:cxn>
                      <a:cxn ang="0">
                        <a:pos x="1" y="38"/>
                      </a:cxn>
                      <a:cxn ang="0">
                        <a:pos x="19" y="50"/>
                      </a:cxn>
                      <a:cxn ang="0">
                        <a:pos x="21" y="55"/>
                      </a:cxn>
                      <a:cxn ang="0">
                        <a:pos x="29" y="61"/>
                      </a:cxn>
                      <a:cxn ang="0">
                        <a:pos x="32" y="55"/>
                      </a:cxn>
                      <a:cxn ang="0">
                        <a:pos x="34" y="50"/>
                      </a:cxn>
                      <a:cxn ang="0">
                        <a:pos x="37" y="45"/>
                      </a:cxn>
                      <a:cxn ang="0">
                        <a:pos x="41" y="42"/>
                      </a:cxn>
                      <a:cxn ang="0">
                        <a:pos x="38" y="36"/>
                      </a:cxn>
                      <a:cxn ang="0">
                        <a:pos x="38" y="14"/>
                      </a:cxn>
                      <a:cxn ang="0">
                        <a:pos x="43" y="7"/>
                      </a:cxn>
                      <a:cxn ang="0">
                        <a:pos x="38" y="6"/>
                      </a:cxn>
                      <a:cxn ang="0">
                        <a:pos x="34" y="6"/>
                      </a:cxn>
                      <a:cxn ang="0">
                        <a:pos x="29" y="10"/>
                      </a:cxn>
                      <a:cxn ang="0">
                        <a:pos x="26" y="9"/>
                      </a:cxn>
                      <a:cxn ang="0">
                        <a:pos x="19" y="6"/>
                      </a:cxn>
                      <a:cxn ang="0">
                        <a:pos x="11" y="3"/>
                      </a:cxn>
                      <a:cxn ang="0">
                        <a:pos x="9" y="1"/>
                      </a:cxn>
                      <a:cxn ang="0">
                        <a:pos x="5" y="1"/>
                      </a:cxn>
                      <a:cxn ang="0">
                        <a:pos x="1" y="5"/>
                      </a:cxn>
                    </a:cxnLst>
                    <a:rect l="0" t="0" r="r" b="b"/>
                    <a:pathLst>
                      <a:path w="43" h="61">
                        <a:moveTo>
                          <a:pt x="1" y="5"/>
                        </a:moveTo>
                        <a:cubicBezTo>
                          <a:pt x="5" y="10"/>
                          <a:pt x="3" y="11"/>
                          <a:pt x="5" y="14"/>
                        </a:cubicBezTo>
                        <a:cubicBezTo>
                          <a:pt x="7" y="17"/>
                          <a:pt x="7" y="22"/>
                          <a:pt x="4" y="26"/>
                        </a:cubicBezTo>
                        <a:cubicBezTo>
                          <a:pt x="0" y="30"/>
                          <a:pt x="2" y="33"/>
                          <a:pt x="1" y="38"/>
                        </a:cubicBezTo>
                        <a:cubicBezTo>
                          <a:pt x="12" y="45"/>
                          <a:pt x="16" y="48"/>
                          <a:pt x="19" y="50"/>
                        </a:cubicBezTo>
                        <a:cubicBezTo>
                          <a:pt x="23" y="52"/>
                          <a:pt x="19" y="52"/>
                          <a:pt x="21" y="55"/>
                        </a:cubicBezTo>
                        <a:cubicBezTo>
                          <a:pt x="24" y="57"/>
                          <a:pt x="28" y="61"/>
                          <a:pt x="29" y="61"/>
                        </a:cubicBezTo>
                        <a:cubicBezTo>
                          <a:pt x="31" y="58"/>
                          <a:pt x="32" y="58"/>
                          <a:pt x="32" y="55"/>
                        </a:cubicBezTo>
                        <a:cubicBezTo>
                          <a:pt x="32" y="51"/>
                          <a:pt x="34" y="55"/>
                          <a:pt x="34" y="50"/>
                        </a:cubicBezTo>
                        <a:cubicBezTo>
                          <a:pt x="33" y="46"/>
                          <a:pt x="38" y="48"/>
                          <a:pt x="37" y="45"/>
                        </a:cubicBezTo>
                        <a:cubicBezTo>
                          <a:pt x="37" y="43"/>
                          <a:pt x="38" y="46"/>
                          <a:pt x="41" y="42"/>
                        </a:cubicBezTo>
                        <a:cubicBezTo>
                          <a:pt x="40" y="39"/>
                          <a:pt x="38" y="40"/>
                          <a:pt x="38" y="36"/>
                        </a:cubicBezTo>
                        <a:cubicBezTo>
                          <a:pt x="38" y="31"/>
                          <a:pt x="38" y="14"/>
                          <a:pt x="38" y="14"/>
                        </a:cubicBezTo>
                        <a:cubicBezTo>
                          <a:pt x="38" y="14"/>
                          <a:pt x="41" y="9"/>
                          <a:pt x="43" y="7"/>
                        </a:cubicBezTo>
                        <a:cubicBezTo>
                          <a:pt x="41" y="7"/>
                          <a:pt x="39" y="7"/>
                          <a:pt x="38" y="6"/>
                        </a:cubicBezTo>
                        <a:cubicBezTo>
                          <a:pt x="37" y="5"/>
                          <a:pt x="37" y="4"/>
                          <a:pt x="34" y="6"/>
                        </a:cubicBezTo>
                        <a:cubicBezTo>
                          <a:pt x="30" y="8"/>
                          <a:pt x="31" y="11"/>
                          <a:pt x="29" y="10"/>
                        </a:cubicBezTo>
                        <a:cubicBezTo>
                          <a:pt x="29" y="9"/>
                          <a:pt x="28" y="10"/>
                          <a:pt x="26" y="9"/>
                        </a:cubicBezTo>
                        <a:cubicBezTo>
                          <a:pt x="24" y="8"/>
                          <a:pt x="24" y="11"/>
                          <a:pt x="19" y="6"/>
                        </a:cubicBezTo>
                        <a:cubicBezTo>
                          <a:pt x="14" y="1"/>
                          <a:pt x="14" y="6"/>
                          <a:pt x="11" y="3"/>
                        </a:cubicBezTo>
                        <a:cubicBezTo>
                          <a:pt x="10" y="3"/>
                          <a:pt x="8" y="3"/>
                          <a:pt x="9" y="1"/>
                        </a:cubicBezTo>
                        <a:cubicBezTo>
                          <a:pt x="9" y="0"/>
                          <a:pt x="7" y="1"/>
                          <a:pt x="5" y="1"/>
                        </a:cubicBezTo>
                        <a:cubicBezTo>
                          <a:pt x="3" y="2"/>
                          <a:pt x="2" y="4"/>
                          <a:pt x="1" y="5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0" name="Freeform 20172">
                    <a:extLst>
                      <a:ext uri="{FF2B5EF4-FFF2-40B4-BE49-F238E27FC236}">
                        <a16:creationId xmlns:a16="http://schemas.microsoft.com/office/drawing/2014/main" id="{4E006419-E739-0740-B2F1-122126C687A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953262" y="4142076"/>
                    <a:ext cx="125943" cy="162199"/>
                  </a:xfrm>
                  <a:custGeom>
                    <a:avLst/>
                    <a:gdLst/>
                    <a:ahLst/>
                    <a:cxnLst>
                      <a:cxn ang="0">
                        <a:pos x="6" y="5"/>
                      </a:cxn>
                      <a:cxn ang="0">
                        <a:pos x="7" y="12"/>
                      </a:cxn>
                      <a:cxn ang="0">
                        <a:pos x="3" y="19"/>
                      </a:cxn>
                      <a:cxn ang="0">
                        <a:pos x="0" y="35"/>
                      </a:cxn>
                      <a:cxn ang="0">
                        <a:pos x="2" y="36"/>
                      </a:cxn>
                      <a:cxn ang="0">
                        <a:pos x="4" y="33"/>
                      </a:cxn>
                      <a:cxn ang="0">
                        <a:pos x="22" y="33"/>
                      </a:cxn>
                      <a:cxn ang="0">
                        <a:pos x="25" y="21"/>
                      </a:cxn>
                      <a:cxn ang="0">
                        <a:pos x="26" y="9"/>
                      </a:cxn>
                      <a:cxn ang="0">
                        <a:pos x="22" y="0"/>
                      </a:cxn>
                      <a:cxn ang="0">
                        <a:pos x="19" y="3"/>
                      </a:cxn>
                      <a:cxn ang="0">
                        <a:pos x="18" y="2"/>
                      </a:cxn>
                      <a:cxn ang="0">
                        <a:pos x="12" y="4"/>
                      </a:cxn>
                      <a:cxn ang="0">
                        <a:pos x="10" y="3"/>
                      </a:cxn>
                      <a:cxn ang="0">
                        <a:pos x="6" y="5"/>
                      </a:cxn>
                    </a:cxnLst>
                    <a:rect l="0" t="0" r="r" b="b"/>
                    <a:pathLst>
                      <a:path w="28" h="36">
                        <a:moveTo>
                          <a:pt x="6" y="5"/>
                        </a:moveTo>
                        <a:cubicBezTo>
                          <a:pt x="6" y="10"/>
                          <a:pt x="4" y="11"/>
                          <a:pt x="7" y="12"/>
                        </a:cubicBezTo>
                        <a:cubicBezTo>
                          <a:pt x="10" y="14"/>
                          <a:pt x="6" y="16"/>
                          <a:pt x="3" y="19"/>
                        </a:cubicBezTo>
                        <a:cubicBezTo>
                          <a:pt x="0" y="22"/>
                          <a:pt x="0" y="29"/>
                          <a:pt x="0" y="35"/>
                        </a:cubicBezTo>
                        <a:cubicBezTo>
                          <a:pt x="2" y="34"/>
                          <a:pt x="0" y="36"/>
                          <a:pt x="2" y="36"/>
                        </a:cubicBezTo>
                        <a:cubicBezTo>
                          <a:pt x="3" y="35"/>
                          <a:pt x="3" y="34"/>
                          <a:pt x="4" y="33"/>
                        </a:cubicBezTo>
                        <a:cubicBezTo>
                          <a:pt x="6" y="33"/>
                          <a:pt x="19" y="33"/>
                          <a:pt x="22" y="33"/>
                        </a:cubicBezTo>
                        <a:cubicBezTo>
                          <a:pt x="23" y="28"/>
                          <a:pt x="21" y="25"/>
                          <a:pt x="25" y="21"/>
                        </a:cubicBezTo>
                        <a:cubicBezTo>
                          <a:pt x="28" y="17"/>
                          <a:pt x="28" y="12"/>
                          <a:pt x="26" y="9"/>
                        </a:cubicBezTo>
                        <a:cubicBezTo>
                          <a:pt x="24" y="6"/>
                          <a:pt x="26" y="5"/>
                          <a:pt x="22" y="0"/>
                        </a:cubicBezTo>
                        <a:cubicBezTo>
                          <a:pt x="21" y="2"/>
                          <a:pt x="21" y="3"/>
                          <a:pt x="19" y="3"/>
                        </a:cubicBezTo>
                        <a:cubicBezTo>
                          <a:pt x="17" y="3"/>
                          <a:pt x="19" y="3"/>
                          <a:pt x="18" y="2"/>
                        </a:cubicBezTo>
                        <a:cubicBezTo>
                          <a:pt x="15" y="2"/>
                          <a:pt x="13" y="6"/>
                          <a:pt x="12" y="4"/>
                        </a:cubicBezTo>
                        <a:cubicBezTo>
                          <a:pt x="11" y="3"/>
                          <a:pt x="11" y="2"/>
                          <a:pt x="10" y="3"/>
                        </a:cubicBezTo>
                        <a:cubicBezTo>
                          <a:pt x="9" y="5"/>
                          <a:pt x="8" y="0"/>
                          <a:pt x="6" y="5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1" name="Freeform 20173">
                    <a:extLst>
                      <a:ext uri="{FF2B5EF4-FFF2-40B4-BE49-F238E27FC236}">
                        <a16:creationId xmlns:a16="http://schemas.microsoft.com/office/drawing/2014/main" id="{46B15D4B-C586-4640-BF30-C2E716584A2F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771980" y="4495099"/>
                    <a:ext cx="274784" cy="291959"/>
                  </a:xfrm>
                  <a:custGeom>
                    <a:avLst/>
                    <a:gdLst/>
                    <a:ahLst/>
                    <a:cxnLst>
                      <a:cxn ang="0">
                        <a:pos x="17" y="61"/>
                      </a:cxn>
                      <a:cxn ang="0">
                        <a:pos x="7" y="60"/>
                      </a:cxn>
                      <a:cxn ang="0">
                        <a:pos x="0" y="49"/>
                      </a:cxn>
                      <a:cxn ang="0">
                        <a:pos x="0" y="32"/>
                      </a:cxn>
                      <a:cxn ang="0">
                        <a:pos x="9" y="31"/>
                      </a:cxn>
                      <a:cxn ang="0">
                        <a:pos x="10" y="27"/>
                      </a:cxn>
                      <a:cxn ang="0">
                        <a:pos x="10" y="23"/>
                      </a:cxn>
                      <a:cxn ang="0">
                        <a:pos x="10" y="17"/>
                      </a:cxn>
                      <a:cxn ang="0">
                        <a:pos x="15" y="20"/>
                      </a:cxn>
                      <a:cxn ang="0">
                        <a:pos x="19" y="23"/>
                      </a:cxn>
                      <a:cxn ang="0">
                        <a:pos x="26" y="23"/>
                      </a:cxn>
                      <a:cxn ang="0">
                        <a:pos x="27" y="23"/>
                      </a:cxn>
                      <a:cxn ang="0">
                        <a:pos x="30" y="26"/>
                      </a:cxn>
                      <a:cxn ang="0">
                        <a:pos x="35" y="30"/>
                      </a:cxn>
                      <a:cxn ang="0">
                        <a:pos x="39" y="32"/>
                      </a:cxn>
                      <a:cxn ang="0">
                        <a:pos x="41" y="29"/>
                      </a:cxn>
                      <a:cxn ang="0">
                        <a:pos x="37" y="27"/>
                      </a:cxn>
                      <a:cxn ang="0">
                        <a:pos x="33" y="22"/>
                      </a:cxn>
                      <a:cxn ang="0">
                        <a:pos x="34" y="14"/>
                      </a:cxn>
                      <a:cxn ang="0">
                        <a:pos x="34" y="8"/>
                      </a:cxn>
                      <a:cxn ang="0">
                        <a:pos x="36" y="3"/>
                      </a:cxn>
                      <a:cxn ang="0">
                        <a:pos x="46" y="0"/>
                      </a:cxn>
                      <a:cxn ang="0">
                        <a:pos x="50" y="4"/>
                      </a:cxn>
                      <a:cxn ang="0">
                        <a:pos x="52" y="5"/>
                      </a:cxn>
                      <a:cxn ang="0">
                        <a:pos x="57" y="8"/>
                      </a:cxn>
                      <a:cxn ang="0">
                        <a:pos x="59" y="10"/>
                      </a:cxn>
                      <a:cxn ang="0">
                        <a:pos x="59" y="13"/>
                      </a:cxn>
                      <a:cxn ang="0">
                        <a:pos x="60" y="17"/>
                      </a:cxn>
                      <a:cxn ang="0">
                        <a:pos x="59" y="20"/>
                      </a:cxn>
                      <a:cxn ang="0">
                        <a:pos x="59" y="24"/>
                      </a:cxn>
                      <a:cxn ang="0">
                        <a:pos x="59" y="28"/>
                      </a:cxn>
                      <a:cxn ang="0">
                        <a:pos x="56" y="34"/>
                      </a:cxn>
                      <a:cxn ang="0">
                        <a:pos x="58" y="37"/>
                      </a:cxn>
                      <a:cxn ang="0">
                        <a:pos x="43" y="43"/>
                      </a:cxn>
                      <a:cxn ang="0">
                        <a:pos x="44" y="47"/>
                      </a:cxn>
                      <a:cxn ang="0">
                        <a:pos x="37" y="49"/>
                      </a:cxn>
                      <a:cxn ang="0">
                        <a:pos x="34" y="54"/>
                      </a:cxn>
                      <a:cxn ang="0">
                        <a:pos x="26" y="62"/>
                      </a:cxn>
                      <a:cxn ang="0">
                        <a:pos x="21" y="62"/>
                      </a:cxn>
                      <a:cxn ang="0">
                        <a:pos x="17" y="61"/>
                      </a:cxn>
                    </a:cxnLst>
                    <a:rect l="0" t="0" r="r" b="b"/>
                    <a:pathLst>
                      <a:path w="61" h="65">
                        <a:moveTo>
                          <a:pt x="17" y="61"/>
                        </a:moveTo>
                        <a:cubicBezTo>
                          <a:pt x="15" y="58"/>
                          <a:pt x="12" y="59"/>
                          <a:pt x="7" y="60"/>
                        </a:cubicBezTo>
                        <a:cubicBezTo>
                          <a:pt x="4" y="57"/>
                          <a:pt x="0" y="53"/>
                          <a:pt x="0" y="49"/>
                        </a:cubicBezTo>
                        <a:cubicBezTo>
                          <a:pt x="0" y="47"/>
                          <a:pt x="0" y="35"/>
                          <a:pt x="0" y="32"/>
                        </a:cubicBezTo>
                        <a:cubicBezTo>
                          <a:pt x="0" y="30"/>
                          <a:pt x="3" y="31"/>
                          <a:pt x="9" y="31"/>
                        </a:cubicBezTo>
                        <a:cubicBezTo>
                          <a:pt x="11" y="31"/>
                          <a:pt x="9" y="29"/>
                          <a:pt x="10" y="27"/>
                        </a:cubicBezTo>
                        <a:cubicBezTo>
                          <a:pt x="12" y="26"/>
                          <a:pt x="9" y="26"/>
                          <a:pt x="10" y="23"/>
                        </a:cubicBezTo>
                        <a:cubicBezTo>
                          <a:pt x="11" y="19"/>
                          <a:pt x="10" y="18"/>
                          <a:pt x="10" y="17"/>
                        </a:cubicBezTo>
                        <a:cubicBezTo>
                          <a:pt x="15" y="17"/>
                          <a:pt x="11" y="22"/>
                          <a:pt x="15" y="20"/>
                        </a:cubicBezTo>
                        <a:cubicBezTo>
                          <a:pt x="20" y="17"/>
                          <a:pt x="15" y="22"/>
                          <a:pt x="19" y="23"/>
                        </a:cubicBezTo>
                        <a:cubicBezTo>
                          <a:pt x="24" y="24"/>
                          <a:pt x="25" y="25"/>
                          <a:pt x="26" y="23"/>
                        </a:cubicBezTo>
                        <a:cubicBezTo>
                          <a:pt x="26" y="20"/>
                          <a:pt x="27" y="21"/>
                          <a:pt x="27" y="23"/>
                        </a:cubicBezTo>
                        <a:cubicBezTo>
                          <a:pt x="28" y="24"/>
                          <a:pt x="29" y="26"/>
                          <a:pt x="30" y="26"/>
                        </a:cubicBezTo>
                        <a:cubicBezTo>
                          <a:pt x="32" y="26"/>
                          <a:pt x="33" y="27"/>
                          <a:pt x="35" y="30"/>
                        </a:cubicBezTo>
                        <a:cubicBezTo>
                          <a:pt x="37" y="34"/>
                          <a:pt x="37" y="34"/>
                          <a:pt x="39" y="32"/>
                        </a:cubicBezTo>
                        <a:cubicBezTo>
                          <a:pt x="40" y="31"/>
                          <a:pt x="40" y="37"/>
                          <a:pt x="41" y="29"/>
                        </a:cubicBezTo>
                        <a:cubicBezTo>
                          <a:pt x="41" y="21"/>
                          <a:pt x="40" y="28"/>
                          <a:pt x="37" y="27"/>
                        </a:cubicBezTo>
                        <a:cubicBezTo>
                          <a:pt x="35" y="26"/>
                          <a:pt x="34" y="24"/>
                          <a:pt x="33" y="22"/>
                        </a:cubicBezTo>
                        <a:cubicBezTo>
                          <a:pt x="32" y="20"/>
                          <a:pt x="36" y="16"/>
                          <a:pt x="34" y="14"/>
                        </a:cubicBezTo>
                        <a:cubicBezTo>
                          <a:pt x="33" y="11"/>
                          <a:pt x="37" y="12"/>
                          <a:pt x="34" y="8"/>
                        </a:cubicBezTo>
                        <a:cubicBezTo>
                          <a:pt x="32" y="6"/>
                          <a:pt x="36" y="7"/>
                          <a:pt x="36" y="3"/>
                        </a:cubicBezTo>
                        <a:cubicBezTo>
                          <a:pt x="36" y="0"/>
                          <a:pt x="42" y="1"/>
                          <a:pt x="46" y="0"/>
                        </a:cubicBezTo>
                        <a:cubicBezTo>
                          <a:pt x="47" y="3"/>
                          <a:pt x="49" y="2"/>
                          <a:pt x="50" y="4"/>
                        </a:cubicBezTo>
                        <a:cubicBezTo>
                          <a:pt x="51" y="6"/>
                          <a:pt x="51" y="3"/>
                          <a:pt x="52" y="5"/>
                        </a:cubicBezTo>
                        <a:cubicBezTo>
                          <a:pt x="53" y="7"/>
                          <a:pt x="52" y="5"/>
                          <a:pt x="57" y="8"/>
                        </a:cubicBezTo>
                        <a:cubicBezTo>
                          <a:pt x="57" y="10"/>
                          <a:pt x="57" y="8"/>
                          <a:pt x="59" y="10"/>
                        </a:cubicBezTo>
                        <a:cubicBezTo>
                          <a:pt x="60" y="11"/>
                          <a:pt x="58" y="11"/>
                          <a:pt x="59" y="13"/>
                        </a:cubicBezTo>
                        <a:cubicBezTo>
                          <a:pt x="61" y="14"/>
                          <a:pt x="61" y="15"/>
                          <a:pt x="60" y="17"/>
                        </a:cubicBezTo>
                        <a:cubicBezTo>
                          <a:pt x="58" y="18"/>
                          <a:pt x="60" y="19"/>
                          <a:pt x="59" y="20"/>
                        </a:cubicBezTo>
                        <a:cubicBezTo>
                          <a:pt x="58" y="21"/>
                          <a:pt x="59" y="22"/>
                          <a:pt x="59" y="24"/>
                        </a:cubicBezTo>
                        <a:cubicBezTo>
                          <a:pt x="58" y="27"/>
                          <a:pt x="61" y="28"/>
                          <a:pt x="59" y="28"/>
                        </a:cubicBezTo>
                        <a:cubicBezTo>
                          <a:pt x="56" y="28"/>
                          <a:pt x="58" y="32"/>
                          <a:pt x="56" y="34"/>
                        </a:cubicBezTo>
                        <a:cubicBezTo>
                          <a:pt x="55" y="35"/>
                          <a:pt x="57" y="36"/>
                          <a:pt x="58" y="37"/>
                        </a:cubicBezTo>
                        <a:cubicBezTo>
                          <a:pt x="57" y="38"/>
                          <a:pt x="44" y="43"/>
                          <a:pt x="43" y="43"/>
                        </a:cubicBezTo>
                        <a:cubicBezTo>
                          <a:pt x="42" y="43"/>
                          <a:pt x="43" y="46"/>
                          <a:pt x="44" y="47"/>
                        </a:cubicBezTo>
                        <a:cubicBezTo>
                          <a:pt x="42" y="48"/>
                          <a:pt x="40" y="47"/>
                          <a:pt x="37" y="49"/>
                        </a:cubicBezTo>
                        <a:cubicBezTo>
                          <a:pt x="34" y="51"/>
                          <a:pt x="37" y="53"/>
                          <a:pt x="34" y="54"/>
                        </a:cubicBezTo>
                        <a:cubicBezTo>
                          <a:pt x="30" y="56"/>
                          <a:pt x="28" y="59"/>
                          <a:pt x="26" y="62"/>
                        </a:cubicBezTo>
                        <a:cubicBezTo>
                          <a:pt x="24" y="65"/>
                          <a:pt x="23" y="61"/>
                          <a:pt x="21" y="62"/>
                        </a:cubicBezTo>
                        <a:cubicBezTo>
                          <a:pt x="20" y="63"/>
                          <a:pt x="20" y="61"/>
                          <a:pt x="17" y="6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2" name="Freeform 20174">
                    <a:extLst>
                      <a:ext uri="{FF2B5EF4-FFF2-40B4-BE49-F238E27FC236}">
                        <a16:creationId xmlns:a16="http://schemas.microsoft.com/office/drawing/2014/main" id="{2B6E07AE-1CF4-8E49-AF75-2C59A15F0D0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960893" y="4561886"/>
                    <a:ext cx="257610" cy="475149"/>
                  </a:xfrm>
                  <a:custGeom>
                    <a:avLst/>
                    <a:gdLst/>
                    <a:ahLst/>
                    <a:cxnLst>
                      <a:cxn ang="0">
                        <a:pos x="11" y="105"/>
                      </a:cxn>
                      <a:cxn ang="0">
                        <a:pos x="15" y="105"/>
                      </a:cxn>
                      <a:cxn ang="0">
                        <a:pos x="14" y="100"/>
                      </a:cxn>
                      <a:cxn ang="0">
                        <a:pos x="22" y="93"/>
                      </a:cxn>
                      <a:cxn ang="0">
                        <a:pos x="28" y="85"/>
                      </a:cxn>
                      <a:cxn ang="0">
                        <a:pos x="29" y="77"/>
                      </a:cxn>
                      <a:cxn ang="0">
                        <a:pos x="27" y="73"/>
                      </a:cxn>
                      <a:cxn ang="0">
                        <a:pos x="25" y="65"/>
                      </a:cxn>
                      <a:cxn ang="0">
                        <a:pos x="24" y="60"/>
                      </a:cxn>
                      <a:cxn ang="0">
                        <a:pos x="28" y="56"/>
                      </a:cxn>
                      <a:cxn ang="0">
                        <a:pos x="35" y="50"/>
                      </a:cxn>
                      <a:cxn ang="0">
                        <a:pos x="45" y="42"/>
                      </a:cxn>
                      <a:cxn ang="0">
                        <a:pos x="54" y="31"/>
                      </a:cxn>
                      <a:cxn ang="0">
                        <a:pos x="56" y="27"/>
                      </a:cxn>
                      <a:cxn ang="0">
                        <a:pos x="54" y="20"/>
                      </a:cxn>
                      <a:cxn ang="0">
                        <a:pos x="54" y="8"/>
                      </a:cxn>
                      <a:cxn ang="0">
                        <a:pos x="54" y="0"/>
                      </a:cxn>
                      <a:cxn ang="0">
                        <a:pos x="46" y="5"/>
                      </a:cxn>
                      <a:cxn ang="0">
                        <a:pos x="41" y="5"/>
                      </a:cxn>
                      <a:cxn ang="0">
                        <a:pos x="36" y="7"/>
                      </a:cxn>
                      <a:cxn ang="0">
                        <a:pos x="31" y="7"/>
                      </a:cxn>
                      <a:cxn ang="0">
                        <a:pos x="24" y="6"/>
                      </a:cxn>
                      <a:cxn ang="0">
                        <a:pos x="23" y="9"/>
                      </a:cxn>
                      <a:cxn ang="0">
                        <a:pos x="23" y="17"/>
                      </a:cxn>
                      <a:cxn ang="0">
                        <a:pos x="28" y="23"/>
                      </a:cxn>
                      <a:cxn ang="0">
                        <a:pos x="30" y="31"/>
                      </a:cxn>
                      <a:cxn ang="0">
                        <a:pos x="29" y="36"/>
                      </a:cxn>
                      <a:cxn ang="0">
                        <a:pos x="27" y="39"/>
                      </a:cxn>
                      <a:cxn ang="0">
                        <a:pos x="26" y="42"/>
                      </a:cxn>
                      <a:cxn ang="0">
                        <a:pos x="23" y="36"/>
                      </a:cxn>
                      <a:cxn ang="0">
                        <a:pos x="23" y="30"/>
                      </a:cxn>
                      <a:cxn ang="0">
                        <a:pos x="19" y="25"/>
                      </a:cxn>
                      <a:cxn ang="0">
                        <a:pos x="16" y="22"/>
                      </a:cxn>
                      <a:cxn ang="0">
                        <a:pos x="1" y="28"/>
                      </a:cxn>
                      <a:cxn ang="0">
                        <a:pos x="2" y="32"/>
                      </a:cxn>
                      <a:cxn ang="0">
                        <a:pos x="8" y="36"/>
                      </a:cxn>
                      <a:cxn ang="0">
                        <a:pos x="14" y="39"/>
                      </a:cxn>
                      <a:cxn ang="0">
                        <a:pos x="15" y="43"/>
                      </a:cxn>
                      <a:cxn ang="0">
                        <a:pos x="14" y="53"/>
                      </a:cxn>
                      <a:cxn ang="0">
                        <a:pos x="14" y="56"/>
                      </a:cxn>
                      <a:cxn ang="0">
                        <a:pos x="15" y="62"/>
                      </a:cxn>
                      <a:cxn ang="0">
                        <a:pos x="11" y="70"/>
                      </a:cxn>
                      <a:cxn ang="0">
                        <a:pos x="6" y="76"/>
                      </a:cxn>
                      <a:cxn ang="0">
                        <a:pos x="10" y="100"/>
                      </a:cxn>
                      <a:cxn ang="0">
                        <a:pos x="11" y="105"/>
                      </a:cxn>
                    </a:cxnLst>
                    <a:rect l="0" t="0" r="r" b="b"/>
                    <a:pathLst>
                      <a:path w="57" h="105">
                        <a:moveTo>
                          <a:pt x="11" y="105"/>
                        </a:moveTo>
                        <a:cubicBezTo>
                          <a:pt x="15" y="105"/>
                          <a:pt x="15" y="105"/>
                          <a:pt x="15" y="105"/>
                        </a:cubicBezTo>
                        <a:cubicBezTo>
                          <a:pt x="16" y="98"/>
                          <a:pt x="14" y="103"/>
                          <a:pt x="14" y="100"/>
                        </a:cubicBezTo>
                        <a:cubicBezTo>
                          <a:pt x="13" y="98"/>
                          <a:pt x="17" y="95"/>
                          <a:pt x="22" y="93"/>
                        </a:cubicBezTo>
                        <a:cubicBezTo>
                          <a:pt x="27" y="91"/>
                          <a:pt x="29" y="88"/>
                          <a:pt x="28" y="85"/>
                        </a:cubicBezTo>
                        <a:cubicBezTo>
                          <a:pt x="27" y="83"/>
                          <a:pt x="29" y="83"/>
                          <a:pt x="29" y="77"/>
                        </a:cubicBezTo>
                        <a:cubicBezTo>
                          <a:pt x="28" y="71"/>
                          <a:pt x="28" y="78"/>
                          <a:pt x="27" y="73"/>
                        </a:cubicBezTo>
                        <a:cubicBezTo>
                          <a:pt x="26" y="67"/>
                          <a:pt x="27" y="68"/>
                          <a:pt x="25" y="65"/>
                        </a:cubicBezTo>
                        <a:cubicBezTo>
                          <a:pt x="23" y="63"/>
                          <a:pt x="24" y="62"/>
                          <a:pt x="24" y="60"/>
                        </a:cubicBezTo>
                        <a:cubicBezTo>
                          <a:pt x="24" y="58"/>
                          <a:pt x="25" y="61"/>
                          <a:pt x="28" y="56"/>
                        </a:cubicBezTo>
                        <a:cubicBezTo>
                          <a:pt x="32" y="52"/>
                          <a:pt x="31" y="56"/>
                          <a:pt x="35" y="50"/>
                        </a:cubicBezTo>
                        <a:cubicBezTo>
                          <a:pt x="38" y="43"/>
                          <a:pt x="42" y="43"/>
                          <a:pt x="45" y="42"/>
                        </a:cubicBezTo>
                        <a:cubicBezTo>
                          <a:pt x="49" y="41"/>
                          <a:pt x="51" y="37"/>
                          <a:pt x="54" y="31"/>
                        </a:cubicBezTo>
                        <a:cubicBezTo>
                          <a:pt x="56" y="27"/>
                          <a:pt x="54" y="30"/>
                          <a:pt x="56" y="27"/>
                        </a:cubicBezTo>
                        <a:cubicBezTo>
                          <a:pt x="57" y="24"/>
                          <a:pt x="54" y="26"/>
                          <a:pt x="54" y="20"/>
                        </a:cubicBezTo>
                        <a:cubicBezTo>
                          <a:pt x="55" y="15"/>
                          <a:pt x="55" y="12"/>
                          <a:pt x="54" y="8"/>
                        </a:cubicBezTo>
                        <a:cubicBezTo>
                          <a:pt x="53" y="2"/>
                          <a:pt x="57" y="5"/>
                          <a:pt x="54" y="0"/>
                        </a:cubicBezTo>
                        <a:cubicBezTo>
                          <a:pt x="52" y="2"/>
                          <a:pt x="50" y="3"/>
                          <a:pt x="46" y="5"/>
                        </a:cubicBezTo>
                        <a:cubicBezTo>
                          <a:pt x="42" y="7"/>
                          <a:pt x="41" y="2"/>
                          <a:pt x="41" y="5"/>
                        </a:cubicBezTo>
                        <a:cubicBezTo>
                          <a:pt x="40" y="8"/>
                          <a:pt x="37" y="8"/>
                          <a:pt x="36" y="7"/>
                        </a:cubicBezTo>
                        <a:cubicBezTo>
                          <a:pt x="35" y="6"/>
                          <a:pt x="33" y="9"/>
                          <a:pt x="31" y="7"/>
                        </a:cubicBezTo>
                        <a:cubicBezTo>
                          <a:pt x="29" y="4"/>
                          <a:pt x="29" y="8"/>
                          <a:pt x="24" y="6"/>
                        </a:cubicBezTo>
                        <a:cubicBezTo>
                          <a:pt x="23" y="7"/>
                          <a:pt x="24" y="8"/>
                          <a:pt x="23" y="9"/>
                        </a:cubicBezTo>
                        <a:cubicBezTo>
                          <a:pt x="22" y="11"/>
                          <a:pt x="23" y="14"/>
                          <a:pt x="23" y="17"/>
                        </a:cubicBezTo>
                        <a:cubicBezTo>
                          <a:pt x="24" y="19"/>
                          <a:pt x="25" y="19"/>
                          <a:pt x="28" y="23"/>
                        </a:cubicBezTo>
                        <a:cubicBezTo>
                          <a:pt x="32" y="27"/>
                          <a:pt x="30" y="28"/>
                          <a:pt x="30" y="31"/>
                        </a:cubicBezTo>
                        <a:cubicBezTo>
                          <a:pt x="30" y="34"/>
                          <a:pt x="30" y="35"/>
                          <a:pt x="29" y="36"/>
                        </a:cubicBezTo>
                        <a:cubicBezTo>
                          <a:pt x="27" y="36"/>
                          <a:pt x="26" y="37"/>
                          <a:pt x="27" y="39"/>
                        </a:cubicBezTo>
                        <a:cubicBezTo>
                          <a:pt x="27" y="41"/>
                          <a:pt x="27" y="43"/>
                          <a:pt x="26" y="42"/>
                        </a:cubicBezTo>
                        <a:cubicBezTo>
                          <a:pt x="25" y="42"/>
                          <a:pt x="26" y="40"/>
                          <a:pt x="23" y="36"/>
                        </a:cubicBezTo>
                        <a:cubicBezTo>
                          <a:pt x="20" y="33"/>
                          <a:pt x="23" y="34"/>
                          <a:pt x="23" y="30"/>
                        </a:cubicBezTo>
                        <a:cubicBezTo>
                          <a:pt x="24" y="26"/>
                          <a:pt x="23" y="24"/>
                          <a:pt x="19" y="25"/>
                        </a:cubicBezTo>
                        <a:cubicBezTo>
                          <a:pt x="18" y="26"/>
                          <a:pt x="17" y="24"/>
                          <a:pt x="16" y="22"/>
                        </a:cubicBezTo>
                        <a:cubicBezTo>
                          <a:pt x="15" y="23"/>
                          <a:pt x="2" y="28"/>
                          <a:pt x="1" y="28"/>
                        </a:cubicBezTo>
                        <a:cubicBezTo>
                          <a:pt x="0" y="28"/>
                          <a:pt x="1" y="31"/>
                          <a:pt x="2" y="32"/>
                        </a:cubicBezTo>
                        <a:cubicBezTo>
                          <a:pt x="1" y="37"/>
                          <a:pt x="5" y="33"/>
                          <a:pt x="8" y="36"/>
                        </a:cubicBezTo>
                        <a:cubicBezTo>
                          <a:pt x="11" y="38"/>
                          <a:pt x="12" y="37"/>
                          <a:pt x="14" y="39"/>
                        </a:cubicBezTo>
                        <a:cubicBezTo>
                          <a:pt x="16" y="40"/>
                          <a:pt x="14" y="40"/>
                          <a:pt x="15" y="43"/>
                        </a:cubicBezTo>
                        <a:cubicBezTo>
                          <a:pt x="16" y="45"/>
                          <a:pt x="15" y="53"/>
                          <a:pt x="14" y="53"/>
                        </a:cubicBezTo>
                        <a:cubicBezTo>
                          <a:pt x="13" y="53"/>
                          <a:pt x="15" y="54"/>
                          <a:pt x="14" y="56"/>
                        </a:cubicBezTo>
                        <a:cubicBezTo>
                          <a:pt x="13" y="59"/>
                          <a:pt x="17" y="58"/>
                          <a:pt x="15" y="62"/>
                        </a:cubicBezTo>
                        <a:cubicBezTo>
                          <a:pt x="11" y="67"/>
                          <a:pt x="13" y="68"/>
                          <a:pt x="11" y="70"/>
                        </a:cubicBezTo>
                        <a:cubicBezTo>
                          <a:pt x="10" y="72"/>
                          <a:pt x="6" y="76"/>
                          <a:pt x="6" y="76"/>
                        </a:cubicBezTo>
                        <a:cubicBezTo>
                          <a:pt x="8" y="81"/>
                          <a:pt x="11" y="94"/>
                          <a:pt x="10" y="100"/>
                        </a:cubicBezTo>
                        <a:lnTo>
                          <a:pt x="11" y="105"/>
                        </a:ln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3" name="Freeform 20175">
                    <a:extLst>
                      <a:ext uri="{FF2B5EF4-FFF2-40B4-BE49-F238E27FC236}">
                        <a16:creationId xmlns:a16="http://schemas.microsoft.com/office/drawing/2014/main" id="{F6FB0A5A-199C-3C41-95D5-8959EE7CFD81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523910" y="4737442"/>
                    <a:ext cx="324398" cy="366380"/>
                  </a:xfrm>
                  <a:custGeom>
                    <a:avLst/>
                    <a:gdLst/>
                    <a:ahLst/>
                    <a:cxnLst>
                      <a:cxn ang="0">
                        <a:pos x="1" y="4"/>
                      </a:cxn>
                      <a:cxn ang="0">
                        <a:pos x="10" y="27"/>
                      </a:cxn>
                      <a:cxn ang="0">
                        <a:pos x="15" y="44"/>
                      </a:cxn>
                      <a:cxn ang="0">
                        <a:pos x="19" y="65"/>
                      </a:cxn>
                      <a:cxn ang="0">
                        <a:pos x="26" y="78"/>
                      </a:cxn>
                      <a:cxn ang="0">
                        <a:pos x="30" y="75"/>
                      </a:cxn>
                      <a:cxn ang="0">
                        <a:pos x="33" y="80"/>
                      </a:cxn>
                      <a:cxn ang="0">
                        <a:pos x="39" y="80"/>
                      </a:cxn>
                      <a:cxn ang="0">
                        <a:pos x="45" y="77"/>
                      </a:cxn>
                      <a:cxn ang="0">
                        <a:pos x="45" y="53"/>
                      </a:cxn>
                      <a:cxn ang="0">
                        <a:pos x="45" y="35"/>
                      </a:cxn>
                      <a:cxn ang="0">
                        <a:pos x="50" y="35"/>
                      </a:cxn>
                      <a:cxn ang="0">
                        <a:pos x="50" y="11"/>
                      </a:cxn>
                      <a:cxn ang="0">
                        <a:pos x="57" y="9"/>
                      </a:cxn>
                      <a:cxn ang="0">
                        <a:pos x="63" y="10"/>
                      </a:cxn>
                      <a:cxn ang="0">
                        <a:pos x="67" y="9"/>
                      </a:cxn>
                      <a:cxn ang="0">
                        <a:pos x="72" y="7"/>
                      </a:cxn>
                      <a:cxn ang="0">
                        <a:pos x="62" y="6"/>
                      </a:cxn>
                      <a:cxn ang="0">
                        <a:pos x="52" y="9"/>
                      </a:cxn>
                      <a:cxn ang="0">
                        <a:pos x="50" y="8"/>
                      </a:cxn>
                      <a:cxn ang="0">
                        <a:pos x="47" y="8"/>
                      </a:cxn>
                      <a:cxn ang="0">
                        <a:pos x="38" y="6"/>
                      </a:cxn>
                      <a:cxn ang="0">
                        <a:pos x="33" y="5"/>
                      </a:cxn>
                      <a:cxn ang="0">
                        <a:pos x="14" y="5"/>
                      </a:cxn>
                      <a:cxn ang="0">
                        <a:pos x="8" y="2"/>
                      </a:cxn>
                      <a:cxn ang="0">
                        <a:pos x="1" y="4"/>
                      </a:cxn>
                    </a:cxnLst>
                    <a:rect l="0" t="0" r="r" b="b"/>
                    <a:pathLst>
                      <a:path w="72" h="81">
                        <a:moveTo>
                          <a:pt x="1" y="4"/>
                        </a:moveTo>
                        <a:cubicBezTo>
                          <a:pt x="0" y="10"/>
                          <a:pt x="7" y="16"/>
                          <a:pt x="10" y="27"/>
                        </a:cubicBezTo>
                        <a:cubicBezTo>
                          <a:pt x="12" y="37"/>
                          <a:pt x="17" y="32"/>
                          <a:pt x="15" y="44"/>
                        </a:cubicBezTo>
                        <a:cubicBezTo>
                          <a:pt x="15" y="49"/>
                          <a:pt x="18" y="58"/>
                          <a:pt x="19" y="65"/>
                        </a:cubicBezTo>
                        <a:cubicBezTo>
                          <a:pt x="19" y="73"/>
                          <a:pt x="24" y="76"/>
                          <a:pt x="26" y="78"/>
                        </a:cubicBezTo>
                        <a:cubicBezTo>
                          <a:pt x="29" y="77"/>
                          <a:pt x="28" y="73"/>
                          <a:pt x="30" y="75"/>
                        </a:cubicBezTo>
                        <a:cubicBezTo>
                          <a:pt x="32" y="77"/>
                          <a:pt x="29" y="78"/>
                          <a:pt x="33" y="80"/>
                        </a:cubicBezTo>
                        <a:cubicBezTo>
                          <a:pt x="36" y="81"/>
                          <a:pt x="38" y="79"/>
                          <a:pt x="39" y="80"/>
                        </a:cubicBezTo>
                        <a:cubicBezTo>
                          <a:pt x="40" y="81"/>
                          <a:pt x="42" y="78"/>
                          <a:pt x="45" y="77"/>
                        </a:cubicBezTo>
                        <a:cubicBezTo>
                          <a:pt x="45" y="53"/>
                          <a:pt x="45" y="53"/>
                          <a:pt x="45" y="53"/>
                        </a:cubicBezTo>
                        <a:cubicBezTo>
                          <a:pt x="45" y="35"/>
                          <a:pt x="45" y="35"/>
                          <a:pt x="45" y="35"/>
                        </a:cubicBezTo>
                        <a:cubicBezTo>
                          <a:pt x="50" y="35"/>
                          <a:pt x="50" y="35"/>
                          <a:pt x="50" y="35"/>
                        </a:cubicBezTo>
                        <a:cubicBezTo>
                          <a:pt x="50" y="11"/>
                          <a:pt x="50" y="11"/>
                          <a:pt x="50" y="11"/>
                        </a:cubicBezTo>
                        <a:cubicBezTo>
                          <a:pt x="50" y="11"/>
                          <a:pt x="53" y="10"/>
                          <a:pt x="57" y="9"/>
                        </a:cubicBezTo>
                        <a:cubicBezTo>
                          <a:pt x="61" y="9"/>
                          <a:pt x="62" y="8"/>
                          <a:pt x="63" y="10"/>
                        </a:cubicBezTo>
                        <a:cubicBezTo>
                          <a:pt x="64" y="13"/>
                          <a:pt x="65" y="9"/>
                          <a:pt x="67" y="9"/>
                        </a:cubicBezTo>
                        <a:cubicBezTo>
                          <a:pt x="69" y="9"/>
                          <a:pt x="69" y="8"/>
                          <a:pt x="72" y="7"/>
                        </a:cubicBezTo>
                        <a:cubicBezTo>
                          <a:pt x="70" y="4"/>
                          <a:pt x="67" y="5"/>
                          <a:pt x="62" y="6"/>
                        </a:cubicBezTo>
                        <a:cubicBezTo>
                          <a:pt x="62" y="6"/>
                          <a:pt x="54" y="8"/>
                          <a:pt x="52" y="9"/>
                        </a:cubicBezTo>
                        <a:cubicBezTo>
                          <a:pt x="51" y="9"/>
                          <a:pt x="50" y="7"/>
                          <a:pt x="50" y="8"/>
                        </a:cubicBezTo>
                        <a:cubicBezTo>
                          <a:pt x="49" y="9"/>
                          <a:pt x="49" y="9"/>
                          <a:pt x="47" y="8"/>
                        </a:cubicBezTo>
                        <a:cubicBezTo>
                          <a:pt x="45" y="7"/>
                          <a:pt x="39" y="10"/>
                          <a:pt x="38" y="6"/>
                        </a:cubicBezTo>
                        <a:cubicBezTo>
                          <a:pt x="37" y="4"/>
                          <a:pt x="36" y="5"/>
                          <a:pt x="33" y="5"/>
                        </a:cubicBezTo>
                        <a:cubicBezTo>
                          <a:pt x="30" y="5"/>
                          <a:pt x="17" y="5"/>
                          <a:pt x="14" y="5"/>
                        </a:cubicBezTo>
                        <a:cubicBezTo>
                          <a:pt x="11" y="5"/>
                          <a:pt x="12" y="0"/>
                          <a:pt x="8" y="2"/>
                        </a:cubicBezTo>
                        <a:cubicBezTo>
                          <a:pt x="5" y="4"/>
                          <a:pt x="5" y="4"/>
                          <a:pt x="1" y="4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4" name="Freeform 20176">
                    <a:extLst>
                      <a:ext uri="{FF2B5EF4-FFF2-40B4-BE49-F238E27FC236}">
                        <a16:creationId xmlns:a16="http://schemas.microsoft.com/office/drawing/2014/main" id="{448CE30D-10FF-8840-9AF1-5E33DE555795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726182" y="4769885"/>
                    <a:ext cx="217538" cy="274784"/>
                  </a:xfrm>
                  <a:custGeom>
                    <a:avLst/>
                    <a:gdLst/>
                    <a:ahLst/>
                    <a:cxnLst>
                      <a:cxn ang="0">
                        <a:pos x="27" y="0"/>
                      </a:cxn>
                      <a:cxn ang="0">
                        <a:pos x="22" y="2"/>
                      </a:cxn>
                      <a:cxn ang="0">
                        <a:pos x="18" y="3"/>
                      </a:cxn>
                      <a:cxn ang="0">
                        <a:pos x="12" y="2"/>
                      </a:cxn>
                      <a:cxn ang="0">
                        <a:pos x="5" y="4"/>
                      </a:cxn>
                      <a:cxn ang="0">
                        <a:pos x="5" y="28"/>
                      </a:cxn>
                      <a:cxn ang="0">
                        <a:pos x="0" y="28"/>
                      </a:cxn>
                      <a:cxn ang="0">
                        <a:pos x="0" y="46"/>
                      </a:cxn>
                      <a:cxn ang="0">
                        <a:pos x="3" y="56"/>
                      </a:cxn>
                      <a:cxn ang="0">
                        <a:pos x="4" y="60"/>
                      </a:cxn>
                      <a:cxn ang="0">
                        <a:pos x="11" y="57"/>
                      </a:cxn>
                      <a:cxn ang="0">
                        <a:pos x="20" y="51"/>
                      </a:cxn>
                      <a:cxn ang="0">
                        <a:pos x="30" y="48"/>
                      </a:cxn>
                      <a:cxn ang="0">
                        <a:pos x="36" y="40"/>
                      </a:cxn>
                      <a:cxn ang="0">
                        <a:pos x="41" y="34"/>
                      </a:cxn>
                      <a:cxn ang="0">
                        <a:pos x="48" y="29"/>
                      </a:cxn>
                      <a:cxn ang="0">
                        <a:pos x="43" y="25"/>
                      </a:cxn>
                      <a:cxn ang="0">
                        <a:pos x="40" y="19"/>
                      </a:cxn>
                      <a:cxn ang="0">
                        <a:pos x="38" y="16"/>
                      </a:cxn>
                      <a:cxn ang="0">
                        <a:pos x="31" y="10"/>
                      </a:cxn>
                      <a:cxn ang="0">
                        <a:pos x="27" y="0"/>
                      </a:cxn>
                    </a:cxnLst>
                    <a:rect l="0" t="0" r="r" b="b"/>
                    <a:pathLst>
                      <a:path w="48" h="61">
                        <a:moveTo>
                          <a:pt x="27" y="0"/>
                        </a:moveTo>
                        <a:cubicBezTo>
                          <a:pt x="24" y="1"/>
                          <a:pt x="24" y="2"/>
                          <a:pt x="22" y="2"/>
                        </a:cubicBezTo>
                        <a:cubicBezTo>
                          <a:pt x="20" y="2"/>
                          <a:pt x="19" y="6"/>
                          <a:pt x="18" y="3"/>
                        </a:cubicBezTo>
                        <a:cubicBezTo>
                          <a:pt x="17" y="1"/>
                          <a:pt x="16" y="2"/>
                          <a:pt x="12" y="2"/>
                        </a:cubicBezTo>
                        <a:cubicBezTo>
                          <a:pt x="8" y="3"/>
                          <a:pt x="5" y="4"/>
                          <a:pt x="5" y="4"/>
                        </a:cubicBez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0" y="28"/>
                          <a:pt x="0" y="28"/>
                          <a:pt x="0" y="28"/>
                        </a:cubicBezTo>
                        <a:cubicBezTo>
                          <a:pt x="0" y="46"/>
                          <a:pt x="0" y="46"/>
                          <a:pt x="0" y="46"/>
                        </a:cubicBezTo>
                        <a:cubicBezTo>
                          <a:pt x="2" y="48"/>
                          <a:pt x="4" y="54"/>
                          <a:pt x="3" y="56"/>
                        </a:cubicBezTo>
                        <a:cubicBezTo>
                          <a:pt x="2" y="57"/>
                          <a:pt x="2" y="60"/>
                          <a:pt x="4" y="60"/>
                        </a:cubicBezTo>
                        <a:cubicBezTo>
                          <a:pt x="6" y="59"/>
                          <a:pt x="7" y="61"/>
                          <a:pt x="11" y="57"/>
                        </a:cubicBezTo>
                        <a:cubicBezTo>
                          <a:pt x="14" y="53"/>
                          <a:pt x="13" y="46"/>
                          <a:pt x="20" y="51"/>
                        </a:cubicBezTo>
                        <a:cubicBezTo>
                          <a:pt x="27" y="55"/>
                          <a:pt x="28" y="51"/>
                          <a:pt x="30" y="48"/>
                        </a:cubicBezTo>
                        <a:cubicBezTo>
                          <a:pt x="31" y="44"/>
                          <a:pt x="35" y="45"/>
                          <a:pt x="36" y="40"/>
                        </a:cubicBezTo>
                        <a:cubicBezTo>
                          <a:pt x="37" y="36"/>
                          <a:pt x="40" y="37"/>
                          <a:pt x="41" y="34"/>
                        </a:cubicBezTo>
                        <a:cubicBezTo>
                          <a:pt x="42" y="31"/>
                          <a:pt x="45" y="32"/>
                          <a:pt x="48" y="29"/>
                        </a:cubicBezTo>
                        <a:cubicBezTo>
                          <a:pt x="47" y="26"/>
                          <a:pt x="46" y="26"/>
                          <a:pt x="43" y="25"/>
                        </a:cubicBezTo>
                        <a:cubicBezTo>
                          <a:pt x="41" y="24"/>
                          <a:pt x="39" y="22"/>
                          <a:pt x="40" y="19"/>
                        </a:cubicBezTo>
                        <a:cubicBezTo>
                          <a:pt x="40" y="16"/>
                          <a:pt x="38" y="19"/>
                          <a:pt x="38" y="16"/>
                        </a:cubicBezTo>
                        <a:cubicBezTo>
                          <a:pt x="38" y="14"/>
                          <a:pt x="32" y="14"/>
                          <a:pt x="31" y="10"/>
                        </a:cubicBezTo>
                        <a:cubicBezTo>
                          <a:pt x="30" y="7"/>
                          <a:pt x="28" y="5"/>
                          <a:pt x="27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5" name="Freeform 20177">
                    <a:extLst>
                      <a:ext uri="{FF2B5EF4-FFF2-40B4-BE49-F238E27FC236}">
                        <a16:creationId xmlns:a16="http://schemas.microsoft.com/office/drawing/2014/main" id="{B0CF1ED3-FFCF-194D-BE39-34A45D8E5450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848308" y="4706912"/>
                    <a:ext cx="190823" cy="198455"/>
                  </a:xfrm>
                  <a:custGeom>
                    <a:avLst/>
                    <a:gdLst/>
                    <a:ahLst/>
                    <a:cxnLst>
                      <a:cxn ang="0">
                        <a:pos x="0" y="14"/>
                      </a:cxn>
                      <a:cxn ang="0">
                        <a:pos x="4" y="24"/>
                      </a:cxn>
                      <a:cxn ang="0">
                        <a:pos x="11" y="30"/>
                      </a:cxn>
                      <a:cxn ang="0">
                        <a:pos x="13" y="33"/>
                      </a:cxn>
                      <a:cxn ang="0">
                        <a:pos x="16" y="39"/>
                      </a:cxn>
                      <a:cxn ang="0">
                        <a:pos x="21" y="43"/>
                      </a:cxn>
                      <a:cxn ang="0">
                        <a:pos x="28" y="44"/>
                      </a:cxn>
                      <a:cxn ang="0">
                        <a:pos x="31" y="44"/>
                      </a:cxn>
                      <a:cxn ang="0">
                        <a:pos x="36" y="38"/>
                      </a:cxn>
                      <a:cxn ang="0">
                        <a:pos x="40" y="30"/>
                      </a:cxn>
                      <a:cxn ang="0">
                        <a:pos x="39" y="24"/>
                      </a:cxn>
                      <a:cxn ang="0">
                        <a:pos x="39" y="21"/>
                      </a:cxn>
                      <a:cxn ang="0">
                        <a:pos x="40" y="11"/>
                      </a:cxn>
                      <a:cxn ang="0">
                        <a:pos x="39" y="7"/>
                      </a:cxn>
                      <a:cxn ang="0">
                        <a:pos x="33" y="4"/>
                      </a:cxn>
                      <a:cxn ang="0">
                        <a:pos x="27" y="0"/>
                      </a:cxn>
                      <a:cxn ang="0">
                        <a:pos x="20" y="2"/>
                      </a:cxn>
                      <a:cxn ang="0">
                        <a:pos x="17" y="7"/>
                      </a:cxn>
                      <a:cxn ang="0">
                        <a:pos x="9" y="15"/>
                      </a:cxn>
                      <a:cxn ang="0">
                        <a:pos x="4" y="15"/>
                      </a:cxn>
                      <a:cxn ang="0">
                        <a:pos x="0" y="14"/>
                      </a:cxn>
                    </a:cxnLst>
                    <a:rect l="0" t="0" r="r" b="b"/>
                    <a:pathLst>
                      <a:path w="42" h="44">
                        <a:moveTo>
                          <a:pt x="0" y="14"/>
                        </a:moveTo>
                        <a:cubicBezTo>
                          <a:pt x="1" y="19"/>
                          <a:pt x="3" y="21"/>
                          <a:pt x="4" y="24"/>
                        </a:cubicBezTo>
                        <a:cubicBezTo>
                          <a:pt x="5" y="28"/>
                          <a:pt x="11" y="28"/>
                          <a:pt x="11" y="30"/>
                        </a:cubicBezTo>
                        <a:cubicBezTo>
                          <a:pt x="11" y="33"/>
                          <a:pt x="13" y="30"/>
                          <a:pt x="13" y="33"/>
                        </a:cubicBezTo>
                        <a:cubicBezTo>
                          <a:pt x="12" y="36"/>
                          <a:pt x="14" y="38"/>
                          <a:pt x="16" y="39"/>
                        </a:cubicBezTo>
                        <a:cubicBezTo>
                          <a:pt x="19" y="40"/>
                          <a:pt x="20" y="40"/>
                          <a:pt x="21" y="43"/>
                        </a:cubicBezTo>
                        <a:cubicBezTo>
                          <a:pt x="24" y="42"/>
                          <a:pt x="26" y="44"/>
                          <a:pt x="28" y="44"/>
                        </a:cubicBezTo>
                        <a:cubicBezTo>
                          <a:pt x="29" y="43"/>
                          <a:pt x="30" y="44"/>
                          <a:pt x="31" y="44"/>
                        </a:cubicBezTo>
                        <a:cubicBezTo>
                          <a:pt x="31" y="44"/>
                          <a:pt x="35" y="40"/>
                          <a:pt x="36" y="38"/>
                        </a:cubicBezTo>
                        <a:cubicBezTo>
                          <a:pt x="38" y="36"/>
                          <a:pt x="36" y="35"/>
                          <a:pt x="40" y="30"/>
                        </a:cubicBezTo>
                        <a:cubicBezTo>
                          <a:pt x="42" y="26"/>
                          <a:pt x="38" y="27"/>
                          <a:pt x="39" y="24"/>
                        </a:cubicBezTo>
                        <a:cubicBezTo>
                          <a:pt x="40" y="22"/>
                          <a:pt x="38" y="21"/>
                          <a:pt x="39" y="21"/>
                        </a:cubicBezTo>
                        <a:cubicBezTo>
                          <a:pt x="40" y="21"/>
                          <a:pt x="41" y="13"/>
                          <a:pt x="40" y="11"/>
                        </a:cubicBezTo>
                        <a:cubicBezTo>
                          <a:pt x="39" y="8"/>
                          <a:pt x="41" y="8"/>
                          <a:pt x="39" y="7"/>
                        </a:cubicBezTo>
                        <a:cubicBezTo>
                          <a:pt x="37" y="5"/>
                          <a:pt x="36" y="6"/>
                          <a:pt x="33" y="4"/>
                        </a:cubicBezTo>
                        <a:cubicBezTo>
                          <a:pt x="30" y="1"/>
                          <a:pt x="26" y="5"/>
                          <a:pt x="27" y="0"/>
                        </a:cubicBezTo>
                        <a:cubicBezTo>
                          <a:pt x="25" y="1"/>
                          <a:pt x="23" y="0"/>
                          <a:pt x="20" y="2"/>
                        </a:cubicBezTo>
                        <a:cubicBezTo>
                          <a:pt x="17" y="4"/>
                          <a:pt x="20" y="6"/>
                          <a:pt x="17" y="7"/>
                        </a:cubicBezTo>
                        <a:cubicBezTo>
                          <a:pt x="13" y="9"/>
                          <a:pt x="11" y="12"/>
                          <a:pt x="9" y="15"/>
                        </a:cubicBezTo>
                        <a:cubicBezTo>
                          <a:pt x="7" y="18"/>
                          <a:pt x="6" y="14"/>
                          <a:pt x="4" y="15"/>
                        </a:cubicBezTo>
                        <a:cubicBezTo>
                          <a:pt x="3" y="16"/>
                          <a:pt x="3" y="14"/>
                          <a:pt x="0" y="14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6" name="Freeform 20178">
                    <a:extLst>
                      <a:ext uri="{FF2B5EF4-FFF2-40B4-BE49-F238E27FC236}">
                        <a16:creationId xmlns:a16="http://schemas.microsoft.com/office/drawing/2014/main" id="{05CCC67B-4E23-834F-BA95-02BEACE6283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642221" y="4895828"/>
                    <a:ext cx="387371" cy="389279"/>
                  </a:xfrm>
                  <a:custGeom>
                    <a:avLst/>
                    <a:gdLst/>
                    <a:ahLst/>
                    <a:cxnLst>
                      <a:cxn ang="0">
                        <a:pos x="67" y="1"/>
                      </a:cxn>
                      <a:cxn ang="0">
                        <a:pos x="74" y="2"/>
                      </a:cxn>
                      <a:cxn ang="0">
                        <a:pos x="77" y="2"/>
                      </a:cxn>
                      <a:cxn ang="0">
                        <a:pos x="81" y="26"/>
                      </a:cxn>
                      <a:cxn ang="0">
                        <a:pos x="75" y="28"/>
                      </a:cxn>
                      <a:cxn ang="0">
                        <a:pos x="80" y="35"/>
                      </a:cxn>
                      <a:cxn ang="0">
                        <a:pos x="82" y="31"/>
                      </a:cxn>
                      <a:cxn ang="0">
                        <a:pos x="86" y="31"/>
                      </a:cxn>
                      <a:cxn ang="0">
                        <a:pos x="76" y="52"/>
                      </a:cxn>
                      <a:cxn ang="0">
                        <a:pos x="67" y="65"/>
                      </a:cxn>
                      <a:cxn ang="0">
                        <a:pos x="55" y="77"/>
                      </a:cxn>
                      <a:cxn ang="0">
                        <a:pos x="48" y="79"/>
                      </a:cxn>
                      <a:cxn ang="0">
                        <a:pos x="44" y="80"/>
                      </a:cxn>
                      <a:cxn ang="0">
                        <a:pos x="37" y="80"/>
                      </a:cxn>
                      <a:cxn ang="0">
                        <a:pos x="31" y="80"/>
                      </a:cxn>
                      <a:cxn ang="0">
                        <a:pos x="27" y="82"/>
                      </a:cxn>
                      <a:cxn ang="0">
                        <a:pos x="22" y="83"/>
                      </a:cxn>
                      <a:cxn ang="0">
                        <a:pos x="19" y="85"/>
                      </a:cxn>
                      <a:cxn ang="0">
                        <a:pos x="16" y="85"/>
                      </a:cxn>
                      <a:cxn ang="0">
                        <a:pos x="15" y="83"/>
                      </a:cxn>
                      <a:cxn ang="0">
                        <a:pos x="13" y="81"/>
                      </a:cxn>
                      <a:cxn ang="0">
                        <a:pos x="11" y="81"/>
                      </a:cxn>
                      <a:cxn ang="0">
                        <a:pos x="10" y="79"/>
                      </a:cxn>
                      <a:cxn ang="0">
                        <a:pos x="8" y="75"/>
                      </a:cxn>
                      <a:cxn ang="0">
                        <a:pos x="8" y="71"/>
                      </a:cxn>
                      <a:cxn ang="0">
                        <a:pos x="7" y="61"/>
                      </a:cxn>
                      <a:cxn ang="0">
                        <a:pos x="0" y="43"/>
                      </a:cxn>
                      <a:cxn ang="0">
                        <a:pos x="4" y="40"/>
                      </a:cxn>
                      <a:cxn ang="0">
                        <a:pos x="7" y="45"/>
                      </a:cxn>
                      <a:cxn ang="0">
                        <a:pos x="13" y="45"/>
                      </a:cxn>
                      <a:cxn ang="0">
                        <a:pos x="19" y="42"/>
                      </a:cxn>
                      <a:cxn ang="0">
                        <a:pos x="19" y="18"/>
                      </a:cxn>
                      <a:cxn ang="0">
                        <a:pos x="22" y="28"/>
                      </a:cxn>
                      <a:cxn ang="0">
                        <a:pos x="23" y="32"/>
                      </a:cxn>
                      <a:cxn ang="0">
                        <a:pos x="30" y="29"/>
                      </a:cxn>
                      <a:cxn ang="0">
                        <a:pos x="39" y="23"/>
                      </a:cxn>
                      <a:cxn ang="0">
                        <a:pos x="49" y="20"/>
                      </a:cxn>
                      <a:cxn ang="0">
                        <a:pos x="55" y="12"/>
                      </a:cxn>
                      <a:cxn ang="0">
                        <a:pos x="60" y="6"/>
                      </a:cxn>
                      <a:cxn ang="0">
                        <a:pos x="67" y="1"/>
                      </a:cxn>
                    </a:cxnLst>
                    <a:rect l="0" t="0" r="r" b="b"/>
                    <a:pathLst>
                      <a:path w="86" h="86">
                        <a:moveTo>
                          <a:pt x="67" y="1"/>
                        </a:moveTo>
                        <a:cubicBezTo>
                          <a:pt x="70" y="0"/>
                          <a:pt x="72" y="2"/>
                          <a:pt x="74" y="2"/>
                        </a:cubicBezTo>
                        <a:cubicBezTo>
                          <a:pt x="75" y="1"/>
                          <a:pt x="76" y="2"/>
                          <a:pt x="77" y="2"/>
                        </a:cubicBezTo>
                        <a:cubicBezTo>
                          <a:pt x="79" y="7"/>
                          <a:pt x="82" y="20"/>
                          <a:pt x="81" y="26"/>
                        </a:cubicBezTo>
                        <a:cubicBezTo>
                          <a:pt x="77" y="23"/>
                          <a:pt x="76" y="25"/>
                          <a:pt x="75" y="28"/>
                        </a:cubicBezTo>
                        <a:cubicBezTo>
                          <a:pt x="74" y="32"/>
                          <a:pt x="78" y="35"/>
                          <a:pt x="80" y="35"/>
                        </a:cubicBezTo>
                        <a:cubicBezTo>
                          <a:pt x="82" y="35"/>
                          <a:pt x="80" y="31"/>
                          <a:pt x="82" y="31"/>
                        </a:cubicBezTo>
                        <a:cubicBezTo>
                          <a:pt x="86" y="31"/>
                          <a:pt x="86" y="31"/>
                          <a:pt x="86" y="31"/>
                        </a:cubicBezTo>
                        <a:cubicBezTo>
                          <a:pt x="84" y="48"/>
                          <a:pt x="81" y="40"/>
                          <a:pt x="76" y="52"/>
                        </a:cubicBezTo>
                        <a:cubicBezTo>
                          <a:pt x="71" y="63"/>
                          <a:pt x="69" y="61"/>
                          <a:pt x="67" y="65"/>
                        </a:cubicBezTo>
                        <a:cubicBezTo>
                          <a:pt x="62" y="72"/>
                          <a:pt x="57" y="75"/>
                          <a:pt x="55" y="77"/>
                        </a:cubicBezTo>
                        <a:cubicBezTo>
                          <a:pt x="52" y="79"/>
                          <a:pt x="48" y="77"/>
                          <a:pt x="48" y="79"/>
                        </a:cubicBezTo>
                        <a:cubicBezTo>
                          <a:pt x="49" y="81"/>
                          <a:pt x="45" y="78"/>
                          <a:pt x="44" y="80"/>
                        </a:cubicBezTo>
                        <a:cubicBezTo>
                          <a:pt x="42" y="83"/>
                          <a:pt x="38" y="79"/>
                          <a:pt x="37" y="80"/>
                        </a:cubicBezTo>
                        <a:cubicBezTo>
                          <a:pt x="35" y="81"/>
                          <a:pt x="33" y="79"/>
                          <a:pt x="31" y="80"/>
                        </a:cubicBezTo>
                        <a:cubicBezTo>
                          <a:pt x="29" y="80"/>
                          <a:pt x="30" y="81"/>
                          <a:pt x="27" y="82"/>
                        </a:cubicBezTo>
                        <a:cubicBezTo>
                          <a:pt x="24" y="83"/>
                          <a:pt x="25" y="82"/>
                          <a:pt x="22" y="83"/>
                        </a:cubicBezTo>
                        <a:cubicBezTo>
                          <a:pt x="19" y="83"/>
                          <a:pt x="20" y="86"/>
                          <a:pt x="19" y="85"/>
                        </a:cubicBezTo>
                        <a:cubicBezTo>
                          <a:pt x="18" y="85"/>
                          <a:pt x="17" y="86"/>
                          <a:pt x="16" y="85"/>
                        </a:cubicBezTo>
                        <a:cubicBezTo>
                          <a:pt x="16" y="84"/>
                          <a:pt x="15" y="85"/>
                          <a:pt x="15" y="83"/>
                        </a:cubicBezTo>
                        <a:cubicBezTo>
                          <a:pt x="15" y="81"/>
                          <a:pt x="13" y="84"/>
                          <a:pt x="13" y="81"/>
                        </a:cubicBezTo>
                        <a:cubicBezTo>
                          <a:pt x="13" y="80"/>
                          <a:pt x="11" y="80"/>
                          <a:pt x="11" y="81"/>
                        </a:cubicBezTo>
                        <a:cubicBezTo>
                          <a:pt x="10" y="83"/>
                          <a:pt x="9" y="80"/>
                          <a:pt x="10" y="79"/>
                        </a:cubicBezTo>
                        <a:cubicBezTo>
                          <a:pt x="11" y="78"/>
                          <a:pt x="10" y="77"/>
                          <a:pt x="8" y="75"/>
                        </a:cubicBezTo>
                        <a:cubicBezTo>
                          <a:pt x="6" y="72"/>
                          <a:pt x="7" y="70"/>
                          <a:pt x="8" y="71"/>
                        </a:cubicBezTo>
                        <a:cubicBezTo>
                          <a:pt x="9" y="72"/>
                          <a:pt x="12" y="68"/>
                          <a:pt x="7" y="61"/>
                        </a:cubicBezTo>
                        <a:cubicBezTo>
                          <a:pt x="2" y="52"/>
                          <a:pt x="4" y="48"/>
                          <a:pt x="0" y="43"/>
                        </a:cubicBezTo>
                        <a:cubicBezTo>
                          <a:pt x="3" y="42"/>
                          <a:pt x="2" y="38"/>
                          <a:pt x="4" y="40"/>
                        </a:cubicBezTo>
                        <a:cubicBezTo>
                          <a:pt x="6" y="42"/>
                          <a:pt x="3" y="43"/>
                          <a:pt x="7" y="45"/>
                        </a:cubicBezTo>
                        <a:cubicBezTo>
                          <a:pt x="10" y="46"/>
                          <a:pt x="12" y="44"/>
                          <a:pt x="13" y="45"/>
                        </a:cubicBezTo>
                        <a:cubicBezTo>
                          <a:pt x="14" y="46"/>
                          <a:pt x="16" y="43"/>
                          <a:pt x="19" y="42"/>
                        </a:cubicBezTo>
                        <a:cubicBezTo>
                          <a:pt x="19" y="18"/>
                          <a:pt x="19" y="18"/>
                          <a:pt x="19" y="18"/>
                        </a:cubicBezTo>
                        <a:cubicBezTo>
                          <a:pt x="21" y="20"/>
                          <a:pt x="23" y="26"/>
                          <a:pt x="22" y="28"/>
                        </a:cubicBezTo>
                        <a:cubicBezTo>
                          <a:pt x="21" y="29"/>
                          <a:pt x="21" y="32"/>
                          <a:pt x="23" y="32"/>
                        </a:cubicBezTo>
                        <a:cubicBezTo>
                          <a:pt x="25" y="31"/>
                          <a:pt x="26" y="33"/>
                          <a:pt x="30" y="29"/>
                        </a:cubicBezTo>
                        <a:cubicBezTo>
                          <a:pt x="33" y="25"/>
                          <a:pt x="32" y="18"/>
                          <a:pt x="39" y="23"/>
                        </a:cubicBezTo>
                        <a:cubicBezTo>
                          <a:pt x="46" y="27"/>
                          <a:pt x="47" y="23"/>
                          <a:pt x="49" y="20"/>
                        </a:cubicBezTo>
                        <a:cubicBezTo>
                          <a:pt x="50" y="16"/>
                          <a:pt x="54" y="17"/>
                          <a:pt x="55" y="12"/>
                        </a:cubicBezTo>
                        <a:cubicBezTo>
                          <a:pt x="56" y="8"/>
                          <a:pt x="59" y="9"/>
                          <a:pt x="60" y="6"/>
                        </a:cubicBezTo>
                        <a:cubicBezTo>
                          <a:pt x="61" y="3"/>
                          <a:pt x="64" y="4"/>
                          <a:pt x="67" y="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7" name="Freeform 20179">
                    <a:extLst>
                      <a:ext uri="{FF2B5EF4-FFF2-40B4-BE49-F238E27FC236}">
                        <a16:creationId xmlns:a16="http://schemas.microsoft.com/office/drawing/2014/main" id="{D710D068-F537-7147-8301-C0CF9107CCE4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884565" y="5080924"/>
                    <a:ext cx="68696" cy="78237"/>
                  </a:xfrm>
                  <a:custGeom>
                    <a:avLst/>
                    <a:gdLst/>
                    <a:ahLst/>
                    <a:cxnLst>
                      <a:cxn ang="0">
                        <a:pos x="5" y="16"/>
                      </a:cxn>
                      <a:cxn ang="0">
                        <a:pos x="2" y="8"/>
                      </a:cxn>
                      <a:cxn ang="0">
                        <a:pos x="10" y="2"/>
                      </a:cxn>
                      <a:cxn ang="0">
                        <a:pos x="13" y="9"/>
                      </a:cxn>
                      <a:cxn ang="0">
                        <a:pos x="7" y="14"/>
                      </a:cxn>
                      <a:cxn ang="0">
                        <a:pos x="5" y="16"/>
                      </a:cxn>
                    </a:cxnLst>
                    <a:rect l="0" t="0" r="r" b="b"/>
                    <a:pathLst>
                      <a:path w="15" h="17">
                        <a:moveTo>
                          <a:pt x="5" y="16"/>
                        </a:moveTo>
                        <a:cubicBezTo>
                          <a:pt x="3" y="13"/>
                          <a:pt x="0" y="11"/>
                          <a:pt x="2" y="8"/>
                        </a:cubicBezTo>
                        <a:cubicBezTo>
                          <a:pt x="4" y="5"/>
                          <a:pt x="9" y="0"/>
                          <a:pt x="10" y="2"/>
                        </a:cubicBezTo>
                        <a:cubicBezTo>
                          <a:pt x="12" y="4"/>
                          <a:pt x="15" y="5"/>
                          <a:pt x="13" y="9"/>
                        </a:cubicBezTo>
                        <a:cubicBezTo>
                          <a:pt x="12" y="12"/>
                          <a:pt x="8" y="12"/>
                          <a:pt x="7" y="14"/>
                        </a:cubicBezTo>
                        <a:cubicBezTo>
                          <a:pt x="6" y="16"/>
                          <a:pt x="6" y="17"/>
                          <a:pt x="5" y="16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8" name="Freeform 20180">
                    <a:extLst>
                      <a:ext uri="{FF2B5EF4-FFF2-40B4-BE49-F238E27FC236}">
                        <a16:creationId xmlns:a16="http://schemas.microsoft.com/office/drawing/2014/main" id="{D8D3DE9C-3BAF-B249-A275-AAD5BF1A7C1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976161" y="5000779"/>
                    <a:ext cx="36257" cy="53429"/>
                  </a:xfrm>
                  <a:custGeom>
                    <a:avLst/>
                    <a:gdLst/>
                    <a:ahLst/>
                    <a:cxnLst>
                      <a:cxn ang="0">
                        <a:pos x="7" y="3"/>
                      </a:cxn>
                      <a:cxn ang="0">
                        <a:pos x="8" y="8"/>
                      </a:cxn>
                      <a:cxn ang="0">
                        <a:pos x="6" y="12"/>
                      </a:cxn>
                      <a:cxn ang="0">
                        <a:pos x="1" y="5"/>
                      </a:cxn>
                      <a:cxn ang="0">
                        <a:pos x="7" y="3"/>
                      </a:cxn>
                    </a:cxnLst>
                    <a:rect l="0" t="0" r="r" b="b"/>
                    <a:pathLst>
                      <a:path w="8" h="12">
                        <a:moveTo>
                          <a:pt x="7" y="3"/>
                        </a:moveTo>
                        <a:cubicBezTo>
                          <a:pt x="8" y="8"/>
                          <a:pt x="8" y="8"/>
                          <a:pt x="8" y="8"/>
                        </a:cubicBezTo>
                        <a:cubicBezTo>
                          <a:pt x="6" y="8"/>
                          <a:pt x="8" y="12"/>
                          <a:pt x="6" y="12"/>
                        </a:cubicBezTo>
                        <a:cubicBezTo>
                          <a:pt x="4" y="12"/>
                          <a:pt x="0" y="9"/>
                          <a:pt x="1" y="5"/>
                        </a:cubicBezTo>
                        <a:cubicBezTo>
                          <a:pt x="2" y="2"/>
                          <a:pt x="3" y="0"/>
                          <a:pt x="7" y="3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69" name="Freeform 20181">
                    <a:extLst>
                      <a:ext uri="{FF2B5EF4-FFF2-40B4-BE49-F238E27FC236}">
                        <a16:creationId xmlns:a16="http://schemas.microsoft.com/office/drawing/2014/main" id="{61932315-FE98-6843-AA07-DFC89A0466E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020049" y="4529448"/>
                    <a:ext cx="85871" cy="227080"/>
                  </a:xfrm>
                  <a:custGeom>
                    <a:avLst/>
                    <a:gdLst/>
                    <a:ahLst/>
                    <a:cxnLst>
                      <a:cxn ang="0">
                        <a:pos x="3" y="29"/>
                      </a:cxn>
                      <a:cxn ang="0">
                        <a:pos x="6" y="32"/>
                      </a:cxn>
                      <a:cxn ang="0">
                        <a:pos x="10" y="37"/>
                      </a:cxn>
                      <a:cxn ang="0">
                        <a:pos x="10" y="43"/>
                      </a:cxn>
                      <a:cxn ang="0">
                        <a:pos x="13" y="49"/>
                      </a:cxn>
                      <a:cxn ang="0">
                        <a:pos x="14" y="46"/>
                      </a:cxn>
                      <a:cxn ang="0">
                        <a:pos x="16" y="43"/>
                      </a:cxn>
                      <a:cxn ang="0">
                        <a:pos x="17" y="38"/>
                      </a:cxn>
                      <a:cxn ang="0">
                        <a:pos x="15" y="30"/>
                      </a:cxn>
                      <a:cxn ang="0">
                        <a:pos x="10" y="24"/>
                      </a:cxn>
                      <a:cxn ang="0">
                        <a:pos x="10" y="16"/>
                      </a:cxn>
                      <a:cxn ang="0">
                        <a:pos x="11" y="13"/>
                      </a:cxn>
                      <a:cxn ang="0">
                        <a:pos x="10" y="7"/>
                      </a:cxn>
                      <a:cxn ang="0">
                        <a:pos x="7" y="1"/>
                      </a:cxn>
                      <a:cxn ang="0">
                        <a:pos x="2" y="0"/>
                      </a:cxn>
                      <a:cxn ang="0">
                        <a:pos x="4" y="2"/>
                      </a:cxn>
                      <a:cxn ang="0">
                        <a:pos x="4" y="5"/>
                      </a:cxn>
                      <a:cxn ang="0">
                        <a:pos x="5" y="9"/>
                      </a:cxn>
                      <a:cxn ang="0">
                        <a:pos x="4" y="12"/>
                      </a:cxn>
                      <a:cxn ang="0">
                        <a:pos x="4" y="16"/>
                      </a:cxn>
                      <a:cxn ang="0">
                        <a:pos x="4" y="20"/>
                      </a:cxn>
                      <a:cxn ang="0">
                        <a:pos x="1" y="26"/>
                      </a:cxn>
                      <a:cxn ang="0">
                        <a:pos x="3" y="29"/>
                      </a:cxn>
                    </a:cxnLst>
                    <a:rect l="0" t="0" r="r" b="b"/>
                    <a:pathLst>
                      <a:path w="19" h="50">
                        <a:moveTo>
                          <a:pt x="3" y="29"/>
                        </a:moveTo>
                        <a:cubicBezTo>
                          <a:pt x="4" y="31"/>
                          <a:pt x="5" y="33"/>
                          <a:pt x="6" y="32"/>
                        </a:cubicBezTo>
                        <a:cubicBezTo>
                          <a:pt x="10" y="31"/>
                          <a:pt x="11" y="33"/>
                          <a:pt x="10" y="37"/>
                        </a:cubicBezTo>
                        <a:cubicBezTo>
                          <a:pt x="10" y="41"/>
                          <a:pt x="7" y="40"/>
                          <a:pt x="10" y="43"/>
                        </a:cubicBezTo>
                        <a:cubicBezTo>
                          <a:pt x="13" y="47"/>
                          <a:pt x="12" y="49"/>
                          <a:pt x="13" y="49"/>
                        </a:cubicBezTo>
                        <a:cubicBezTo>
                          <a:pt x="14" y="50"/>
                          <a:pt x="14" y="48"/>
                          <a:pt x="14" y="46"/>
                        </a:cubicBezTo>
                        <a:cubicBezTo>
                          <a:pt x="13" y="44"/>
                          <a:pt x="14" y="43"/>
                          <a:pt x="16" y="43"/>
                        </a:cubicBezTo>
                        <a:cubicBezTo>
                          <a:pt x="17" y="42"/>
                          <a:pt x="17" y="41"/>
                          <a:pt x="17" y="38"/>
                        </a:cubicBezTo>
                        <a:cubicBezTo>
                          <a:pt x="17" y="35"/>
                          <a:pt x="19" y="34"/>
                          <a:pt x="15" y="30"/>
                        </a:cubicBezTo>
                        <a:cubicBezTo>
                          <a:pt x="12" y="26"/>
                          <a:pt x="11" y="26"/>
                          <a:pt x="10" y="24"/>
                        </a:cubicBezTo>
                        <a:cubicBezTo>
                          <a:pt x="10" y="21"/>
                          <a:pt x="9" y="18"/>
                          <a:pt x="10" y="16"/>
                        </a:cubicBezTo>
                        <a:cubicBezTo>
                          <a:pt x="11" y="15"/>
                          <a:pt x="10" y="14"/>
                          <a:pt x="11" y="13"/>
                        </a:cubicBezTo>
                        <a:cubicBezTo>
                          <a:pt x="9" y="10"/>
                          <a:pt x="11" y="10"/>
                          <a:pt x="10" y="7"/>
                        </a:cubicBezTo>
                        <a:cubicBezTo>
                          <a:pt x="9" y="4"/>
                          <a:pt x="8" y="2"/>
                          <a:pt x="7" y="1"/>
                        </a:cubicBezTo>
                        <a:cubicBezTo>
                          <a:pt x="5" y="1"/>
                          <a:pt x="3" y="1"/>
                          <a:pt x="2" y="0"/>
                        </a:cubicBezTo>
                        <a:cubicBezTo>
                          <a:pt x="2" y="2"/>
                          <a:pt x="2" y="0"/>
                          <a:pt x="4" y="2"/>
                        </a:cubicBezTo>
                        <a:cubicBezTo>
                          <a:pt x="5" y="3"/>
                          <a:pt x="3" y="3"/>
                          <a:pt x="4" y="5"/>
                        </a:cubicBezTo>
                        <a:cubicBezTo>
                          <a:pt x="6" y="6"/>
                          <a:pt x="6" y="7"/>
                          <a:pt x="5" y="9"/>
                        </a:cubicBezTo>
                        <a:cubicBezTo>
                          <a:pt x="3" y="10"/>
                          <a:pt x="5" y="11"/>
                          <a:pt x="4" y="12"/>
                        </a:cubicBezTo>
                        <a:cubicBezTo>
                          <a:pt x="3" y="13"/>
                          <a:pt x="4" y="14"/>
                          <a:pt x="4" y="16"/>
                        </a:cubicBezTo>
                        <a:cubicBezTo>
                          <a:pt x="3" y="19"/>
                          <a:pt x="6" y="20"/>
                          <a:pt x="4" y="20"/>
                        </a:cubicBezTo>
                        <a:cubicBezTo>
                          <a:pt x="1" y="20"/>
                          <a:pt x="3" y="24"/>
                          <a:pt x="1" y="26"/>
                        </a:cubicBezTo>
                        <a:cubicBezTo>
                          <a:pt x="0" y="27"/>
                          <a:pt x="2" y="28"/>
                          <a:pt x="3" y="29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0" name="Freeform 20186">
                    <a:extLst>
                      <a:ext uri="{FF2B5EF4-FFF2-40B4-BE49-F238E27FC236}">
                        <a16:creationId xmlns:a16="http://schemas.microsoft.com/office/drawing/2014/main" id="{4800B822-54B6-B244-B23C-D54A9336242D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321637" y="3861566"/>
                    <a:ext cx="284327" cy="280510"/>
                  </a:xfrm>
                  <a:custGeom>
                    <a:avLst/>
                    <a:gdLst/>
                    <a:ahLst/>
                    <a:cxnLst>
                      <a:cxn ang="0">
                        <a:pos x="59" y="6"/>
                      </a:cxn>
                      <a:cxn ang="0">
                        <a:pos x="61" y="14"/>
                      </a:cxn>
                      <a:cxn ang="0">
                        <a:pos x="55" y="25"/>
                      </a:cxn>
                      <a:cxn ang="0">
                        <a:pos x="51" y="35"/>
                      </a:cxn>
                      <a:cxn ang="0">
                        <a:pos x="46" y="45"/>
                      </a:cxn>
                      <a:cxn ang="0">
                        <a:pos x="42" y="46"/>
                      </a:cxn>
                      <a:cxn ang="0">
                        <a:pos x="37" y="47"/>
                      </a:cxn>
                      <a:cxn ang="0">
                        <a:pos x="33" y="51"/>
                      </a:cxn>
                      <a:cxn ang="0">
                        <a:pos x="30" y="59"/>
                      </a:cxn>
                      <a:cxn ang="0">
                        <a:pos x="28" y="57"/>
                      </a:cxn>
                      <a:cxn ang="0">
                        <a:pos x="23" y="60"/>
                      </a:cxn>
                      <a:cxn ang="0">
                        <a:pos x="21" y="61"/>
                      </a:cxn>
                      <a:cxn ang="0">
                        <a:pos x="17" y="62"/>
                      </a:cxn>
                      <a:cxn ang="0">
                        <a:pos x="12" y="52"/>
                      </a:cxn>
                      <a:cxn ang="0">
                        <a:pos x="6" y="48"/>
                      </a:cxn>
                      <a:cxn ang="0">
                        <a:pos x="3" y="48"/>
                      </a:cxn>
                      <a:cxn ang="0">
                        <a:pos x="0" y="49"/>
                      </a:cxn>
                      <a:cxn ang="0">
                        <a:pos x="0" y="35"/>
                      </a:cxn>
                      <a:cxn ang="0">
                        <a:pos x="2" y="30"/>
                      </a:cxn>
                      <a:cxn ang="0">
                        <a:pos x="5" y="23"/>
                      </a:cxn>
                      <a:cxn ang="0">
                        <a:pos x="4" y="15"/>
                      </a:cxn>
                      <a:cxn ang="0">
                        <a:pos x="6" y="9"/>
                      </a:cxn>
                      <a:cxn ang="0">
                        <a:pos x="7" y="3"/>
                      </a:cxn>
                      <a:cxn ang="0">
                        <a:pos x="12" y="2"/>
                      </a:cxn>
                      <a:cxn ang="0">
                        <a:pos x="15" y="1"/>
                      </a:cxn>
                      <a:cxn ang="0">
                        <a:pos x="20" y="5"/>
                      </a:cxn>
                      <a:cxn ang="0">
                        <a:pos x="27" y="4"/>
                      </a:cxn>
                      <a:cxn ang="0">
                        <a:pos x="33" y="8"/>
                      </a:cxn>
                      <a:cxn ang="0">
                        <a:pos x="41" y="4"/>
                      </a:cxn>
                      <a:cxn ang="0">
                        <a:pos x="51" y="5"/>
                      </a:cxn>
                      <a:cxn ang="0">
                        <a:pos x="56" y="2"/>
                      </a:cxn>
                      <a:cxn ang="0">
                        <a:pos x="59" y="6"/>
                      </a:cxn>
                    </a:cxnLst>
                    <a:rect l="0" t="0" r="r" b="b"/>
                    <a:pathLst>
                      <a:path w="63" h="62">
                        <a:moveTo>
                          <a:pt x="59" y="6"/>
                        </a:moveTo>
                        <a:cubicBezTo>
                          <a:pt x="58" y="14"/>
                          <a:pt x="63" y="9"/>
                          <a:pt x="61" y="14"/>
                        </a:cubicBezTo>
                        <a:cubicBezTo>
                          <a:pt x="60" y="20"/>
                          <a:pt x="58" y="15"/>
                          <a:pt x="55" y="25"/>
                        </a:cubicBezTo>
                        <a:cubicBezTo>
                          <a:pt x="53" y="34"/>
                          <a:pt x="53" y="34"/>
                          <a:pt x="51" y="35"/>
                        </a:cubicBezTo>
                        <a:cubicBezTo>
                          <a:pt x="49" y="36"/>
                          <a:pt x="48" y="42"/>
                          <a:pt x="46" y="45"/>
                        </a:cubicBezTo>
                        <a:cubicBezTo>
                          <a:pt x="44" y="49"/>
                          <a:pt x="45" y="49"/>
                          <a:pt x="42" y="46"/>
                        </a:cubicBezTo>
                        <a:cubicBezTo>
                          <a:pt x="40" y="43"/>
                          <a:pt x="37" y="44"/>
                          <a:pt x="37" y="47"/>
                        </a:cubicBezTo>
                        <a:cubicBezTo>
                          <a:pt x="36" y="49"/>
                          <a:pt x="34" y="47"/>
                          <a:pt x="33" y="51"/>
                        </a:cubicBezTo>
                        <a:cubicBezTo>
                          <a:pt x="31" y="54"/>
                          <a:pt x="32" y="55"/>
                          <a:pt x="30" y="59"/>
                        </a:cubicBezTo>
                        <a:cubicBezTo>
                          <a:pt x="28" y="57"/>
                          <a:pt x="28" y="57"/>
                          <a:pt x="28" y="57"/>
                        </a:cubicBezTo>
                        <a:cubicBezTo>
                          <a:pt x="31" y="61"/>
                          <a:pt x="24" y="61"/>
                          <a:pt x="23" y="60"/>
                        </a:cubicBezTo>
                        <a:cubicBezTo>
                          <a:pt x="22" y="59"/>
                          <a:pt x="24" y="61"/>
                          <a:pt x="21" y="61"/>
                        </a:cubicBezTo>
                        <a:cubicBezTo>
                          <a:pt x="20" y="62"/>
                          <a:pt x="20" y="62"/>
                          <a:pt x="17" y="62"/>
                        </a:cubicBezTo>
                        <a:cubicBezTo>
                          <a:pt x="14" y="62"/>
                          <a:pt x="13" y="54"/>
                          <a:pt x="12" y="52"/>
                        </a:cubicBezTo>
                        <a:cubicBezTo>
                          <a:pt x="9" y="49"/>
                          <a:pt x="8" y="48"/>
                          <a:pt x="6" y="48"/>
                        </a:cubicBezTo>
                        <a:cubicBezTo>
                          <a:pt x="3" y="49"/>
                          <a:pt x="4" y="47"/>
                          <a:pt x="3" y="48"/>
                        </a:cubicBezTo>
                        <a:cubicBezTo>
                          <a:pt x="3" y="49"/>
                          <a:pt x="2" y="49"/>
                          <a:pt x="0" y="49"/>
                        </a:cubicBezTo>
                        <a:cubicBezTo>
                          <a:pt x="1" y="43"/>
                          <a:pt x="0" y="40"/>
                          <a:pt x="0" y="35"/>
                        </a:cubicBezTo>
                        <a:cubicBezTo>
                          <a:pt x="0" y="30"/>
                          <a:pt x="1" y="33"/>
                          <a:pt x="2" y="30"/>
                        </a:cubicBezTo>
                        <a:cubicBezTo>
                          <a:pt x="2" y="27"/>
                          <a:pt x="3" y="28"/>
                          <a:pt x="5" y="23"/>
                        </a:cubicBezTo>
                        <a:cubicBezTo>
                          <a:pt x="7" y="18"/>
                          <a:pt x="3" y="18"/>
                          <a:pt x="4" y="15"/>
                        </a:cubicBezTo>
                        <a:cubicBezTo>
                          <a:pt x="5" y="13"/>
                          <a:pt x="3" y="10"/>
                          <a:pt x="6" y="9"/>
                        </a:cubicBezTo>
                        <a:cubicBezTo>
                          <a:pt x="8" y="7"/>
                          <a:pt x="6" y="5"/>
                          <a:pt x="7" y="3"/>
                        </a:cubicBezTo>
                        <a:cubicBezTo>
                          <a:pt x="9" y="2"/>
                          <a:pt x="9" y="2"/>
                          <a:pt x="12" y="2"/>
                        </a:cubicBezTo>
                        <a:cubicBezTo>
                          <a:pt x="14" y="2"/>
                          <a:pt x="13" y="0"/>
                          <a:pt x="15" y="1"/>
                        </a:cubicBezTo>
                        <a:cubicBezTo>
                          <a:pt x="17" y="2"/>
                          <a:pt x="19" y="1"/>
                          <a:pt x="20" y="5"/>
                        </a:cubicBezTo>
                        <a:cubicBezTo>
                          <a:pt x="22" y="9"/>
                          <a:pt x="25" y="4"/>
                          <a:pt x="27" y="4"/>
                        </a:cubicBezTo>
                        <a:cubicBezTo>
                          <a:pt x="28" y="4"/>
                          <a:pt x="30" y="7"/>
                          <a:pt x="33" y="8"/>
                        </a:cubicBezTo>
                        <a:cubicBezTo>
                          <a:pt x="37" y="8"/>
                          <a:pt x="36" y="5"/>
                          <a:pt x="41" y="4"/>
                        </a:cubicBezTo>
                        <a:cubicBezTo>
                          <a:pt x="47" y="3"/>
                          <a:pt x="50" y="8"/>
                          <a:pt x="51" y="5"/>
                        </a:cubicBezTo>
                        <a:cubicBezTo>
                          <a:pt x="52" y="2"/>
                          <a:pt x="53" y="4"/>
                          <a:pt x="56" y="2"/>
                        </a:cubicBezTo>
                        <a:lnTo>
                          <a:pt x="59" y="6"/>
                        </a:ln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1" name="Freeform 20187">
                    <a:extLst>
                      <a:ext uri="{FF2B5EF4-FFF2-40B4-BE49-F238E27FC236}">
                        <a16:creationId xmlns:a16="http://schemas.microsoft.com/office/drawing/2014/main" id="{11C9CA94-8EB5-EA44-A6CB-BD9791968DF7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592606" y="3947437"/>
                    <a:ext cx="311041" cy="253794"/>
                  </a:xfrm>
                  <a:custGeom>
                    <a:avLst/>
                    <a:gdLst/>
                    <a:ahLst/>
                    <a:cxnLst>
                      <a:cxn ang="0">
                        <a:pos x="69" y="38"/>
                      </a:cxn>
                      <a:cxn ang="0">
                        <a:pos x="65" y="38"/>
                      </a:cxn>
                      <a:cxn ang="0">
                        <a:pos x="57" y="37"/>
                      </a:cxn>
                      <a:cxn ang="0">
                        <a:pos x="50" y="39"/>
                      </a:cxn>
                      <a:cxn ang="0">
                        <a:pos x="44" y="41"/>
                      </a:cxn>
                      <a:cxn ang="0">
                        <a:pos x="33" y="42"/>
                      </a:cxn>
                      <a:cxn ang="0">
                        <a:pos x="29" y="38"/>
                      </a:cxn>
                      <a:cxn ang="0">
                        <a:pos x="23" y="42"/>
                      </a:cxn>
                      <a:cxn ang="0">
                        <a:pos x="23" y="48"/>
                      </a:cxn>
                      <a:cxn ang="0">
                        <a:pos x="18" y="47"/>
                      </a:cxn>
                      <a:cxn ang="0">
                        <a:pos x="13" y="47"/>
                      </a:cxn>
                      <a:cxn ang="0">
                        <a:pos x="10" y="56"/>
                      </a:cxn>
                      <a:cxn ang="0">
                        <a:pos x="5" y="46"/>
                      </a:cxn>
                      <a:cxn ang="0">
                        <a:pos x="3" y="42"/>
                      </a:cxn>
                      <a:cxn ang="0">
                        <a:pos x="1" y="34"/>
                      </a:cxn>
                      <a:cxn ang="0">
                        <a:pos x="1" y="31"/>
                      </a:cxn>
                      <a:cxn ang="0">
                        <a:pos x="6" y="22"/>
                      </a:cxn>
                      <a:cxn ang="0">
                        <a:pos x="11" y="21"/>
                      </a:cxn>
                      <a:cxn ang="0">
                        <a:pos x="14" y="21"/>
                      </a:cxn>
                      <a:cxn ang="0">
                        <a:pos x="24" y="17"/>
                      </a:cxn>
                      <a:cxn ang="0">
                        <a:pos x="24" y="13"/>
                      </a:cxn>
                      <a:cxn ang="0">
                        <a:pos x="35" y="9"/>
                      </a:cxn>
                      <a:cxn ang="0">
                        <a:pos x="38" y="3"/>
                      </a:cxn>
                      <a:cxn ang="0">
                        <a:pos x="45" y="1"/>
                      </a:cxn>
                      <a:cxn ang="0">
                        <a:pos x="48" y="11"/>
                      </a:cxn>
                      <a:cxn ang="0">
                        <a:pos x="51" y="16"/>
                      </a:cxn>
                      <a:cxn ang="0">
                        <a:pos x="56" y="19"/>
                      </a:cxn>
                      <a:cxn ang="0">
                        <a:pos x="59" y="24"/>
                      </a:cxn>
                      <a:cxn ang="0">
                        <a:pos x="63" y="29"/>
                      </a:cxn>
                      <a:cxn ang="0">
                        <a:pos x="66" y="33"/>
                      </a:cxn>
                      <a:cxn ang="0">
                        <a:pos x="69" y="38"/>
                      </a:cxn>
                    </a:cxnLst>
                    <a:rect l="0" t="0" r="r" b="b"/>
                    <a:pathLst>
                      <a:path w="69" h="56">
                        <a:moveTo>
                          <a:pt x="69" y="38"/>
                        </a:moveTo>
                        <a:cubicBezTo>
                          <a:pt x="67" y="38"/>
                          <a:pt x="67" y="36"/>
                          <a:pt x="65" y="38"/>
                        </a:cubicBezTo>
                        <a:cubicBezTo>
                          <a:pt x="64" y="40"/>
                          <a:pt x="59" y="34"/>
                          <a:pt x="57" y="37"/>
                        </a:cubicBezTo>
                        <a:cubicBezTo>
                          <a:pt x="55" y="40"/>
                          <a:pt x="55" y="36"/>
                          <a:pt x="50" y="39"/>
                        </a:cubicBezTo>
                        <a:cubicBezTo>
                          <a:pt x="44" y="43"/>
                          <a:pt x="46" y="36"/>
                          <a:pt x="44" y="41"/>
                        </a:cubicBezTo>
                        <a:cubicBezTo>
                          <a:pt x="42" y="46"/>
                          <a:pt x="39" y="42"/>
                          <a:pt x="33" y="42"/>
                        </a:cubicBezTo>
                        <a:cubicBezTo>
                          <a:pt x="31" y="42"/>
                          <a:pt x="33" y="40"/>
                          <a:pt x="29" y="38"/>
                        </a:cubicBezTo>
                        <a:cubicBezTo>
                          <a:pt x="24" y="36"/>
                          <a:pt x="24" y="41"/>
                          <a:pt x="23" y="42"/>
                        </a:cubicBezTo>
                        <a:cubicBezTo>
                          <a:pt x="21" y="43"/>
                          <a:pt x="22" y="45"/>
                          <a:pt x="23" y="48"/>
                        </a:cubicBezTo>
                        <a:cubicBezTo>
                          <a:pt x="21" y="46"/>
                          <a:pt x="20" y="49"/>
                          <a:pt x="18" y="47"/>
                        </a:cubicBezTo>
                        <a:cubicBezTo>
                          <a:pt x="16" y="46"/>
                          <a:pt x="16" y="48"/>
                          <a:pt x="13" y="47"/>
                        </a:cubicBezTo>
                        <a:cubicBezTo>
                          <a:pt x="10" y="47"/>
                          <a:pt x="12" y="52"/>
                          <a:pt x="10" y="56"/>
                        </a:cubicBezTo>
                        <a:cubicBezTo>
                          <a:pt x="9" y="49"/>
                          <a:pt x="7" y="48"/>
                          <a:pt x="5" y="46"/>
                        </a:cubicBezTo>
                        <a:cubicBezTo>
                          <a:pt x="3" y="44"/>
                          <a:pt x="5" y="42"/>
                          <a:pt x="3" y="42"/>
                        </a:cubicBezTo>
                        <a:cubicBezTo>
                          <a:pt x="2" y="41"/>
                          <a:pt x="1" y="38"/>
                          <a:pt x="1" y="34"/>
                        </a:cubicBezTo>
                        <a:cubicBezTo>
                          <a:pt x="2" y="31"/>
                          <a:pt x="0" y="32"/>
                          <a:pt x="1" y="31"/>
                        </a:cubicBezTo>
                        <a:cubicBezTo>
                          <a:pt x="3" y="30"/>
                          <a:pt x="4" y="26"/>
                          <a:pt x="6" y="22"/>
                        </a:cubicBezTo>
                        <a:cubicBezTo>
                          <a:pt x="8" y="23"/>
                          <a:pt x="10" y="22"/>
                          <a:pt x="11" y="21"/>
                        </a:cubicBezTo>
                        <a:cubicBezTo>
                          <a:pt x="12" y="19"/>
                          <a:pt x="12" y="23"/>
                          <a:pt x="14" y="21"/>
                        </a:cubicBezTo>
                        <a:cubicBezTo>
                          <a:pt x="18" y="18"/>
                          <a:pt x="21" y="21"/>
                          <a:pt x="24" y="17"/>
                        </a:cubicBezTo>
                        <a:cubicBezTo>
                          <a:pt x="26" y="14"/>
                          <a:pt x="23" y="14"/>
                          <a:pt x="24" y="13"/>
                        </a:cubicBezTo>
                        <a:cubicBezTo>
                          <a:pt x="25" y="12"/>
                          <a:pt x="31" y="14"/>
                          <a:pt x="35" y="9"/>
                        </a:cubicBezTo>
                        <a:cubicBezTo>
                          <a:pt x="38" y="4"/>
                          <a:pt x="39" y="6"/>
                          <a:pt x="38" y="3"/>
                        </a:cubicBezTo>
                        <a:cubicBezTo>
                          <a:pt x="38" y="2"/>
                          <a:pt x="43" y="0"/>
                          <a:pt x="45" y="1"/>
                        </a:cubicBezTo>
                        <a:cubicBezTo>
                          <a:pt x="47" y="4"/>
                          <a:pt x="50" y="7"/>
                          <a:pt x="48" y="11"/>
                        </a:cubicBezTo>
                        <a:cubicBezTo>
                          <a:pt x="47" y="18"/>
                          <a:pt x="53" y="14"/>
                          <a:pt x="51" y="16"/>
                        </a:cubicBezTo>
                        <a:cubicBezTo>
                          <a:pt x="50" y="19"/>
                          <a:pt x="54" y="17"/>
                          <a:pt x="56" y="19"/>
                        </a:cubicBezTo>
                        <a:cubicBezTo>
                          <a:pt x="58" y="22"/>
                          <a:pt x="55" y="21"/>
                          <a:pt x="59" y="24"/>
                        </a:cubicBezTo>
                        <a:cubicBezTo>
                          <a:pt x="62" y="27"/>
                          <a:pt x="63" y="27"/>
                          <a:pt x="63" y="29"/>
                        </a:cubicBezTo>
                        <a:cubicBezTo>
                          <a:pt x="62" y="31"/>
                          <a:pt x="63" y="31"/>
                          <a:pt x="66" y="33"/>
                        </a:cubicBezTo>
                        <a:cubicBezTo>
                          <a:pt x="68" y="33"/>
                          <a:pt x="67" y="36"/>
                          <a:pt x="69" y="38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2" name="Freeform 20188">
                    <a:extLst>
                      <a:ext uri="{FF2B5EF4-FFF2-40B4-BE49-F238E27FC236}">
                        <a16:creationId xmlns:a16="http://schemas.microsoft.com/office/drawing/2014/main" id="{341CAD06-ABF9-B24A-8C34-D329EE4BE769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457123" y="3888283"/>
                    <a:ext cx="179373" cy="330124"/>
                  </a:xfrm>
                  <a:custGeom>
                    <a:avLst/>
                    <a:gdLst/>
                    <a:ahLst/>
                    <a:cxnLst>
                      <a:cxn ang="0">
                        <a:pos x="25" y="69"/>
                      </a:cxn>
                      <a:cxn ang="0">
                        <a:pos x="32" y="69"/>
                      </a:cxn>
                      <a:cxn ang="0">
                        <a:pos x="36" y="70"/>
                      </a:cxn>
                      <a:cxn ang="0">
                        <a:pos x="39" y="72"/>
                      </a:cxn>
                      <a:cxn ang="0">
                        <a:pos x="40" y="69"/>
                      </a:cxn>
                      <a:cxn ang="0">
                        <a:pos x="35" y="59"/>
                      </a:cxn>
                      <a:cxn ang="0">
                        <a:pos x="33" y="55"/>
                      </a:cxn>
                      <a:cxn ang="0">
                        <a:pos x="31" y="47"/>
                      </a:cxn>
                      <a:cxn ang="0">
                        <a:pos x="31" y="44"/>
                      </a:cxn>
                      <a:cxn ang="0">
                        <a:pos x="36" y="35"/>
                      </a:cxn>
                      <a:cxn ang="0">
                        <a:pos x="35" y="31"/>
                      </a:cxn>
                      <a:cxn ang="0">
                        <a:pos x="29" y="23"/>
                      </a:cxn>
                      <a:cxn ang="0">
                        <a:pos x="31" y="20"/>
                      </a:cxn>
                      <a:cxn ang="0">
                        <a:pos x="37" y="19"/>
                      </a:cxn>
                      <a:cxn ang="0">
                        <a:pos x="33" y="6"/>
                      </a:cxn>
                      <a:cxn ang="0">
                        <a:pos x="32" y="2"/>
                      </a:cxn>
                      <a:cxn ang="0">
                        <a:pos x="29" y="0"/>
                      </a:cxn>
                      <a:cxn ang="0">
                        <a:pos x="31" y="8"/>
                      </a:cxn>
                      <a:cxn ang="0">
                        <a:pos x="25" y="19"/>
                      </a:cxn>
                      <a:cxn ang="0">
                        <a:pos x="21" y="29"/>
                      </a:cxn>
                      <a:cxn ang="0">
                        <a:pos x="16" y="39"/>
                      </a:cxn>
                      <a:cxn ang="0">
                        <a:pos x="12" y="40"/>
                      </a:cxn>
                      <a:cxn ang="0">
                        <a:pos x="7" y="41"/>
                      </a:cxn>
                      <a:cxn ang="0">
                        <a:pos x="3" y="45"/>
                      </a:cxn>
                      <a:cxn ang="0">
                        <a:pos x="0" y="53"/>
                      </a:cxn>
                      <a:cxn ang="0">
                        <a:pos x="2" y="55"/>
                      </a:cxn>
                      <a:cxn ang="0">
                        <a:pos x="3" y="58"/>
                      </a:cxn>
                      <a:cxn ang="0">
                        <a:pos x="6" y="57"/>
                      </a:cxn>
                      <a:cxn ang="0">
                        <a:pos x="6" y="60"/>
                      </a:cxn>
                      <a:cxn ang="0">
                        <a:pos x="6" y="62"/>
                      </a:cxn>
                      <a:cxn ang="0">
                        <a:pos x="6" y="68"/>
                      </a:cxn>
                      <a:cxn ang="0">
                        <a:pos x="14" y="69"/>
                      </a:cxn>
                      <a:cxn ang="0">
                        <a:pos x="20" y="68"/>
                      </a:cxn>
                      <a:cxn ang="0">
                        <a:pos x="25" y="69"/>
                      </a:cxn>
                    </a:cxnLst>
                    <a:rect l="0" t="0" r="r" b="b"/>
                    <a:pathLst>
                      <a:path w="40" h="73">
                        <a:moveTo>
                          <a:pt x="25" y="69"/>
                        </a:moveTo>
                        <a:cubicBezTo>
                          <a:pt x="32" y="69"/>
                          <a:pt x="32" y="69"/>
                          <a:pt x="32" y="69"/>
                        </a:cubicBezTo>
                        <a:cubicBezTo>
                          <a:pt x="32" y="69"/>
                          <a:pt x="34" y="70"/>
                          <a:pt x="36" y="70"/>
                        </a:cubicBezTo>
                        <a:cubicBezTo>
                          <a:pt x="38" y="71"/>
                          <a:pt x="39" y="73"/>
                          <a:pt x="39" y="72"/>
                        </a:cubicBezTo>
                        <a:cubicBezTo>
                          <a:pt x="40" y="72"/>
                          <a:pt x="39" y="70"/>
                          <a:pt x="40" y="69"/>
                        </a:cubicBezTo>
                        <a:cubicBezTo>
                          <a:pt x="39" y="62"/>
                          <a:pt x="37" y="61"/>
                          <a:pt x="35" y="59"/>
                        </a:cubicBezTo>
                        <a:cubicBezTo>
                          <a:pt x="33" y="57"/>
                          <a:pt x="35" y="55"/>
                          <a:pt x="33" y="55"/>
                        </a:cubicBezTo>
                        <a:cubicBezTo>
                          <a:pt x="32" y="54"/>
                          <a:pt x="31" y="51"/>
                          <a:pt x="31" y="47"/>
                        </a:cubicBezTo>
                        <a:cubicBezTo>
                          <a:pt x="32" y="44"/>
                          <a:pt x="30" y="45"/>
                          <a:pt x="31" y="44"/>
                        </a:cubicBezTo>
                        <a:cubicBezTo>
                          <a:pt x="33" y="43"/>
                          <a:pt x="34" y="39"/>
                          <a:pt x="36" y="35"/>
                        </a:cubicBezTo>
                        <a:cubicBezTo>
                          <a:pt x="37" y="33"/>
                          <a:pt x="36" y="35"/>
                          <a:pt x="35" y="31"/>
                        </a:cubicBezTo>
                        <a:cubicBezTo>
                          <a:pt x="35" y="28"/>
                          <a:pt x="33" y="29"/>
                          <a:pt x="29" y="23"/>
                        </a:cubicBezTo>
                        <a:cubicBezTo>
                          <a:pt x="28" y="22"/>
                          <a:pt x="29" y="19"/>
                          <a:pt x="31" y="20"/>
                        </a:cubicBezTo>
                        <a:cubicBezTo>
                          <a:pt x="32" y="20"/>
                          <a:pt x="34" y="21"/>
                          <a:pt x="37" y="19"/>
                        </a:cubicBezTo>
                        <a:cubicBezTo>
                          <a:pt x="32" y="16"/>
                          <a:pt x="35" y="7"/>
                          <a:pt x="33" y="6"/>
                        </a:cubicBezTo>
                        <a:cubicBezTo>
                          <a:pt x="32" y="6"/>
                          <a:pt x="34" y="3"/>
                          <a:pt x="32" y="2"/>
                        </a:cubicBezTo>
                        <a:cubicBezTo>
                          <a:pt x="29" y="1"/>
                          <a:pt x="35" y="0"/>
                          <a:pt x="29" y="0"/>
                        </a:cubicBezTo>
                        <a:cubicBezTo>
                          <a:pt x="28" y="8"/>
                          <a:pt x="33" y="3"/>
                          <a:pt x="31" y="8"/>
                        </a:cubicBezTo>
                        <a:cubicBezTo>
                          <a:pt x="30" y="14"/>
                          <a:pt x="28" y="9"/>
                          <a:pt x="25" y="19"/>
                        </a:cubicBezTo>
                        <a:cubicBezTo>
                          <a:pt x="23" y="28"/>
                          <a:pt x="23" y="28"/>
                          <a:pt x="21" y="29"/>
                        </a:cubicBezTo>
                        <a:cubicBezTo>
                          <a:pt x="19" y="30"/>
                          <a:pt x="18" y="36"/>
                          <a:pt x="16" y="39"/>
                        </a:cubicBezTo>
                        <a:cubicBezTo>
                          <a:pt x="14" y="43"/>
                          <a:pt x="15" y="43"/>
                          <a:pt x="12" y="40"/>
                        </a:cubicBezTo>
                        <a:cubicBezTo>
                          <a:pt x="10" y="37"/>
                          <a:pt x="7" y="38"/>
                          <a:pt x="7" y="41"/>
                        </a:cubicBezTo>
                        <a:cubicBezTo>
                          <a:pt x="6" y="43"/>
                          <a:pt x="4" y="41"/>
                          <a:pt x="3" y="45"/>
                        </a:cubicBezTo>
                        <a:cubicBezTo>
                          <a:pt x="1" y="48"/>
                          <a:pt x="2" y="49"/>
                          <a:pt x="0" y="53"/>
                        </a:cubicBezTo>
                        <a:cubicBezTo>
                          <a:pt x="0" y="56"/>
                          <a:pt x="1" y="52"/>
                          <a:pt x="2" y="55"/>
                        </a:cubicBezTo>
                        <a:cubicBezTo>
                          <a:pt x="2" y="57"/>
                          <a:pt x="2" y="57"/>
                          <a:pt x="3" y="58"/>
                        </a:cubicBezTo>
                        <a:cubicBezTo>
                          <a:pt x="5" y="59"/>
                          <a:pt x="4" y="56"/>
                          <a:pt x="6" y="57"/>
                        </a:cubicBezTo>
                        <a:cubicBezTo>
                          <a:pt x="7" y="58"/>
                          <a:pt x="4" y="58"/>
                          <a:pt x="6" y="60"/>
                        </a:cubicBezTo>
                        <a:cubicBezTo>
                          <a:pt x="7" y="61"/>
                          <a:pt x="5" y="60"/>
                          <a:pt x="6" y="62"/>
                        </a:cubicBezTo>
                        <a:cubicBezTo>
                          <a:pt x="8" y="64"/>
                          <a:pt x="6" y="66"/>
                          <a:pt x="6" y="68"/>
                        </a:cubicBezTo>
                        <a:cubicBezTo>
                          <a:pt x="8" y="70"/>
                          <a:pt x="9" y="69"/>
                          <a:pt x="14" y="69"/>
                        </a:cubicBezTo>
                        <a:cubicBezTo>
                          <a:pt x="15" y="68"/>
                          <a:pt x="15" y="68"/>
                          <a:pt x="20" y="68"/>
                        </a:cubicBezTo>
                        <a:cubicBezTo>
                          <a:pt x="26" y="68"/>
                          <a:pt x="24" y="68"/>
                          <a:pt x="25" y="69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3" name="Freeform 20189">
                    <a:extLst>
                      <a:ext uri="{FF2B5EF4-FFF2-40B4-BE49-F238E27FC236}">
                        <a16:creationId xmlns:a16="http://schemas.microsoft.com/office/drawing/2014/main" id="{7939BD15-46C7-E84F-931D-E5B4F96AD1A5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4523910" y="4386330"/>
                    <a:ext cx="303408" cy="396911"/>
                  </a:xfrm>
                  <a:custGeom>
                    <a:avLst/>
                    <a:gdLst/>
                    <a:ahLst/>
                    <a:cxnLst>
                      <a:cxn ang="0">
                        <a:pos x="52" y="87"/>
                      </a:cxn>
                      <a:cxn ang="0">
                        <a:pos x="50" y="86"/>
                      </a:cxn>
                      <a:cxn ang="0">
                        <a:pos x="47" y="86"/>
                      </a:cxn>
                      <a:cxn ang="0">
                        <a:pos x="38" y="84"/>
                      </a:cxn>
                      <a:cxn ang="0">
                        <a:pos x="33" y="83"/>
                      </a:cxn>
                      <a:cxn ang="0">
                        <a:pos x="14" y="83"/>
                      </a:cxn>
                      <a:cxn ang="0">
                        <a:pos x="8" y="80"/>
                      </a:cxn>
                      <a:cxn ang="0">
                        <a:pos x="1" y="82"/>
                      </a:cxn>
                      <a:cxn ang="0">
                        <a:pos x="3" y="71"/>
                      </a:cxn>
                      <a:cxn ang="0">
                        <a:pos x="9" y="52"/>
                      </a:cxn>
                      <a:cxn ang="0">
                        <a:pos x="12" y="39"/>
                      </a:cxn>
                      <a:cxn ang="0">
                        <a:pos x="9" y="27"/>
                      </a:cxn>
                      <a:cxn ang="0">
                        <a:pos x="5" y="11"/>
                      </a:cxn>
                      <a:cxn ang="0">
                        <a:pos x="9" y="9"/>
                      </a:cxn>
                      <a:cxn ang="0">
                        <a:pos x="20" y="10"/>
                      </a:cxn>
                      <a:cxn ang="0">
                        <a:pos x="27" y="12"/>
                      </a:cxn>
                      <a:cxn ang="0">
                        <a:pos x="29" y="17"/>
                      </a:cxn>
                      <a:cxn ang="0">
                        <a:pos x="31" y="22"/>
                      </a:cxn>
                      <a:cxn ang="0">
                        <a:pos x="38" y="23"/>
                      </a:cxn>
                      <a:cxn ang="0">
                        <a:pos x="41" y="22"/>
                      </a:cxn>
                      <a:cxn ang="0">
                        <a:pos x="42" y="18"/>
                      </a:cxn>
                      <a:cxn ang="0">
                        <a:pos x="46" y="16"/>
                      </a:cxn>
                      <a:cxn ang="0">
                        <a:pos x="48" y="17"/>
                      </a:cxn>
                      <a:cxn ang="0">
                        <a:pos x="54" y="19"/>
                      </a:cxn>
                      <a:cxn ang="0">
                        <a:pos x="54" y="24"/>
                      </a:cxn>
                      <a:cxn ang="0">
                        <a:pos x="55" y="35"/>
                      </a:cxn>
                      <a:cxn ang="0">
                        <a:pos x="56" y="44"/>
                      </a:cxn>
                      <a:cxn ang="0">
                        <a:pos x="59" y="42"/>
                      </a:cxn>
                      <a:cxn ang="0">
                        <a:pos x="63" y="42"/>
                      </a:cxn>
                      <a:cxn ang="0">
                        <a:pos x="65" y="41"/>
                      </a:cxn>
                      <a:cxn ang="0">
                        <a:pos x="65" y="47"/>
                      </a:cxn>
                      <a:cxn ang="0">
                        <a:pos x="65" y="51"/>
                      </a:cxn>
                      <a:cxn ang="0">
                        <a:pos x="64" y="55"/>
                      </a:cxn>
                      <a:cxn ang="0">
                        <a:pos x="55" y="56"/>
                      </a:cxn>
                      <a:cxn ang="0">
                        <a:pos x="55" y="73"/>
                      </a:cxn>
                      <a:cxn ang="0">
                        <a:pos x="62" y="84"/>
                      </a:cxn>
                      <a:cxn ang="0">
                        <a:pos x="52" y="87"/>
                      </a:cxn>
                      <a:cxn ang="0">
                        <a:pos x="4" y="7"/>
                      </a:cxn>
                      <a:cxn ang="0">
                        <a:pos x="4" y="9"/>
                      </a:cxn>
                      <a:cxn ang="0">
                        <a:pos x="6" y="3"/>
                      </a:cxn>
                      <a:cxn ang="0">
                        <a:pos x="9" y="2"/>
                      </a:cxn>
                      <a:cxn ang="0">
                        <a:pos x="7" y="1"/>
                      </a:cxn>
                      <a:cxn ang="0">
                        <a:pos x="3" y="4"/>
                      </a:cxn>
                      <a:cxn ang="0">
                        <a:pos x="4" y="7"/>
                      </a:cxn>
                    </a:cxnLst>
                    <a:rect l="0" t="0" r="r" b="b"/>
                    <a:pathLst>
                      <a:path w="67" h="88">
                        <a:moveTo>
                          <a:pt x="52" y="87"/>
                        </a:moveTo>
                        <a:cubicBezTo>
                          <a:pt x="51" y="87"/>
                          <a:pt x="50" y="85"/>
                          <a:pt x="50" y="86"/>
                        </a:cubicBezTo>
                        <a:cubicBezTo>
                          <a:pt x="49" y="87"/>
                          <a:pt x="49" y="87"/>
                          <a:pt x="47" y="86"/>
                        </a:cubicBezTo>
                        <a:cubicBezTo>
                          <a:pt x="45" y="85"/>
                          <a:pt x="39" y="88"/>
                          <a:pt x="38" y="84"/>
                        </a:cubicBezTo>
                        <a:cubicBezTo>
                          <a:pt x="37" y="82"/>
                          <a:pt x="36" y="83"/>
                          <a:pt x="33" y="83"/>
                        </a:cubicBezTo>
                        <a:cubicBezTo>
                          <a:pt x="30" y="83"/>
                          <a:pt x="17" y="83"/>
                          <a:pt x="14" y="83"/>
                        </a:cubicBezTo>
                        <a:cubicBezTo>
                          <a:pt x="11" y="83"/>
                          <a:pt x="12" y="78"/>
                          <a:pt x="8" y="80"/>
                        </a:cubicBezTo>
                        <a:cubicBezTo>
                          <a:pt x="5" y="82"/>
                          <a:pt x="5" y="82"/>
                          <a:pt x="1" y="82"/>
                        </a:cubicBezTo>
                        <a:cubicBezTo>
                          <a:pt x="2" y="76"/>
                          <a:pt x="0" y="75"/>
                          <a:pt x="3" y="71"/>
                        </a:cubicBezTo>
                        <a:cubicBezTo>
                          <a:pt x="5" y="67"/>
                          <a:pt x="3" y="56"/>
                          <a:pt x="9" y="52"/>
                        </a:cubicBezTo>
                        <a:cubicBezTo>
                          <a:pt x="13" y="49"/>
                          <a:pt x="13" y="43"/>
                          <a:pt x="12" y="39"/>
                        </a:cubicBezTo>
                        <a:cubicBezTo>
                          <a:pt x="10" y="35"/>
                          <a:pt x="7" y="30"/>
                          <a:pt x="9" y="27"/>
                        </a:cubicBezTo>
                        <a:cubicBezTo>
                          <a:pt x="11" y="25"/>
                          <a:pt x="5" y="13"/>
                          <a:pt x="5" y="11"/>
                        </a:cubicBezTo>
                        <a:cubicBezTo>
                          <a:pt x="4" y="10"/>
                          <a:pt x="6" y="11"/>
                          <a:pt x="9" y="9"/>
                        </a:cubicBezTo>
                        <a:cubicBezTo>
                          <a:pt x="13" y="9"/>
                          <a:pt x="12" y="10"/>
                          <a:pt x="20" y="10"/>
                        </a:cubicBezTo>
                        <a:cubicBezTo>
                          <a:pt x="27" y="9"/>
                          <a:pt x="27" y="9"/>
                          <a:pt x="27" y="12"/>
                        </a:cubicBezTo>
                        <a:cubicBezTo>
                          <a:pt x="28" y="15"/>
                          <a:pt x="29" y="15"/>
                          <a:pt x="29" y="17"/>
                        </a:cubicBezTo>
                        <a:cubicBezTo>
                          <a:pt x="29" y="20"/>
                          <a:pt x="30" y="19"/>
                          <a:pt x="31" y="22"/>
                        </a:cubicBezTo>
                        <a:cubicBezTo>
                          <a:pt x="32" y="25"/>
                          <a:pt x="37" y="22"/>
                          <a:pt x="38" y="23"/>
                        </a:cubicBezTo>
                        <a:cubicBezTo>
                          <a:pt x="39" y="23"/>
                          <a:pt x="42" y="24"/>
                          <a:pt x="41" y="22"/>
                        </a:cubicBezTo>
                        <a:cubicBezTo>
                          <a:pt x="41" y="19"/>
                          <a:pt x="42" y="21"/>
                          <a:pt x="42" y="18"/>
                        </a:cubicBezTo>
                        <a:cubicBezTo>
                          <a:pt x="42" y="15"/>
                          <a:pt x="45" y="17"/>
                          <a:pt x="46" y="16"/>
                        </a:cubicBezTo>
                        <a:cubicBezTo>
                          <a:pt x="47" y="15"/>
                          <a:pt x="48" y="16"/>
                          <a:pt x="48" y="17"/>
                        </a:cubicBezTo>
                        <a:cubicBezTo>
                          <a:pt x="46" y="20"/>
                          <a:pt x="54" y="17"/>
                          <a:pt x="54" y="19"/>
                        </a:cubicBezTo>
                        <a:cubicBezTo>
                          <a:pt x="54" y="21"/>
                          <a:pt x="53" y="21"/>
                          <a:pt x="54" y="24"/>
                        </a:cubicBezTo>
                        <a:cubicBezTo>
                          <a:pt x="55" y="27"/>
                          <a:pt x="52" y="31"/>
                          <a:pt x="55" y="35"/>
                        </a:cubicBezTo>
                        <a:cubicBezTo>
                          <a:pt x="58" y="39"/>
                          <a:pt x="54" y="43"/>
                          <a:pt x="56" y="44"/>
                        </a:cubicBezTo>
                        <a:cubicBezTo>
                          <a:pt x="58" y="44"/>
                          <a:pt x="57" y="42"/>
                          <a:pt x="59" y="42"/>
                        </a:cubicBezTo>
                        <a:cubicBezTo>
                          <a:pt x="61" y="43"/>
                          <a:pt x="62" y="41"/>
                          <a:pt x="63" y="42"/>
                        </a:cubicBezTo>
                        <a:cubicBezTo>
                          <a:pt x="65" y="42"/>
                          <a:pt x="65" y="42"/>
                          <a:pt x="65" y="41"/>
                        </a:cubicBezTo>
                        <a:cubicBezTo>
                          <a:pt x="65" y="42"/>
                          <a:pt x="66" y="43"/>
                          <a:pt x="65" y="47"/>
                        </a:cubicBezTo>
                        <a:cubicBezTo>
                          <a:pt x="64" y="50"/>
                          <a:pt x="67" y="50"/>
                          <a:pt x="65" y="51"/>
                        </a:cubicBezTo>
                        <a:cubicBezTo>
                          <a:pt x="64" y="53"/>
                          <a:pt x="66" y="55"/>
                          <a:pt x="64" y="55"/>
                        </a:cubicBezTo>
                        <a:cubicBezTo>
                          <a:pt x="58" y="55"/>
                          <a:pt x="55" y="54"/>
                          <a:pt x="55" y="56"/>
                        </a:cubicBezTo>
                        <a:cubicBezTo>
                          <a:pt x="55" y="59"/>
                          <a:pt x="55" y="71"/>
                          <a:pt x="55" y="73"/>
                        </a:cubicBezTo>
                        <a:cubicBezTo>
                          <a:pt x="55" y="77"/>
                          <a:pt x="59" y="81"/>
                          <a:pt x="62" y="84"/>
                        </a:cubicBezTo>
                        <a:cubicBezTo>
                          <a:pt x="62" y="84"/>
                          <a:pt x="54" y="86"/>
                          <a:pt x="52" y="87"/>
                        </a:cubicBezTo>
                        <a:close/>
                        <a:moveTo>
                          <a:pt x="4" y="7"/>
                        </a:moveTo>
                        <a:cubicBezTo>
                          <a:pt x="3" y="9"/>
                          <a:pt x="4" y="8"/>
                          <a:pt x="4" y="9"/>
                        </a:cubicBezTo>
                        <a:cubicBezTo>
                          <a:pt x="7" y="9"/>
                          <a:pt x="5" y="5"/>
                          <a:pt x="6" y="3"/>
                        </a:cubicBezTo>
                        <a:cubicBezTo>
                          <a:pt x="8" y="2"/>
                          <a:pt x="8" y="2"/>
                          <a:pt x="9" y="2"/>
                        </a:cubicBezTo>
                        <a:cubicBezTo>
                          <a:pt x="8" y="1"/>
                          <a:pt x="7" y="0"/>
                          <a:pt x="7" y="1"/>
                        </a:cubicBezTo>
                        <a:cubicBezTo>
                          <a:pt x="6" y="1"/>
                          <a:pt x="4" y="2"/>
                          <a:pt x="3" y="4"/>
                        </a:cubicBezTo>
                        <a:cubicBezTo>
                          <a:pt x="4" y="5"/>
                          <a:pt x="4" y="6"/>
                          <a:pt x="4" y="7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4" name="Freeform 20190">
                    <a:extLst>
                      <a:ext uri="{FF2B5EF4-FFF2-40B4-BE49-F238E27FC236}">
                        <a16:creationId xmlns:a16="http://schemas.microsoft.com/office/drawing/2014/main" id="{1611EB15-5630-5249-8361-A9CB7A4621DF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514369" y="4155434"/>
                    <a:ext cx="181281" cy="253794"/>
                  </a:xfrm>
                  <a:custGeom>
                    <a:avLst/>
                    <a:gdLst/>
                    <a:ahLst/>
                    <a:cxnLst>
                      <a:cxn ang="0">
                        <a:pos x="12" y="10"/>
                      </a:cxn>
                      <a:cxn ang="0">
                        <a:pos x="11" y="15"/>
                      </a:cxn>
                      <a:cxn ang="0">
                        <a:pos x="15" y="15"/>
                      </a:cxn>
                      <a:cxn ang="0">
                        <a:pos x="17" y="19"/>
                      </a:cxn>
                      <a:cxn ang="0">
                        <a:pos x="15" y="24"/>
                      </a:cxn>
                      <a:cxn ang="0">
                        <a:pos x="18" y="28"/>
                      </a:cxn>
                      <a:cxn ang="0">
                        <a:pos x="17" y="36"/>
                      </a:cxn>
                      <a:cxn ang="0">
                        <a:pos x="16" y="39"/>
                      </a:cxn>
                      <a:cxn ang="0">
                        <a:pos x="14" y="38"/>
                      </a:cxn>
                      <a:cxn ang="0">
                        <a:pos x="9" y="36"/>
                      </a:cxn>
                      <a:cxn ang="0">
                        <a:pos x="8" y="37"/>
                      </a:cxn>
                      <a:cxn ang="0">
                        <a:pos x="4" y="39"/>
                      </a:cxn>
                      <a:cxn ang="0">
                        <a:pos x="4" y="44"/>
                      </a:cxn>
                      <a:cxn ang="0">
                        <a:pos x="3" y="47"/>
                      </a:cxn>
                      <a:cxn ang="0">
                        <a:pos x="0" y="48"/>
                      </a:cxn>
                      <a:cxn ang="0">
                        <a:pos x="4" y="53"/>
                      </a:cxn>
                      <a:cxn ang="0">
                        <a:pos x="5" y="55"/>
                      </a:cxn>
                      <a:cxn ang="0">
                        <a:pos x="9" y="52"/>
                      </a:cxn>
                      <a:cxn ang="0">
                        <a:pos x="11" y="53"/>
                      </a:cxn>
                      <a:cxn ang="0">
                        <a:pos x="17" y="51"/>
                      </a:cxn>
                      <a:cxn ang="0">
                        <a:pos x="18" y="54"/>
                      </a:cxn>
                      <a:cxn ang="0">
                        <a:pos x="24" y="49"/>
                      </a:cxn>
                      <a:cxn ang="0">
                        <a:pos x="27" y="43"/>
                      </a:cxn>
                      <a:cxn ang="0">
                        <a:pos x="33" y="30"/>
                      </a:cxn>
                      <a:cxn ang="0">
                        <a:pos x="36" y="22"/>
                      </a:cxn>
                      <a:cxn ang="0">
                        <a:pos x="36" y="15"/>
                      </a:cxn>
                      <a:cxn ang="0">
                        <a:pos x="37" y="7"/>
                      </a:cxn>
                      <a:cxn ang="0">
                        <a:pos x="40" y="2"/>
                      </a:cxn>
                      <a:cxn ang="0">
                        <a:pos x="35" y="1"/>
                      </a:cxn>
                      <a:cxn ang="0">
                        <a:pos x="30" y="1"/>
                      </a:cxn>
                      <a:cxn ang="0">
                        <a:pos x="27" y="10"/>
                      </a:cxn>
                      <a:cxn ang="0">
                        <a:pos x="26" y="13"/>
                      </a:cxn>
                      <a:cxn ang="0">
                        <a:pos x="23" y="11"/>
                      </a:cxn>
                      <a:cxn ang="0">
                        <a:pos x="19" y="10"/>
                      </a:cxn>
                      <a:cxn ang="0">
                        <a:pos x="12" y="10"/>
                      </a:cxn>
                    </a:cxnLst>
                    <a:rect l="0" t="0" r="r" b="b"/>
                    <a:pathLst>
                      <a:path w="40" h="56">
                        <a:moveTo>
                          <a:pt x="12" y="10"/>
                        </a:moveTo>
                        <a:cubicBezTo>
                          <a:pt x="12" y="12"/>
                          <a:pt x="10" y="12"/>
                          <a:pt x="11" y="15"/>
                        </a:cubicBezTo>
                        <a:cubicBezTo>
                          <a:pt x="12" y="17"/>
                          <a:pt x="14" y="15"/>
                          <a:pt x="15" y="15"/>
                        </a:cubicBezTo>
                        <a:cubicBezTo>
                          <a:pt x="17" y="15"/>
                          <a:pt x="18" y="17"/>
                          <a:pt x="17" y="19"/>
                        </a:cubicBezTo>
                        <a:cubicBezTo>
                          <a:pt x="16" y="22"/>
                          <a:pt x="16" y="18"/>
                          <a:pt x="15" y="24"/>
                        </a:cubicBezTo>
                        <a:cubicBezTo>
                          <a:pt x="14" y="27"/>
                          <a:pt x="18" y="26"/>
                          <a:pt x="18" y="28"/>
                        </a:cubicBezTo>
                        <a:cubicBezTo>
                          <a:pt x="17" y="30"/>
                          <a:pt x="18" y="34"/>
                          <a:pt x="17" y="36"/>
                        </a:cubicBezTo>
                        <a:cubicBezTo>
                          <a:pt x="16" y="38"/>
                          <a:pt x="18" y="39"/>
                          <a:pt x="16" y="39"/>
                        </a:cubicBezTo>
                        <a:cubicBezTo>
                          <a:pt x="14" y="40"/>
                          <a:pt x="15" y="36"/>
                          <a:pt x="14" y="38"/>
                        </a:cubicBezTo>
                        <a:cubicBezTo>
                          <a:pt x="12" y="40"/>
                          <a:pt x="11" y="40"/>
                          <a:pt x="9" y="36"/>
                        </a:cubicBezTo>
                        <a:cubicBezTo>
                          <a:pt x="7" y="33"/>
                          <a:pt x="7" y="35"/>
                          <a:pt x="8" y="37"/>
                        </a:cubicBezTo>
                        <a:cubicBezTo>
                          <a:pt x="8" y="39"/>
                          <a:pt x="6" y="39"/>
                          <a:pt x="4" y="39"/>
                        </a:cubicBezTo>
                        <a:cubicBezTo>
                          <a:pt x="2" y="39"/>
                          <a:pt x="3" y="43"/>
                          <a:pt x="4" y="44"/>
                        </a:cubicBezTo>
                        <a:cubicBezTo>
                          <a:pt x="5" y="45"/>
                          <a:pt x="5" y="48"/>
                          <a:pt x="3" y="47"/>
                        </a:cubicBezTo>
                        <a:cubicBezTo>
                          <a:pt x="2" y="46"/>
                          <a:pt x="2" y="46"/>
                          <a:pt x="0" y="48"/>
                        </a:cubicBezTo>
                        <a:cubicBezTo>
                          <a:pt x="3" y="51"/>
                          <a:pt x="3" y="51"/>
                          <a:pt x="4" y="53"/>
                        </a:cubicBezTo>
                        <a:cubicBezTo>
                          <a:pt x="4" y="54"/>
                          <a:pt x="5" y="55"/>
                          <a:pt x="5" y="55"/>
                        </a:cubicBezTo>
                        <a:cubicBezTo>
                          <a:pt x="6" y="53"/>
                          <a:pt x="8" y="52"/>
                          <a:pt x="9" y="52"/>
                        </a:cubicBezTo>
                        <a:cubicBezTo>
                          <a:pt x="9" y="51"/>
                          <a:pt x="10" y="52"/>
                          <a:pt x="11" y="53"/>
                        </a:cubicBezTo>
                        <a:cubicBezTo>
                          <a:pt x="13" y="56"/>
                          <a:pt x="15" y="50"/>
                          <a:pt x="17" y="51"/>
                        </a:cubicBezTo>
                        <a:cubicBezTo>
                          <a:pt x="19" y="52"/>
                          <a:pt x="16" y="54"/>
                          <a:pt x="18" y="54"/>
                        </a:cubicBezTo>
                        <a:cubicBezTo>
                          <a:pt x="21" y="55"/>
                          <a:pt x="23" y="49"/>
                          <a:pt x="24" y="49"/>
                        </a:cubicBezTo>
                        <a:cubicBezTo>
                          <a:pt x="26" y="49"/>
                          <a:pt x="28" y="45"/>
                          <a:pt x="27" y="43"/>
                        </a:cubicBezTo>
                        <a:cubicBezTo>
                          <a:pt x="25" y="39"/>
                          <a:pt x="30" y="31"/>
                          <a:pt x="33" y="30"/>
                        </a:cubicBezTo>
                        <a:cubicBezTo>
                          <a:pt x="36" y="28"/>
                          <a:pt x="34" y="26"/>
                          <a:pt x="36" y="22"/>
                        </a:cubicBezTo>
                        <a:cubicBezTo>
                          <a:pt x="37" y="19"/>
                          <a:pt x="35" y="20"/>
                          <a:pt x="36" y="15"/>
                        </a:cubicBezTo>
                        <a:cubicBezTo>
                          <a:pt x="37" y="10"/>
                          <a:pt x="35" y="11"/>
                          <a:pt x="37" y="7"/>
                        </a:cubicBezTo>
                        <a:cubicBezTo>
                          <a:pt x="40" y="4"/>
                          <a:pt x="40" y="3"/>
                          <a:pt x="40" y="2"/>
                        </a:cubicBezTo>
                        <a:cubicBezTo>
                          <a:pt x="38" y="0"/>
                          <a:pt x="37" y="3"/>
                          <a:pt x="35" y="1"/>
                        </a:cubicBezTo>
                        <a:cubicBezTo>
                          <a:pt x="33" y="0"/>
                          <a:pt x="33" y="2"/>
                          <a:pt x="30" y="1"/>
                        </a:cubicBezTo>
                        <a:cubicBezTo>
                          <a:pt x="27" y="1"/>
                          <a:pt x="29" y="6"/>
                          <a:pt x="27" y="10"/>
                        </a:cubicBezTo>
                        <a:cubicBezTo>
                          <a:pt x="26" y="11"/>
                          <a:pt x="27" y="13"/>
                          <a:pt x="26" y="13"/>
                        </a:cubicBezTo>
                        <a:cubicBezTo>
                          <a:pt x="26" y="14"/>
                          <a:pt x="25" y="12"/>
                          <a:pt x="23" y="11"/>
                        </a:cubicBezTo>
                        <a:cubicBezTo>
                          <a:pt x="21" y="11"/>
                          <a:pt x="19" y="10"/>
                          <a:pt x="19" y="10"/>
                        </a:cubicBezTo>
                        <a:lnTo>
                          <a:pt x="12" y="10"/>
                        </a:ln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5" name="Freeform 20191">
                    <a:extLst>
                      <a:ext uri="{FF2B5EF4-FFF2-40B4-BE49-F238E27FC236}">
                        <a16:creationId xmlns:a16="http://schemas.microsoft.com/office/drawing/2014/main" id="{C87B2FE6-1F3C-3F44-91C6-DEA904D51B3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457123" y="4195506"/>
                    <a:ext cx="139301" cy="177465"/>
                  </a:xfrm>
                  <a:custGeom>
                    <a:avLst/>
                    <a:gdLst/>
                    <a:ahLst/>
                    <a:cxnLst>
                      <a:cxn ang="0">
                        <a:pos x="14" y="1"/>
                      </a:cxn>
                      <a:cxn ang="0">
                        <a:pos x="20" y="0"/>
                      </a:cxn>
                      <a:cxn ang="0">
                        <a:pos x="25" y="1"/>
                      </a:cxn>
                      <a:cxn ang="0">
                        <a:pos x="24" y="6"/>
                      </a:cxn>
                      <a:cxn ang="0">
                        <a:pos x="28" y="6"/>
                      </a:cxn>
                      <a:cxn ang="0">
                        <a:pos x="30" y="10"/>
                      </a:cxn>
                      <a:cxn ang="0">
                        <a:pos x="28" y="15"/>
                      </a:cxn>
                      <a:cxn ang="0">
                        <a:pos x="31" y="19"/>
                      </a:cxn>
                      <a:cxn ang="0">
                        <a:pos x="30" y="27"/>
                      </a:cxn>
                      <a:cxn ang="0">
                        <a:pos x="29" y="30"/>
                      </a:cxn>
                      <a:cxn ang="0">
                        <a:pos x="27" y="29"/>
                      </a:cxn>
                      <a:cxn ang="0">
                        <a:pos x="22" y="27"/>
                      </a:cxn>
                      <a:cxn ang="0">
                        <a:pos x="21" y="28"/>
                      </a:cxn>
                      <a:cxn ang="0">
                        <a:pos x="17" y="30"/>
                      </a:cxn>
                      <a:cxn ang="0">
                        <a:pos x="17" y="35"/>
                      </a:cxn>
                      <a:cxn ang="0">
                        <a:pos x="16" y="38"/>
                      </a:cxn>
                      <a:cxn ang="0">
                        <a:pos x="13" y="39"/>
                      </a:cxn>
                      <a:cxn ang="0">
                        <a:pos x="8" y="32"/>
                      </a:cxn>
                      <a:cxn ang="0">
                        <a:pos x="4" y="28"/>
                      </a:cxn>
                      <a:cxn ang="0">
                        <a:pos x="2" y="22"/>
                      </a:cxn>
                      <a:cxn ang="0">
                        <a:pos x="2" y="19"/>
                      </a:cxn>
                      <a:cxn ang="0">
                        <a:pos x="4" y="15"/>
                      </a:cxn>
                      <a:cxn ang="0">
                        <a:pos x="5" y="14"/>
                      </a:cxn>
                      <a:cxn ang="0">
                        <a:pos x="7" y="13"/>
                      </a:cxn>
                      <a:cxn ang="0">
                        <a:pos x="4" y="11"/>
                      </a:cxn>
                      <a:cxn ang="0">
                        <a:pos x="5" y="11"/>
                      </a:cxn>
                      <a:cxn ang="0">
                        <a:pos x="5" y="8"/>
                      </a:cxn>
                      <a:cxn ang="0">
                        <a:pos x="14" y="8"/>
                      </a:cxn>
                      <a:cxn ang="0">
                        <a:pos x="14" y="1"/>
                      </a:cxn>
                    </a:cxnLst>
                    <a:rect l="0" t="0" r="r" b="b"/>
                    <a:pathLst>
                      <a:path w="31" h="39">
                        <a:moveTo>
                          <a:pt x="14" y="1"/>
                        </a:moveTo>
                        <a:cubicBezTo>
                          <a:pt x="15" y="0"/>
                          <a:pt x="15" y="0"/>
                          <a:pt x="20" y="0"/>
                        </a:cubicBezTo>
                        <a:cubicBezTo>
                          <a:pt x="26" y="0"/>
                          <a:pt x="24" y="0"/>
                          <a:pt x="25" y="1"/>
                        </a:cubicBezTo>
                        <a:cubicBezTo>
                          <a:pt x="25" y="3"/>
                          <a:pt x="23" y="3"/>
                          <a:pt x="24" y="6"/>
                        </a:cubicBezTo>
                        <a:cubicBezTo>
                          <a:pt x="25" y="8"/>
                          <a:pt x="27" y="6"/>
                          <a:pt x="28" y="6"/>
                        </a:cubicBezTo>
                        <a:cubicBezTo>
                          <a:pt x="30" y="6"/>
                          <a:pt x="31" y="8"/>
                          <a:pt x="30" y="10"/>
                        </a:cubicBezTo>
                        <a:cubicBezTo>
                          <a:pt x="29" y="13"/>
                          <a:pt x="29" y="9"/>
                          <a:pt x="28" y="15"/>
                        </a:cubicBezTo>
                        <a:cubicBezTo>
                          <a:pt x="27" y="18"/>
                          <a:pt x="31" y="17"/>
                          <a:pt x="31" y="19"/>
                        </a:cubicBezTo>
                        <a:cubicBezTo>
                          <a:pt x="30" y="21"/>
                          <a:pt x="31" y="25"/>
                          <a:pt x="30" y="27"/>
                        </a:cubicBezTo>
                        <a:cubicBezTo>
                          <a:pt x="29" y="29"/>
                          <a:pt x="31" y="30"/>
                          <a:pt x="29" y="30"/>
                        </a:cubicBezTo>
                        <a:cubicBezTo>
                          <a:pt x="27" y="31"/>
                          <a:pt x="28" y="27"/>
                          <a:pt x="27" y="29"/>
                        </a:cubicBezTo>
                        <a:cubicBezTo>
                          <a:pt x="25" y="31"/>
                          <a:pt x="24" y="31"/>
                          <a:pt x="22" y="27"/>
                        </a:cubicBezTo>
                        <a:cubicBezTo>
                          <a:pt x="20" y="24"/>
                          <a:pt x="20" y="26"/>
                          <a:pt x="21" y="28"/>
                        </a:cubicBezTo>
                        <a:cubicBezTo>
                          <a:pt x="21" y="30"/>
                          <a:pt x="19" y="30"/>
                          <a:pt x="17" y="30"/>
                        </a:cubicBezTo>
                        <a:cubicBezTo>
                          <a:pt x="15" y="30"/>
                          <a:pt x="16" y="34"/>
                          <a:pt x="17" y="35"/>
                        </a:cubicBezTo>
                        <a:cubicBezTo>
                          <a:pt x="18" y="36"/>
                          <a:pt x="18" y="39"/>
                          <a:pt x="16" y="38"/>
                        </a:cubicBezTo>
                        <a:cubicBezTo>
                          <a:pt x="15" y="37"/>
                          <a:pt x="15" y="37"/>
                          <a:pt x="13" y="39"/>
                        </a:cubicBezTo>
                        <a:cubicBezTo>
                          <a:pt x="10" y="36"/>
                          <a:pt x="14" y="38"/>
                          <a:pt x="8" y="32"/>
                        </a:cubicBezTo>
                        <a:cubicBezTo>
                          <a:pt x="6" y="30"/>
                          <a:pt x="5" y="29"/>
                          <a:pt x="4" y="28"/>
                        </a:cubicBezTo>
                        <a:cubicBezTo>
                          <a:pt x="3" y="26"/>
                          <a:pt x="3" y="25"/>
                          <a:pt x="2" y="22"/>
                        </a:cubicBezTo>
                        <a:cubicBezTo>
                          <a:pt x="0" y="19"/>
                          <a:pt x="0" y="17"/>
                          <a:pt x="2" y="19"/>
                        </a:cubicBezTo>
                        <a:cubicBezTo>
                          <a:pt x="3" y="20"/>
                          <a:pt x="4" y="17"/>
                          <a:pt x="4" y="15"/>
                        </a:cubicBezTo>
                        <a:cubicBezTo>
                          <a:pt x="4" y="12"/>
                          <a:pt x="4" y="12"/>
                          <a:pt x="5" y="14"/>
                        </a:cubicBezTo>
                        <a:cubicBezTo>
                          <a:pt x="6" y="15"/>
                          <a:pt x="9" y="14"/>
                          <a:pt x="7" y="13"/>
                        </a:cubicBezTo>
                        <a:cubicBezTo>
                          <a:pt x="5" y="13"/>
                          <a:pt x="4" y="12"/>
                          <a:pt x="4" y="11"/>
                        </a:cubicBezTo>
                        <a:cubicBezTo>
                          <a:pt x="5" y="10"/>
                          <a:pt x="5" y="11"/>
                          <a:pt x="5" y="11"/>
                        </a:cubicBezTo>
                        <a:cubicBezTo>
                          <a:pt x="6" y="10"/>
                          <a:pt x="5" y="9"/>
                          <a:pt x="5" y="8"/>
                        </a:cubicBezTo>
                        <a:cubicBezTo>
                          <a:pt x="10" y="8"/>
                          <a:pt x="11" y="9"/>
                          <a:pt x="14" y="8"/>
                        </a:cubicBezTo>
                        <a:lnTo>
                          <a:pt x="14" y="1"/>
                        </a:ln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6" name="Freeform 20192">
                    <a:extLst>
                      <a:ext uri="{FF2B5EF4-FFF2-40B4-BE49-F238E27FC236}">
                        <a16:creationId xmlns:a16="http://schemas.microsoft.com/office/drawing/2014/main" id="{90596E83-9E9E-D84C-B5FA-0A52752DA0F0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4447580" y="4155434"/>
                    <a:ext cx="72512" cy="82053"/>
                  </a:xfrm>
                  <a:custGeom>
                    <a:avLst/>
                    <a:gdLst/>
                    <a:ahLst/>
                    <a:cxnLst>
                      <a:cxn ang="0">
                        <a:pos x="8" y="9"/>
                      </a:cxn>
                      <a:cxn ang="0">
                        <a:pos x="16" y="10"/>
                      </a:cxn>
                      <a:cxn ang="0">
                        <a:pos x="16" y="17"/>
                      </a:cxn>
                      <a:cxn ang="0">
                        <a:pos x="7" y="17"/>
                      </a:cxn>
                      <a:cxn ang="0">
                        <a:pos x="6" y="16"/>
                      </a:cxn>
                      <a:cxn ang="0">
                        <a:pos x="8" y="9"/>
                      </a:cxn>
                      <a:cxn ang="0">
                        <a:pos x="3" y="2"/>
                      </a:cxn>
                      <a:cxn ang="0">
                        <a:pos x="2" y="1"/>
                      </a:cxn>
                      <a:cxn ang="0">
                        <a:pos x="2" y="4"/>
                      </a:cxn>
                      <a:cxn ang="0">
                        <a:pos x="3" y="2"/>
                      </a:cxn>
                    </a:cxnLst>
                    <a:rect l="0" t="0" r="r" b="b"/>
                    <a:pathLst>
                      <a:path w="16" h="18">
                        <a:moveTo>
                          <a:pt x="8" y="9"/>
                        </a:moveTo>
                        <a:cubicBezTo>
                          <a:pt x="10" y="11"/>
                          <a:pt x="11" y="10"/>
                          <a:pt x="16" y="10"/>
                        </a:cubicBezTo>
                        <a:cubicBezTo>
                          <a:pt x="16" y="17"/>
                          <a:pt x="16" y="17"/>
                          <a:pt x="16" y="17"/>
                        </a:cubicBezTo>
                        <a:cubicBezTo>
                          <a:pt x="13" y="18"/>
                          <a:pt x="12" y="17"/>
                          <a:pt x="7" y="17"/>
                        </a:cubicBezTo>
                        <a:cubicBezTo>
                          <a:pt x="8" y="16"/>
                          <a:pt x="6" y="18"/>
                          <a:pt x="6" y="16"/>
                        </a:cubicBezTo>
                        <a:cubicBezTo>
                          <a:pt x="6" y="14"/>
                          <a:pt x="9" y="14"/>
                          <a:pt x="8" y="9"/>
                        </a:cubicBezTo>
                        <a:close/>
                        <a:moveTo>
                          <a:pt x="3" y="2"/>
                        </a:moveTo>
                        <a:cubicBezTo>
                          <a:pt x="4" y="0"/>
                          <a:pt x="3" y="0"/>
                          <a:pt x="2" y="1"/>
                        </a:cubicBezTo>
                        <a:cubicBezTo>
                          <a:pt x="2" y="2"/>
                          <a:pt x="0" y="3"/>
                          <a:pt x="2" y="4"/>
                        </a:cubicBezTo>
                        <a:cubicBezTo>
                          <a:pt x="2" y="4"/>
                          <a:pt x="2" y="4"/>
                          <a:pt x="3" y="2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7" name="Freeform 20193">
                    <a:extLst>
                      <a:ext uri="{FF2B5EF4-FFF2-40B4-BE49-F238E27FC236}">
                        <a16:creationId xmlns:a16="http://schemas.microsoft.com/office/drawing/2014/main" id="{CF8CA5D4-A193-934D-80DA-D252AF59D1C7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401784" y="4250846"/>
                    <a:ext cx="13357" cy="13357"/>
                  </a:xfrm>
                  <a:custGeom>
                    <a:avLst/>
                    <a:gdLst/>
                    <a:ahLst/>
                    <a:cxnLst>
                      <a:cxn ang="0">
                        <a:pos x="2" y="0"/>
                      </a:cxn>
                      <a:cxn ang="0">
                        <a:pos x="1" y="3"/>
                      </a:cxn>
                      <a:cxn ang="0">
                        <a:pos x="2" y="0"/>
                      </a:cxn>
                    </a:cxnLst>
                    <a:rect l="0" t="0" r="r" b="b"/>
                    <a:pathLst>
                      <a:path w="3" h="3">
                        <a:moveTo>
                          <a:pt x="2" y="0"/>
                        </a:moveTo>
                        <a:cubicBezTo>
                          <a:pt x="3" y="1"/>
                          <a:pt x="2" y="3"/>
                          <a:pt x="1" y="3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8" name="Freeform 20194">
                    <a:extLst>
                      <a:ext uri="{FF2B5EF4-FFF2-40B4-BE49-F238E27FC236}">
                        <a16:creationId xmlns:a16="http://schemas.microsoft.com/office/drawing/2014/main" id="{CFE8685C-297A-994C-864B-49C56D6732D3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926547" y="4290918"/>
                    <a:ext cx="53429" cy="53429"/>
                  </a:xfrm>
                  <a:custGeom>
                    <a:avLst/>
                    <a:gdLst/>
                    <a:ahLst/>
                    <a:cxnLst>
                      <a:cxn ang="0">
                        <a:pos x="2" y="11"/>
                      </a:cxn>
                      <a:cxn ang="0">
                        <a:pos x="4" y="11"/>
                      </a:cxn>
                      <a:cxn ang="0">
                        <a:pos x="7" y="10"/>
                      </a:cxn>
                      <a:cxn ang="0">
                        <a:pos x="8" y="9"/>
                      </a:cxn>
                      <a:cxn ang="0">
                        <a:pos x="11" y="9"/>
                      </a:cxn>
                      <a:cxn ang="0">
                        <a:pos x="12" y="5"/>
                      </a:cxn>
                      <a:cxn ang="0">
                        <a:pos x="10" y="0"/>
                      </a:cxn>
                      <a:cxn ang="0">
                        <a:pos x="8" y="3"/>
                      </a:cxn>
                      <a:cxn ang="0">
                        <a:pos x="6" y="2"/>
                      </a:cxn>
                      <a:cxn ang="0">
                        <a:pos x="3" y="8"/>
                      </a:cxn>
                      <a:cxn ang="0">
                        <a:pos x="2" y="11"/>
                      </a:cxn>
                    </a:cxnLst>
                    <a:rect l="0" t="0" r="r" b="b"/>
                    <a:pathLst>
                      <a:path w="12" h="12">
                        <a:moveTo>
                          <a:pt x="2" y="11"/>
                        </a:moveTo>
                        <a:cubicBezTo>
                          <a:pt x="3" y="9"/>
                          <a:pt x="4" y="10"/>
                          <a:pt x="4" y="11"/>
                        </a:cubicBezTo>
                        <a:cubicBezTo>
                          <a:pt x="4" y="12"/>
                          <a:pt x="7" y="12"/>
                          <a:pt x="7" y="10"/>
                        </a:cubicBezTo>
                        <a:cubicBezTo>
                          <a:pt x="7" y="8"/>
                          <a:pt x="8" y="8"/>
                          <a:pt x="8" y="9"/>
                        </a:cubicBezTo>
                        <a:cubicBezTo>
                          <a:pt x="8" y="9"/>
                          <a:pt x="9" y="8"/>
                          <a:pt x="11" y="9"/>
                        </a:cubicBezTo>
                        <a:cubicBezTo>
                          <a:pt x="12" y="9"/>
                          <a:pt x="12" y="8"/>
                          <a:pt x="12" y="5"/>
                        </a:cubicBezTo>
                        <a:cubicBezTo>
                          <a:pt x="11" y="1"/>
                          <a:pt x="10" y="2"/>
                          <a:pt x="10" y="0"/>
                        </a:cubicBezTo>
                        <a:cubicBezTo>
                          <a:pt x="9" y="1"/>
                          <a:pt x="9" y="2"/>
                          <a:pt x="8" y="3"/>
                        </a:cubicBezTo>
                        <a:cubicBezTo>
                          <a:pt x="6" y="3"/>
                          <a:pt x="8" y="1"/>
                          <a:pt x="6" y="2"/>
                        </a:cubicBezTo>
                        <a:cubicBezTo>
                          <a:pt x="0" y="6"/>
                          <a:pt x="5" y="6"/>
                          <a:pt x="3" y="8"/>
                        </a:cubicBezTo>
                        <a:cubicBezTo>
                          <a:pt x="1" y="9"/>
                          <a:pt x="2" y="9"/>
                          <a:pt x="2" y="1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79" name="Freeform 20195">
                    <a:extLst>
                      <a:ext uri="{FF2B5EF4-FFF2-40B4-BE49-F238E27FC236}">
                        <a16:creationId xmlns:a16="http://schemas.microsoft.com/office/drawing/2014/main" id="{29EF017E-87D9-0E41-9EF8-D4311171771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934179" y="4327175"/>
                    <a:ext cx="55338" cy="62971"/>
                  </a:xfrm>
                  <a:custGeom>
                    <a:avLst/>
                    <a:gdLst/>
                    <a:ahLst/>
                    <a:cxnLst>
                      <a:cxn ang="0">
                        <a:pos x="9" y="1"/>
                      </a:cxn>
                      <a:cxn ang="0">
                        <a:pos x="8" y="3"/>
                      </a:cxn>
                      <a:cxn ang="0">
                        <a:pos x="9" y="7"/>
                      </a:cxn>
                      <a:cxn ang="0">
                        <a:pos x="3" y="14"/>
                      </a:cxn>
                      <a:cxn ang="0">
                        <a:pos x="1" y="8"/>
                      </a:cxn>
                      <a:cxn ang="0">
                        <a:pos x="0" y="3"/>
                      </a:cxn>
                      <a:cxn ang="0">
                        <a:pos x="2" y="3"/>
                      </a:cxn>
                      <a:cxn ang="0">
                        <a:pos x="5" y="2"/>
                      </a:cxn>
                      <a:cxn ang="0">
                        <a:pos x="6" y="1"/>
                      </a:cxn>
                      <a:cxn ang="0">
                        <a:pos x="9" y="1"/>
                      </a:cxn>
                    </a:cxnLst>
                    <a:rect l="0" t="0" r="r" b="b"/>
                    <a:pathLst>
                      <a:path w="12" h="14">
                        <a:moveTo>
                          <a:pt x="9" y="1"/>
                        </a:moveTo>
                        <a:cubicBezTo>
                          <a:pt x="9" y="2"/>
                          <a:pt x="8" y="2"/>
                          <a:pt x="8" y="3"/>
                        </a:cubicBezTo>
                        <a:cubicBezTo>
                          <a:pt x="8" y="4"/>
                          <a:pt x="12" y="4"/>
                          <a:pt x="9" y="7"/>
                        </a:cubicBezTo>
                        <a:cubicBezTo>
                          <a:pt x="6" y="10"/>
                          <a:pt x="7" y="13"/>
                          <a:pt x="3" y="14"/>
                        </a:cubicBezTo>
                        <a:cubicBezTo>
                          <a:pt x="3" y="11"/>
                          <a:pt x="1" y="11"/>
                          <a:pt x="1" y="8"/>
                        </a:cubicBezTo>
                        <a:cubicBezTo>
                          <a:pt x="2" y="5"/>
                          <a:pt x="1" y="5"/>
                          <a:pt x="0" y="3"/>
                        </a:cubicBezTo>
                        <a:cubicBezTo>
                          <a:pt x="1" y="1"/>
                          <a:pt x="2" y="2"/>
                          <a:pt x="2" y="3"/>
                        </a:cubicBezTo>
                        <a:cubicBezTo>
                          <a:pt x="2" y="4"/>
                          <a:pt x="5" y="4"/>
                          <a:pt x="5" y="2"/>
                        </a:cubicBezTo>
                        <a:cubicBezTo>
                          <a:pt x="5" y="0"/>
                          <a:pt x="6" y="0"/>
                          <a:pt x="6" y="1"/>
                        </a:cubicBezTo>
                        <a:cubicBezTo>
                          <a:pt x="6" y="1"/>
                          <a:pt x="7" y="0"/>
                          <a:pt x="9" y="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0" name="Freeform 20196">
                    <a:extLst>
                      <a:ext uri="{FF2B5EF4-FFF2-40B4-BE49-F238E27FC236}">
                        <a16:creationId xmlns:a16="http://schemas.microsoft.com/office/drawing/2014/main" id="{7378772F-AE0D-7C49-8D2C-E198A30230C9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121274" y="3825310"/>
                    <a:ext cx="190823" cy="171740"/>
                  </a:xfrm>
                  <a:custGeom>
                    <a:avLst/>
                    <a:gdLst/>
                    <a:ahLst/>
                    <a:cxnLst>
                      <a:cxn ang="0">
                        <a:pos x="16" y="37"/>
                      </a:cxn>
                      <a:cxn ang="0">
                        <a:pos x="15" y="31"/>
                      </a:cxn>
                      <a:cxn ang="0">
                        <a:pos x="15" y="27"/>
                      </a:cxn>
                      <a:cxn ang="0">
                        <a:pos x="25" y="27"/>
                      </a:cxn>
                      <a:cxn ang="0">
                        <a:pos x="27" y="27"/>
                      </a:cxn>
                      <a:cxn ang="0">
                        <a:pos x="29" y="26"/>
                      </a:cxn>
                      <a:cxn ang="0">
                        <a:pos x="32" y="28"/>
                      </a:cxn>
                      <a:cxn ang="0">
                        <a:pos x="34" y="27"/>
                      </a:cxn>
                      <a:cxn ang="0">
                        <a:pos x="42" y="22"/>
                      </a:cxn>
                      <a:cxn ang="0">
                        <a:pos x="41" y="19"/>
                      </a:cxn>
                      <a:cxn ang="0">
                        <a:pos x="39" y="17"/>
                      </a:cxn>
                      <a:cxn ang="0">
                        <a:pos x="35" y="14"/>
                      </a:cxn>
                      <a:cxn ang="0">
                        <a:pos x="35" y="12"/>
                      </a:cxn>
                      <a:cxn ang="0">
                        <a:pos x="34" y="11"/>
                      </a:cxn>
                      <a:cxn ang="0">
                        <a:pos x="32" y="8"/>
                      </a:cxn>
                      <a:cxn ang="0">
                        <a:pos x="31" y="2"/>
                      </a:cxn>
                      <a:cxn ang="0">
                        <a:pos x="29" y="2"/>
                      </a:cxn>
                      <a:cxn ang="0">
                        <a:pos x="27" y="1"/>
                      </a:cxn>
                      <a:cxn ang="0">
                        <a:pos x="21" y="4"/>
                      </a:cxn>
                      <a:cxn ang="0">
                        <a:pos x="18" y="7"/>
                      </a:cxn>
                      <a:cxn ang="0">
                        <a:pos x="15" y="10"/>
                      </a:cxn>
                      <a:cxn ang="0">
                        <a:pos x="12" y="11"/>
                      </a:cxn>
                      <a:cxn ang="0">
                        <a:pos x="10" y="13"/>
                      </a:cxn>
                      <a:cxn ang="0">
                        <a:pos x="8" y="12"/>
                      </a:cxn>
                      <a:cxn ang="0">
                        <a:pos x="8" y="15"/>
                      </a:cxn>
                      <a:cxn ang="0">
                        <a:pos x="6" y="17"/>
                      </a:cxn>
                      <a:cxn ang="0">
                        <a:pos x="6" y="20"/>
                      </a:cxn>
                      <a:cxn ang="0">
                        <a:pos x="2" y="22"/>
                      </a:cxn>
                      <a:cxn ang="0">
                        <a:pos x="1" y="27"/>
                      </a:cxn>
                      <a:cxn ang="0">
                        <a:pos x="1" y="31"/>
                      </a:cxn>
                      <a:cxn ang="0">
                        <a:pos x="5" y="35"/>
                      </a:cxn>
                      <a:cxn ang="0">
                        <a:pos x="10" y="34"/>
                      </a:cxn>
                      <a:cxn ang="0">
                        <a:pos x="16" y="37"/>
                      </a:cxn>
                    </a:cxnLst>
                    <a:rect l="0" t="0" r="r" b="b"/>
                    <a:pathLst>
                      <a:path w="42" h="38">
                        <a:moveTo>
                          <a:pt x="16" y="37"/>
                        </a:moveTo>
                        <a:cubicBezTo>
                          <a:pt x="15" y="35"/>
                          <a:pt x="15" y="32"/>
                          <a:pt x="15" y="31"/>
                        </a:cubicBezTo>
                        <a:cubicBezTo>
                          <a:pt x="15" y="31"/>
                          <a:pt x="13" y="27"/>
                          <a:pt x="15" y="27"/>
                        </a:cubicBezTo>
                        <a:cubicBezTo>
                          <a:pt x="17" y="27"/>
                          <a:pt x="24" y="27"/>
                          <a:pt x="25" y="27"/>
                        </a:cubicBezTo>
                        <a:cubicBezTo>
                          <a:pt x="26" y="27"/>
                          <a:pt x="26" y="28"/>
                          <a:pt x="27" y="27"/>
                        </a:cubicBezTo>
                        <a:cubicBezTo>
                          <a:pt x="28" y="27"/>
                          <a:pt x="28" y="26"/>
                          <a:pt x="29" y="26"/>
                        </a:cubicBezTo>
                        <a:cubicBezTo>
                          <a:pt x="32" y="27"/>
                          <a:pt x="32" y="28"/>
                          <a:pt x="32" y="28"/>
                        </a:cubicBezTo>
                        <a:cubicBezTo>
                          <a:pt x="33" y="28"/>
                          <a:pt x="34" y="27"/>
                          <a:pt x="34" y="27"/>
                        </a:cubicBezTo>
                        <a:cubicBezTo>
                          <a:pt x="38" y="23"/>
                          <a:pt x="39" y="27"/>
                          <a:pt x="42" y="22"/>
                        </a:cubicBezTo>
                        <a:cubicBezTo>
                          <a:pt x="41" y="20"/>
                          <a:pt x="40" y="19"/>
                          <a:pt x="41" y="19"/>
                        </a:cubicBezTo>
                        <a:cubicBezTo>
                          <a:pt x="42" y="18"/>
                          <a:pt x="40" y="15"/>
                          <a:pt x="39" y="17"/>
                        </a:cubicBezTo>
                        <a:cubicBezTo>
                          <a:pt x="38" y="18"/>
                          <a:pt x="36" y="15"/>
                          <a:pt x="35" y="14"/>
                        </a:cubicBezTo>
                        <a:cubicBezTo>
                          <a:pt x="34" y="14"/>
                          <a:pt x="34" y="12"/>
                          <a:pt x="35" y="12"/>
                        </a:cubicBezTo>
                        <a:cubicBezTo>
                          <a:pt x="36" y="13"/>
                          <a:pt x="36" y="12"/>
                          <a:pt x="34" y="11"/>
                        </a:cubicBezTo>
                        <a:cubicBezTo>
                          <a:pt x="33" y="9"/>
                          <a:pt x="32" y="11"/>
                          <a:pt x="32" y="8"/>
                        </a:cubicBezTo>
                        <a:cubicBezTo>
                          <a:pt x="31" y="4"/>
                          <a:pt x="30" y="6"/>
                          <a:pt x="31" y="2"/>
                        </a:cubicBezTo>
                        <a:cubicBezTo>
                          <a:pt x="30" y="2"/>
                          <a:pt x="30" y="2"/>
                          <a:pt x="29" y="2"/>
                        </a:cubicBezTo>
                        <a:cubicBezTo>
                          <a:pt x="28" y="1"/>
                          <a:pt x="28" y="2"/>
                          <a:pt x="27" y="1"/>
                        </a:cubicBezTo>
                        <a:cubicBezTo>
                          <a:pt x="25" y="0"/>
                          <a:pt x="27" y="2"/>
                          <a:pt x="21" y="4"/>
                        </a:cubicBezTo>
                        <a:cubicBezTo>
                          <a:pt x="18" y="5"/>
                          <a:pt x="20" y="8"/>
                          <a:pt x="18" y="7"/>
                        </a:cubicBezTo>
                        <a:cubicBezTo>
                          <a:pt x="16" y="6"/>
                          <a:pt x="15" y="7"/>
                          <a:pt x="15" y="10"/>
                        </a:cubicBezTo>
                        <a:cubicBezTo>
                          <a:pt x="15" y="12"/>
                          <a:pt x="12" y="9"/>
                          <a:pt x="12" y="11"/>
                        </a:cubicBezTo>
                        <a:cubicBezTo>
                          <a:pt x="12" y="12"/>
                          <a:pt x="12" y="14"/>
                          <a:pt x="10" y="13"/>
                        </a:cubicBezTo>
                        <a:cubicBezTo>
                          <a:pt x="8" y="13"/>
                          <a:pt x="9" y="11"/>
                          <a:pt x="8" y="12"/>
                        </a:cubicBezTo>
                        <a:cubicBezTo>
                          <a:pt x="7" y="13"/>
                          <a:pt x="7" y="14"/>
                          <a:pt x="8" y="15"/>
                        </a:cubicBezTo>
                        <a:cubicBezTo>
                          <a:pt x="9" y="17"/>
                          <a:pt x="6" y="16"/>
                          <a:pt x="6" y="17"/>
                        </a:cubicBezTo>
                        <a:cubicBezTo>
                          <a:pt x="7" y="18"/>
                          <a:pt x="7" y="18"/>
                          <a:pt x="6" y="20"/>
                        </a:cubicBezTo>
                        <a:cubicBezTo>
                          <a:pt x="5" y="22"/>
                          <a:pt x="1" y="21"/>
                          <a:pt x="2" y="22"/>
                        </a:cubicBezTo>
                        <a:cubicBezTo>
                          <a:pt x="2" y="23"/>
                          <a:pt x="2" y="26"/>
                          <a:pt x="1" y="27"/>
                        </a:cubicBezTo>
                        <a:cubicBezTo>
                          <a:pt x="0" y="27"/>
                          <a:pt x="2" y="28"/>
                          <a:pt x="1" y="31"/>
                        </a:cubicBezTo>
                        <a:cubicBezTo>
                          <a:pt x="5" y="32"/>
                          <a:pt x="1" y="32"/>
                          <a:pt x="5" y="35"/>
                        </a:cubicBezTo>
                        <a:cubicBezTo>
                          <a:pt x="9" y="38"/>
                          <a:pt x="6" y="34"/>
                          <a:pt x="10" y="34"/>
                        </a:cubicBezTo>
                        <a:cubicBezTo>
                          <a:pt x="14" y="34"/>
                          <a:pt x="13" y="37"/>
                          <a:pt x="16" y="37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1" name="Freeform 20197">
                    <a:extLst>
                      <a:ext uri="{FF2B5EF4-FFF2-40B4-BE49-F238E27FC236}">
                        <a16:creationId xmlns:a16="http://schemas.microsoft.com/office/drawing/2014/main" id="{29821601-E7BA-EF4E-B858-208C0F374AB9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272023" y="3901639"/>
                    <a:ext cx="80145" cy="181281"/>
                  </a:xfrm>
                  <a:custGeom>
                    <a:avLst/>
                    <a:gdLst/>
                    <a:ahLst/>
                    <a:cxnLst>
                      <a:cxn ang="0">
                        <a:pos x="9" y="5"/>
                      </a:cxn>
                      <a:cxn ang="0">
                        <a:pos x="1" y="10"/>
                      </a:cxn>
                      <a:cxn ang="0">
                        <a:pos x="3" y="16"/>
                      </a:cxn>
                      <a:cxn ang="0">
                        <a:pos x="4" y="21"/>
                      </a:cxn>
                      <a:cxn ang="0">
                        <a:pos x="5" y="35"/>
                      </a:cxn>
                      <a:cxn ang="0">
                        <a:pos x="4" y="36"/>
                      </a:cxn>
                      <a:cxn ang="0">
                        <a:pos x="5" y="40"/>
                      </a:cxn>
                      <a:cxn ang="0">
                        <a:pos x="11" y="40"/>
                      </a:cxn>
                      <a:cxn ang="0">
                        <a:pos x="11" y="26"/>
                      </a:cxn>
                      <a:cxn ang="0">
                        <a:pos x="13" y="21"/>
                      </a:cxn>
                      <a:cxn ang="0">
                        <a:pos x="16" y="14"/>
                      </a:cxn>
                      <a:cxn ang="0">
                        <a:pos x="15" y="6"/>
                      </a:cxn>
                      <a:cxn ang="0">
                        <a:pos x="12" y="2"/>
                      </a:cxn>
                      <a:cxn ang="0">
                        <a:pos x="10" y="2"/>
                      </a:cxn>
                      <a:cxn ang="0">
                        <a:pos x="9" y="5"/>
                      </a:cxn>
                    </a:cxnLst>
                    <a:rect l="0" t="0" r="r" b="b"/>
                    <a:pathLst>
                      <a:path w="18" h="40">
                        <a:moveTo>
                          <a:pt x="9" y="5"/>
                        </a:moveTo>
                        <a:cubicBezTo>
                          <a:pt x="6" y="10"/>
                          <a:pt x="5" y="6"/>
                          <a:pt x="1" y="10"/>
                        </a:cubicBezTo>
                        <a:cubicBezTo>
                          <a:pt x="0" y="14"/>
                          <a:pt x="1" y="15"/>
                          <a:pt x="3" y="16"/>
                        </a:cubicBezTo>
                        <a:cubicBezTo>
                          <a:pt x="5" y="16"/>
                          <a:pt x="3" y="21"/>
                          <a:pt x="4" y="21"/>
                        </a:cubicBezTo>
                        <a:cubicBezTo>
                          <a:pt x="6" y="22"/>
                          <a:pt x="5" y="33"/>
                          <a:pt x="5" y="35"/>
                        </a:cubicBezTo>
                        <a:cubicBezTo>
                          <a:pt x="5" y="36"/>
                          <a:pt x="4" y="35"/>
                          <a:pt x="4" y="36"/>
                        </a:cubicBezTo>
                        <a:cubicBezTo>
                          <a:pt x="5" y="37"/>
                          <a:pt x="6" y="39"/>
                          <a:pt x="5" y="40"/>
                        </a:cubicBezTo>
                        <a:cubicBezTo>
                          <a:pt x="8" y="40"/>
                          <a:pt x="9" y="40"/>
                          <a:pt x="11" y="40"/>
                        </a:cubicBezTo>
                        <a:cubicBezTo>
                          <a:pt x="12" y="34"/>
                          <a:pt x="11" y="31"/>
                          <a:pt x="11" y="26"/>
                        </a:cubicBezTo>
                        <a:cubicBezTo>
                          <a:pt x="11" y="21"/>
                          <a:pt x="12" y="24"/>
                          <a:pt x="13" y="21"/>
                        </a:cubicBezTo>
                        <a:cubicBezTo>
                          <a:pt x="13" y="18"/>
                          <a:pt x="14" y="19"/>
                          <a:pt x="16" y="14"/>
                        </a:cubicBezTo>
                        <a:cubicBezTo>
                          <a:pt x="18" y="9"/>
                          <a:pt x="14" y="9"/>
                          <a:pt x="15" y="6"/>
                        </a:cubicBezTo>
                        <a:cubicBezTo>
                          <a:pt x="14" y="4"/>
                          <a:pt x="14" y="4"/>
                          <a:pt x="12" y="2"/>
                        </a:cubicBezTo>
                        <a:cubicBezTo>
                          <a:pt x="10" y="0"/>
                          <a:pt x="11" y="2"/>
                          <a:pt x="10" y="2"/>
                        </a:cubicBezTo>
                        <a:cubicBezTo>
                          <a:pt x="8" y="2"/>
                          <a:pt x="10" y="3"/>
                          <a:pt x="9" y="5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2" name="Freeform 20198">
                    <a:extLst>
                      <a:ext uri="{FF2B5EF4-FFF2-40B4-BE49-F238E27FC236}">
                        <a16:creationId xmlns:a16="http://schemas.microsoft.com/office/drawing/2014/main" id="{47C8FDCA-BB9A-4441-8547-7C7A97940B8F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050669" y="3947437"/>
                    <a:ext cx="152658" cy="188914"/>
                  </a:xfrm>
                  <a:custGeom>
                    <a:avLst/>
                    <a:gdLst/>
                    <a:ahLst/>
                    <a:cxnLst>
                      <a:cxn ang="0">
                        <a:pos x="32" y="10"/>
                      </a:cxn>
                      <a:cxn ang="0">
                        <a:pos x="32" y="19"/>
                      </a:cxn>
                      <a:cxn ang="0">
                        <a:pos x="29" y="28"/>
                      </a:cxn>
                      <a:cxn ang="0">
                        <a:pos x="30" y="34"/>
                      </a:cxn>
                      <a:cxn ang="0">
                        <a:pos x="31" y="37"/>
                      </a:cxn>
                      <a:cxn ang="0">
                        <a:pos x="29" y="37"/>
                      </a:cxn>
                      <a:cxn ang="0">
                        <a:pos x="26" y="37"/>
                      </a:cxn>
                      <a:cxn ang="0">
                        <a:pos x="23" y="37"/>
                      </a:cxn>
                      <a:cxn ang="0">
                        <a:pos x="14" y="38"/>
                      </a:cxn>
                      <a:cxn ang="0">
                        <a:pos x="6" y="42"/>
                      </a:cxn>
                      <a:cxn ang="0">
                        <a:pos x="7" y="34"/>
                      </a:cxn>
                      <a:cxn ang="0">
                        <a:pos x="5" y="31"/>
                      </a:cxn>
                      <a:cxn ang="0">
                        <a:pos x="1" y="28"/>
                      </a:cxn>
                      <a:cxn ang="0">
                        <a:pos x="1" y="21"/>
                      </a:cxn>
                      <a:cxn ang="0">
                        <a:pos x="4" y="19"/>
                      </a:cxn>
                      <a:cxn ang="0">
                        <a:pos x="2" y="17"/>
                      </a:cxn>
                      <a:cxn ang="0">
                        <a:pos x="6" y="17"/>
                      </a:cxn>
                      <a:cxn ang="0">
                        <a:pos x="5" y="13"/>
                      </a:cxn>
                      <a:cxn ang="0">
                        <a:pos x="3" y="9"/>
                      </a:cxn>
                      <a:cxn ang="0">
                        <a:pos x="4" y="6"/>
                      </a:cxn>
                      <a:cxn ang="0">
                        <a:pos x="10" y="5"/>
                      </a:cxn>
                      <a:cxn ang="0">
                        <a:pos x="13" y="4"/>
                      </a:cxn>
                      <a:cxn ang="0">
                        <a:pos x="17" y="4"/>
                      </a:cxn>
                      <a:cxn ang="0">
                        <a:pos x="21" y="8"/>
                      </a:cxn>
                      <a:cxn ang="0">
                        <a:pos x="26" y="7"/>
                      </a:cxn>
                      <a:cxn ang="0">
                        <a:pos x="32" y="10"/>
                      </a:cxn>
                    </a:cxnLst>
                    <a:rect l="0" t="0" r="r" b="b"/>
                    <a:pathLst>
                      <a:path w="34" h="42">
                        <a:moveTo>
                          <a:pt x="32" y="10"/>
                        </a:moveTo>
                        <a:cubicBezTo>
                          <a:pt x="31" y="12"/>
                          <a:pt x="34" y="19"/>
                          <a:pt x="32" y="19"/>
                        </a:cubicBezTo>
                        <a:cubicBezTo>
                          <a:pt x="31" y="20"/>
                          <a:pt x="30" y="24"/>
                          <a:pt x="29" y="28"/>
                        </a:cubicBezTo>
                        <a:cubicBezTo>
                          <a:pt x="28" y="29"/>
                          <a:pt x="30" y="33"/>
                          <a:pt x="30" y="34"/>
                        </a:cubicBezTo>
                        <a:cubicBezTo>
                          <a:pt x="31" y="35"/>
                          <a:pt x="32" y="38"/>
                          <a:pt x="31" y="37"/>
                        </a:cubicBezTo>
                        <a:cubicBezTo>
                          <a:pt x="31" y="37"/>
                          <a:pt x="31" y="37"/>
                          <a:pt x="29" y="37"/>
                        </a:cubicBezTo>
                        <a:cubicBezTo>
                          <a:pt x="28" y="37"/>
                          <a:pt x="29" y="38"/>
                          <a:pt x="26" y="37"/>
                        </a:cubicBezTo>
                        <a:cubicBezTo>
                          <a:pt x="23" y="37"/>
                          <a:pt x="25" y="37"/>
                          <a:pt x="23" y="37"/>
                        </a:cubicBezTo>
                        <a:cubicBezTo>
                          <a:pt x="20" y="38"/>
                          <a:pt x="20" y="37"/>
                          <a:pt x="14" y="38"/>
                        </a:cubicBezTo>
                        <a:cubicBezTo>
                          <a:pt x="8" y="40"/>
                          <a:pt x="8" y="42"/>
                          <a:pt x="6" y="42"/>
                        </a:cubicBezTo>
                        <a:cubicBezTo>
                          <a:pt x="6" y="39"/>
                          <a:pt x="7" y="37"/>
                          <a:pt x="7" y="34"/>
                        </a:cubicBezTo>
                        <a:cubicBezTo>
                          <a:pt x="7" y="32"/>
                          <a:pt x="5" y="33"/>
                          <a:pt x="5" y="31"/>
                        </a:cubicBezTo>
                        <a:cubicBezTo>
                          <a:pt x="5" y="29"/>
                          <a:pt x="0" y="30"/>
                          <a:pt x="1" y="28"/>
                        </a:cubicBezTo>
                        <a:cubicBezTo>
                          <a:pt x="2" y="26"/>
                          <a:pt x="3" y="25"/>
                          <a:pt x="1" y="21"/>
                        </a:cubicBezTo>
                        <a:cubicBezTo>
                          <a:pt x="3" y="23"/>
                          <a:pt x="4" y="21"/>
                          <a:pt x="4" y="19"/>
                        </a:cubicBezTo>
                        <a:cubicBezTo>
                          <a:pt x="4" y="17"/>
                          <a:pt x="3" y="19"/>
                          <a:pt x="2" y="17"/>
                        </a:cubicBezTo>
                        <a:cubicBezTo>
                          <a:pt x="2" y="16"/>
                          <a:pt x="3" y="16"/>
                          <a:pt x="6" y="17"/>
                        </a:cubicBezTo>
                        <a:cubicBezTo>
                          <a:pt x="6" y="14"/>
                          <a:pt x="3" y="15"/>
                          <a:pt x="5" y="13"/>
                        </a:cubicBezTo>
                        <a:cubicBezTo>
                          <a:pt x="6" y="11"/>
                          <a:pt x="3" y="11"/>
                          <a:pt x="3" y="9"/>
                        </a:cubicBezTo>
                        <a:cubicBezTo>
                          <a:pt x="4" y="7"/>
                          <a:pt x="2" y="7"/>
                          <a:pt x="4" y="6"/>
                        </a:cubicBezTo>
                        <a:cubicBezTo>
                          <a:pt x="8" y="1"/>
                          <a:pt x="7" y="8"/>
                          <a:pt x="10" y="5"/>
                        </a:cubicBezTo>
                        <a:cubicBezTo>
                          <a:pt x="12" y="2"/>
                          <a:pt x="13" y="0"/>
                          <a:pt x="13" y="4"/>
                        </a:cubicBezTo>
                        <a:cubicBezTo>
                          <a:pt x="13" y="7"/>
                          <a:pt x="15" y="4"/>
                          <a:pt x="17" y="4"/>
                        </a:cubicBezTo>
                        <a:cubicBezTo>
                          <a:pt x="21" y="5"/>
                          <a:pt x="17" y="5"/>
                          <a:pt x="21" y="8"/>
                        </a:cubicBezTo>
                        <a:cubicBezTo>
                          <a:pt x="25" y="11"/>
                          <a:pt x="22" y="7"/>
                          <a:pt x="26" y="7"/>
                        </a:cubicBezTo>
                        <a:cubicBezTo>
                          <a:pt x="30" y="7"/>
                          <a:pt x="29" y="10"/>
                          <a:pt x="32" y="1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3" name="Freeform 20199">
                    <a:extLst>
                      <a:ext uri="{FF2B5EF4-FFF2-40B4-BE49-F238E27FC236}">
                        <a16:creationId xmlns:a16="http://schemas.microsoft.com/office/drawing/2014/main" id="{25A4943A-76EB-E747-87E8-CE6848BD072C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176614" y="3943621"/>
                    <a:ext cx="108769" cy="188914"/>
                  </a:xfrm>
                  <a:custGeom>
                    <a:avLst/>
                    <a:gdLst/>
                    <a:ahLst/>
                    <a:cxnLst>
                      <a:cxn ang="0">
                        <a:pos x="17" y="0"/>
                      </a:cxn>
                      <a:cxn ang="0">
                        <a:pos x="19" y="9"/>
                      </a:cxn>
                      <a:cxn ang="0">
                        <a:pos x="20" y="14"/>
                      </a:cxn>
                      <a:cxn ang="0">
                        <a:pos x="20" y="21"/>
                      </a:cxn>
                      <a:cxn ang="0">
                        <a:pos x="21" y="26"/>
                      </a:cxn>
                      <a:cxn ang="0">
                        <a:pos x="24" y="32"/>
                      </a:cxn>
                      <a:cxn ang="0">
                        <a:pos x="21" y="34"/>
                      </a:cxn>
                      <a:cxn ang="0">
                        <a:pos x="12" y="38"/>
                      </a:cxn>
                      <a:cxn ang="0">
                        <a:pos x="6" y="41"/>
                      </a:cxn>
                      <a:cxn ang="0">
                        <a:pos x="1" y="39"/>
                      </a:cxn>
                      <a:cxn ang="0">
                        <a:pos x="3" y="38"/>
                      </a:cxn>
                      <a:cxn ang="0">
                        <a:pos x="2" y="35"/>
                      </a:cxn>
                      <a:cxn ang="0">
                        <a:pos x="1" y="29"/>
                      </a:cxn>
                      <a:cxn ang="0">
                        <a:pos x="4" y="20"/>
                      </a:cxn>
                      <a:cxn ang="0">
                        <a:pos x="4" y="11"/>
                      </a:cxn>
                      <a:cxn ang="0">
                        <a:pos x="3" y="5"/>
                      </a:cxn>
                      <a:cxn ang="0">
                        <a:pos x="3" y="1"/>
                      </a:cxn>
                      <a:cxn ang="0">
                        <a:pos x="13" y="1"/>
                      </a:cxn>
                      <a:cxn ang="0">
                        <a:pos x="15" y="1"/>
                      </a:cxn>
                      <a:cxn ang="0">
                        <a:pos x="17" y="0"/>
                      </a:cxn>
                    </a:cxnLst>
                    <a:rect l="0" t="0" r="r" b="b"/>
                    <a:pathLst>
                      <a:path w="24" h="42">
                        <a:moveTo>
                          <a:pt x="17" y="0"/>
                        </a:moveTo>
                        <a:cubicBezTo>
                          <a:pt x="17" y="6"/>
                          <a:pt x="20" y="4"/>
                          <a:pt x="19" y="9"/>
                        </a:cubicBezTo>
                        <a:cubicBezTo>
                          <a:pt x="18" y="14"/>
                          <a:pt x="21" y="9"/>
                          <a:pt x="20" y="14"/>
                        </a:cubicBezTo>
                        <a:cubicBezTo>
                          <a:pt x="19" y="18"/>
                          <a:pt x="22" y="15"/>
                          <a:pt x="20" y="21"/>
                        </a:cubicBezTo>
                        <a:cubicBezTo>
                          <a:pt x="19" y="27"/>
                          <a:pt x="21" y="22"/>
                          <a:pt x="21" y="26"/>
                        </a:cubicBezTo>
                        <a:cubicBezTo>
                          <a:pt x="20" y="29"/>
                          <a:pt x="22" y="30"/>
                          <a:pt x="24" y="32"/>
                        </a:cubicBezTo>
                        <a:cubicBezTo>
                          <a:pt x="22" y="33"/>
                          <a:pt x="24" y="34"/>
                          <a:pt x="21" y="34"/>
                        </a:cubicBezTo>
                        <a:cubicBezTo>
                          <a:pt x="15" y="35"/>
                          <a:pt x="16" y="38"/>
                          <a:pt x="12" y="38"/>
                        </a:cubicBezTo>
                        <a:cubicBezTo>
                          <a:pt x="9" y="39"/>
                          <a:pt x="8" y="42"/>
                          <a:pt x="6" y="41"/>
                        </a:cubicBezTo>
                        <a:cubicBezTo>
                          <a:pt x="5" y="39"/>
                          <a:pt x="2" y="39"/>
                          <a:pt x="1" y="39"/>
                        </a:cubicBezTo>
                        <a:cubicBezTo>
                          <a:pt x="0" y="39"/>
                          <a:pt x="2" y="39"/>
                          <a:pt x="3" y="38"/>
                        </a:cubicBezTo>
                        <a:cubicBezTo>
                          <a:pt x="4" y="39"/>
                          <a:pt x="3" y="36"/>
                          <a:pt x="2" y="35"/>
                        </a:cubicBezTo>
                        <a:cubicBezTo>
                          <a:pt x="2" y="34"/>
                          <a:pt x="0" y="30"/>
                          <a:pt x="1" y="29"/>
                        </a:cubicBezTo>
                        <a:cubicBezTo>
                          <a:pt x="2" y="25"/>
                          <a:pt x="3" y="21"/>
                          <a:pt x="4" y="20"/>
                        </a:cubicBezTo>
                        <a:cubicBezTo>
                          <a:pt x="6" y="20"/>
                          <a:pt x="3" y="13"/>
                          <a:pt x="4" y="11"/>
                        </a:cubicBezTo>
                        <a:cubicBezTo>
                          <a:pt x="3" y="9"/>
                          <a:pt x="3" y="6"/>
                          <a:pt x="3" y="5"/>
                        </a:cubicBezTo>
                        <a:cubicBezTo>
                          <a:pt x="3" y="5"/>
                          <a:pt x="1" y="1"/>
                          <a:pt x="3" y="1"/>
                        </a:cubicBezTo>
                        <a:cubicBezTo>
                          <a:pt x="5" y="1"/>
                          <a:pt x="12" y="1"/>
                          <a:pt x="13" y="1"/>
                        </a:cubicBezTo>
                        <a:cubicBezTo>
                          <a:pt x="14" y="1"/>
                          <a:pt x="14" y="2"/>
                          <a:pt x="15" y="1"/>
                        </a:cubicBezTo>
                        <a:cubicBezTo>
                          <a:pt x="16" y="1"/>
                          <a:pt x="16" y="0"/>
                          <a:pt x="17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4" name="Freeform 20200">
                    <a:extLst>
                      <a:ext uri="{FF2B5EF4-FFF2-40B4-BE49-F238E27FC236}">
                        <a16:creationId xmlns:a16="http://schemas.microsoft.com/office/drawing/2014/main" id="{1C730264-0D0B-1A4A-B114-23B2E3D71C44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252942" y="3943621"/>
                    <a:ext cx="45796" cy="143117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3" y="2"/>
                      </a:cxn>
                      <a:cxn ang="0">
                        <a:pos x="5" y="1"/>
                      </a:cxn>
                      <a:cxn ang="0">
                        <a:pos x="7" y="7"/>
                      </a:cxn>
                      <a:cxn ang="0">
                        <a:pos x="8" y="12"/>
                      </a:cxn>
                      <a:cxn ang="0">
                        <a:pos x="9" y="26"/>
                      </a:cxn>
                      <a:cxn ang="0">
                        <a:pos x="8" y="27"/>
                      </a:cxn>
                      <a:cxn ang="0">
                        <a:pos x="9" y="31"/>
                      </a:cxn>
                      <a:cxn ang="0">
                        <a:pos x="7" y="32"/>
                      </a:cxn>
                      <a:cxn ang="0">
                        <a:pos x="4" y="26"/>
                      </a:cxn>
                      <a:cxn ang="0">
                        <a:pos x="3" y="21"/>
                      </a:cxn>
                      <a:cxn ang="0">
                        <a:pos x="3" y="14"/>
                      </a:cxn>
                      <a:cxn ang="0">
                        <a:pos x="2" y="9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10" h="32">
                        <a:moveTo>
                          <a:pt x="0" y="0"/>
                        </a:moveTo>
                        <a:cubicBezTo>
                          <a:pt x="3" y="1"/>
                          <a:pt x="3" y="2"/>
                          <a:pt x="3" y="2"/>
                        </a:cubicBezTo>
                        <a:cubicBezTo>
                          <a:pt x="4" y="2"/>
                          <a:pt x="5" y="1"/>
                          <a:pt x="5" y="1"/>
                        </a:cubicBezTo>
                        <a:cubicBezTo>
                          <a:pt x="4" y="5"/>
                          <a:pt x="5" y="6"/>
                          <a:pt x="7" y="7"/>
                        </a:cubicBezTo>
                        <a:cubicBezTo>
                          <a:pt x="9" y="7"/>
                          <a:pt x="7" y="12"/>
                          <a:pt x="8" y="12"/>
                        </a:cubicBezTo>
                        <a:cubicBezTo>
                          <a:pt x="10" y="13"/>
                          <a:pt x="9" y="24"/>
                          <a:pt x="9" y="26"/>
                        </a:cubicBezTo>
                        <a:cubicBezTo>
                          <a:pt x="9" y="27"/>
                          <a:pt x="8" y="26"/>
                          <a:pt x="8" y="27"/>
                        </a:cubicBezTo>
                        <a:cubicBezTo>
                          <a:pt x="9" y="28"/>
                          <a:pt x="10" y="30"/>
                          <a:pt x="9" y="31"/>
                        </a:cubicBezTo>
                        <a:cubicBezTo>
                          <a:pt x="8" y="32"/>
                          <a:pt x="7" y="32"/>
                          <a:pt x="7" y="32"/>
                        </a:cubicBezTo>
                        <a:cubicBezTo>
                          <a:pt x="5" y="30"/>
                          <a:pt x="3" y="29"/>
                          <a:pt x="4" y="26"/>
                        </a:cubicBezTo>
                        <a:cubicBezTo>
                          <a:pt x="4" y="22"/>
                          <a:pt x="2" y="27"/>
                          <a:pt x="3" y="21"/>
                        </a:cubicBezTo>
                        <a:cubicBezTo>
                          <a:pt x="5" y="15"/>
                          <a:pt x="2" y="18"/>
                          <a:pt x="3" y="14"/>
                        </a:cubicBezTo>
                        <a:cubicBezTo>
                          <a:pt x="4" y="9"/>
                          <a:pt x="1" y="14"/>
                          <a:pt x="2" y="9"/>
                        </a:cubicBezTo>
                        <a:cubicBezTo>
                          <a:pt x="3" y="4"/>
                          <a:pt x="0" y="6"/>
                          <a:pt x="0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5" name="Freeform 20204">
                    <a:extLst>
                      <a:ext uri="{FF2B5EF4-FFF2-40B4-BE49-F238E27FC236}">
                        <a16:creationId xmlns:a16="http://schemas.microsoft.com/office/drawing/2014/main" id="{56707EE0-8989-4B47-8ABB-44D6C1DFF7F6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987698" y="4019950"/>
                    <a:ext cx="93504" cy="122127"/>
                  </a:xfrm>
                  <a:custGeom>
                    <a:avLst/>
                    <a:gdLst/>
                    <a:ahLst/>
                    <a:cxnLst>
                      <a:cxn ang="0">
                        <a:pos x="6" y="0"/>
                      </a:cxn>
                      <a:cxn ang="0">
                        <a:pos x="10" y="2"/>
                      </a:cxn>
                      <a:cxn ang="0">
                        <a:pos x="10" y="6"/>
                      </a:cxn>
                      <a:cxn ang="0">
                        <a:pos x="12" y="8"/>
                      </a:cxn>
                      <a:cxn ang="0">
                        <a:pos x="15" y="5"/>
                      </a:cxn>
                      <a:cxn ang="0">
                        <a:pos x="15" y="12"/>
                      </a:cxn>
                      <a:cxn ang="0">
                        <a:pos x="19" y="15"/>
                      </a:cxn>
                      <a:cxn ang="0">
                        <a:pos x="21" y="18"/>
                      </a:cxn>
                      <a:cxn ang="0">
                        <a:pos x="20" y="26"/>
                      </a:cxn>
                      <a:cxn ang="0">
                        <a:pos x="17" y="25"/>
                      </a:cxn>
                      <a:cxn ang="0">
                        <a:pos x="8" y="18"/>
                      </a:cxn>
                      <a:cxn ang="0">
                        <a:pos x="3" y="14"/>
                      </a:cxn>
                      <a:cxn ang="0">
                        <a:pos x="0" y="10"/>
                      </a:cxn>
                      <a:cxn ang="0">
                        <a:pos x="4" y="4"/>
                      </a:cxn>
                      <a:cxn ang="0">
                        <a:pos x="6" y="0"/>
                      </a:cxn>
                    </a:cxnLst>
                    <a:rect l="0" t="0" r="r" b="b"/>
                    <a:pathLst>
                      <a:path w="21" h="27">
                        <a:moveTo>
                          <a:pt x="6" y="0"/>
                        </a:moveTo>
                        <a:cubicBezTo>
                          <a:pt x="7" y="0"/>
                          <a:pt x="11" y="0"/>
                          <a:pt x="10" y="2"/>
                        </a:cubicBezTo>
                        <a:cubicBezTo>
                          <a:pt x="10" y="3"/>
                          <a:pt x="11" y="4"/>
                          <a:pt x="10" y="6"/>
                        </a:cubicBezTo>
                        <a:cubicBezTo>
                          <a:pt x="10" y="8"/>
                          <a:pt x="11" y="6"/>
                          <a:pt x="12" y="8"/>
                        </a:cubicBezTo>
                        <a:cubicBezTo>
                          <a:pt x="13" y="10"/>
                          <a:pt x="14" y="4"/>
                          <a:pt x="15" y="5"/>
                        </a:cubicBezTo>
                        <a:cubicBezTo>
                          <a:pt x="17" y="9"/>
                          <a:pt x="16" y="10"/>
                          <a:pt x="15" y="12"/>
                        </a:cubicBezTo>
                        <a:cubicBezTo>
                          <a:pt x="14" y="14"/>
                          <a:pt x="19" y="13"/>
                          <a:pt x="19" y="15"/>
                        </a:cubicBezTo>
                        <a:cubicBezTo>
                          <a:pt x="19" y="17"/>
                          <a:pt x="21" y="16"/>
                          <a:pt x="21" y="18"/>
                        </a:cubicBezTo>
                        <a:cubicBezTo>
                          <a:pt x="21" y="21"/>
                          <a:pt x="20" y="23"/>
                          <a:pt x="20" y="26"/>
                        </a:cubicBezTo>
                        <a:cubicBezTo>
                          <a:pt x="19" y="27"/>
                          <a:pt x="20" y="26"/>
                          <a:pt x="17" y="25"/>
                        </a:cubicBezTo>
                        <a:cubicBezTo>
                          <a:pt x="15" y="24"/>
                          <a:pt x="11" y="22"/>
                          <a:pt x="8" y="18"/>
                        </a:cubicBezTo>
                        <a:cubicBezTo>
                          <a:pt x="5" y="14"/>
                          <a:pt x="4" y="15"/>
                          <a:pt x="3" y="14"/>
                        </a:cubicBezTo>
                        <a:cubicBezTo>
                          <a:pt x="3" y="12"/>
                          <a:pt x="1" y="12"/>
                          <a:pt x="0" y="10"/>
                        </a:cubicBezTo>
                        <a:cubicBezTo>
                          <a:pt x="3" y="5"/>
                          <a:pt x="4" y="6"/>
                          <a:pt x="4" y="4"/>
                        </a:cubicBezTo>
                        <a:cubicBezTo>
                          <a:pt x="4" y="2"/>
                          <a:pt x="6" y="3"/>
                          <a:pt x="6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6" name="Freeform 20205">
                    <a:extLst>
                      <a:ext uri="{FF2B5EF4-FFF2-40B4-BE49-F238E27FC236}">
                        <a16:creationId xmlns:a16="http://schemas.microsoft.com/office/drawing/2014/main" id="{4BA82068-95A7-3F4E-931D-A1B54B90ED39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941899" y="3974152"/>
                    <a:ext cx="72512" cy="91595"/>
                  </a:xfrm>
                  <a:custGeom>
                    <a:avLst/>
                    <a:gdLst/>
                    <a:ahLst/>
                    <a:cxnLst>
                      <a:cxn ang="0">
                        <a:pos x="10" y="20"/>
                      </a:cxn>
                      <a:cxn ang="0">
                        <a:pos x="14" y="14"/>
                      </a:cxn>
                      <a:cxn ang="0">
                        <a:pos x="16" y="10"/>
                      </a:cxn>
                      <a:cxn ang="0">
                        <a:pos x="15" y="8"/>
                      </a:cxn>
                      <a:cxn ang="0">
                        <a:pos x="14" y="6"/>
                      </a:cxn>
                      <a:cxn ang="0">
                        <a:pos x="12" y="2"/>
                      </a:cxn>
                      <a:cxn ang="0">
                        <a:pos x="7" y="1"/>
                      </a:cxn>
                      <a:cxn ang="0">
                        <a:pos x="4" y="2"/>
                      </a:cxn>
                      <a:cxn ang="0">
                        <a:pos x="0" y="7"/>
                      </a:cxn>
                      <a:cxn ang="0">
                        <a:pos x="0" y="9"/>
                      </a:cxn>
                      <a:cxn ang="0">
                        <a:pos x="2" y="10"/>
                      </a:cxn>
                      <a:cxn ang="0">
                        <a:pos x="0" y="11"/>
                      </a:cxn>
                      <a:cxn ang="0">
                        <a:pos x="2" y="13"/>
                      </a:cxn>
                      <a:cxn ang="0">
                        <a:pos x="2" y="14"/>
                      </a:cxn>
                      <a:cxn ang="0">
                        <a:pos x="4" y="16"/>
                      </a:cxn>
                      <a:cxn ang="0">
                        <a:pos x="5" y="18"/>
                      </a:cxn>
                      <a:cxn ang="0">
                        <a:pos x="10" y="20"/>
                      </a:cxn>
                    </a:cxnLst>
                    <a:rect l="0" t="0" r="r" b="b"/>
                    <a:pathLst>
                      <a:path w="16" h="20">
                        <a:moveTo>
                          <a:pt x="10" y="20"/>
                        </a:moveTo>
                        <a:cubicBezTo>
                          <a:pt x="13" y="15"/>
                          <a:pt x="14" y="16"/>
                          <a:pt x="14" y="14"/>
                        </a:cubicBezTo>
                        <a:cubicBezTo>
                          <a:pt x="14" y="12"/>
                          <a:pt x="16" y="13"/>
                          <a:pt x="16" y="10"/>
                        </a:cubicBezTo>
                        <a:cubicBezTo>
                          <a:pt x="13" y="13"/>
                          <a:pt x="15" y="9"/>
                          <a:pt x="15" y="8"/>
                        </a:cubicBezTo>
                        <a:cubicBezTo>
                          <a:pt x="14" y="6"/>
                          <a:pt x="14" y="6"/>
                          <a:pt x="14" y="6"/>
                        </a:cubicBezTo>
                        <a:cubicBezTo>
                          <a:pt x="14" y="4"/>
                          <a:pt x="13" y="5"/>
                          <a:pt x="12" y="2"/>
                        </a:cubicBezTo>
                        <a:cubicBezTo>
                          <a:pt x="11" y="0"/>
                          <a:pt x="7" y="0"/>
                          <a:pt x="7" y="1"/>
                        </a:cubicBezTo>
                        <a:cubicBezTo>
                          <a:pt x="7" y="2"/>
                          <a:pt x="5" y="0"/>
                          <a:pt x="4" y="2"/>
                        </a:cubicBezTo>
                        <a:cubicBezTo>
                          <a:pt x="4" y="5"/>
                          <a:pt x="2" y="6"/>
                          <a:pt x="0" y="7"/>
                        </a:cubicBezTo>
                        <a:cubicBezTo>
                          <a:pt x="2" y="8"/>
                          <a:pt x="0" y="8"/>
                          <a:pt x="0" y="9"/>
                        </a:cubicBezTo>
                        <a:cubicBezTo>
                          <a:pt x="1" y="10"/>
                          <a:pt x="1" y="9"/>
                          <a:pt x="2" y="10"/>
                        </a:cubicBezTo>
                        <a:cubicBezTo>
                          <a:pt x="1" y="11"/>
                          <a:pt x="0" y="9"/>
                          <a:pt x="0" y="11"/>
                        </a:cubicBezTo>
                        <a:cubicBezTo>
                          <a:pt x="1" y="13"/>
                          <a:pt x="2" y="11"/>
                          <a:pt x="2" y="13"/>
                        </a:cubicBezTo>
                        <a:cubicBezTo>
                          <a:pt x="3" y="14"/>
                          <a:pt x="1" y="13"/>
                          <a:pt x="2" y="14"/>
                        </a:cubicBezTo>
                        <a:cubicBezTo>
                          <a:pt x="2" y="15"/>
                          <a:pt x="4" y="15"/>
                          <a:pt x="4" y="16"/>
                        </a:cubicBezTo>
                        <a:cubicBezTo>
                          <a:pt x="5" y="17"/>
                          <a:pt x="3" y="17"/>
                          <a:pt x="5" y="18"/>
                        </a:cubicBezTo>
                        <a:cubicBezTo>
                          <a:pt x="7" y="18"/>
                          <a:pt x="9" y="19"/>
                          <a:pt x="10" y="2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7" name="Freeform 20206">
                    <a:extLst>
                      <a:ext uri="{FF2B5EF4-FFF2-40B4-BE49-F238E27FC236}">
                        <a16:creationId xmlns:a16="http://schemas.microsoft.com/office/drawing/2014/main" id="{57717974-81C2-8742-A5B2-27F53AFC0434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842674" y="3785238"/>
                    <a:ext cx="148842" cy="125943"/>
                  </a:xfrm>
                  <a:custGeom>
                    <a:avLst/>
                    <a:gdLst/>
                    <a:ahLst/>
                    <a:cxnLst>
                      <a:cxn ang="0">
                        <a:pos x="5" y="20"/>
                      </a:cxn>
                      <a:cxn ang="0">
                        <a:pos x="2" y="13"/>
                      </a:cxn>
                      <a:cxn ang="0">
                        <a:pos x="1" y="12"/>
                      </a:cxn>
                      <a:cxn ang="0">
                        <a:pos x="6" y="3"/>
                      </a:cxn>
                      <a:cxn ang="0">
                        <a:pos x="16" y="1"/>
                      </a:cxn>
                      <a:cxn ang="0">
                        <a:pos x="21" y="4"/>
                      </a:cxn>
                      <a:cxn ang="0">
                        <a:pos x="28" y="13"/>
                      </a:cxn>
                      <a:cxn ang="0">
                        <a:pos x="29" y="17"/>
                      </a:cxn>
                      <a:cxn ang="0">
                        <a:pos x="29" y="20"/>
                      </a:cxn>
                      <a:cxn ang="0">
                        <a:pos x="32" y="23"/>
                      </a:cxn>
                      <a:cxn ang="0">
                        <a:pos x="32" y="27"/>
                      </a:cxn>
                      <a:cxn ang="0">
                        <a:pos x="28" y="27"/>
                      </a:cxn>
                      <a:cxn ang="0">
                        <a:pos x="20" y="26"/>
                      </a:cxn>
                      <a:cxn ang="0">
                        <a:pos x="12" y="26"/>
                      </a:cxn>
                      <a:cxn ang="0">
                        <a:pos x="11" y="27"/>
                      </a:cxn>
                      <a:cxn ang="0">
                        <a:pos x="5" y="28"/>
                      </a:cxn>
                      <a:cxn ang="0">
                        <a:pos x="4" y="27"/>
                      </a:cxn>
                      <a:cxn ang="0">
                        <a:pos x="10" y="26"/>
                      </a:cxn>
                      <a:cxn ang="0">
                        <a:pos x="7" y="26"/>
                      </a:cxn>
                      <a:cxn ang="0">
                        <a:pos x="5" y="26"/>
                      </a:cxn>
                      <a:cxn ang="0">
                        <a:pos x="4" y="23"/>
                      </a:cxn>
                      <a:cxn ang="0">
                        <a:pos x="9" y="22"/>
                      </a:cxn>
                      <a:cxn ang="0">
                        <a:pos x="12" y="21"/>
                      </a:cxn>
                      <a:cxn ang="0">
                        <a:pos x="16" y="21"/>
                      </a:cxn>
                      <a:cxn ang="0">
                        <a:pos x="20" y="20"/>
                      </a:cxn>
                      <a:cxn ang="0">
                        <a:pos x="16" y="20"/>
                      </a:cxn>
                      <a:cxn ang="0">
                        <a:pos x="14" y="19"/>
                      </a:cxn>
                      <a:cxn ang="0">
                        <a:pos x="11" y="20"/>
                      </a:cxn>
                      <a:cxn ang="0">
                        <a:pos x="5" y="20"/>
                      </a:cxn>
                    </a:cxnLst>
                    <a:rect l="0" t="0" r="r" b="b"/>
                    <a:pathLst>
                      <a:path w="33" h="28">
                        <a:moveTo>
                          <a:pt x="5" y="20"/>
                        </a:moveTo>
                        <a:cubicBezTo>
                          <a:pt x="3" y="18"/>
                          <a:pt x="3" y="12"/>
                          <a:pt x="2" y="13"/>
                        </a:cubicBezTo>
                        <a:cubicBezTo>
                          <a:pt x="0" y="13"/>
                          <a:pt x="0" y="12"/>
                          <a:pt x="1" y="12"/>
                        </a:cubicBezTo>
                        <a:cubicBezTo>
                          <a:pt x="4" y="10"/>
                          <a:pt x="6" y="5"/>
                          <a:pt x="6" y="3"/>
                        </a:cubicBezTo>
                        <a:cubicBezTo>
                          <a:pt x="6" y="0"/>
                          <a:pt x="13" y="1"/>
                          <a:pt x="16" y="1"/>
                        </a:cubicBezTo>
                        <a:cubicBezTo>
                          <a:pt x="18" y="0"/>
                          <a:pt x="20" y="3"/>
                          <a:pt x="21" y="4"/>
                        </a:cubicBezTo>
                        <a:cubicBezTo>
                          <a:pt x="23" y="5"/>
                          <a:pt x="26" y="11"/>
                          <a:pt x="28" y="13"/>
                        </a:cubicBezTo>
                        <a:cubicBezTo>
                          <a:pt x="27" y="16"/>
                          <a:pt x="29" y="14"/>
                          <a:pt x="29" y="17"/>
                        </a:cubicBezTo>
                        <a:cubicBezTo>
                          <a:pt x="29" y="20"/>
                          <a:pt x="28" y="18"/>
                          <a:pt x="29" y="20"/>
                        </a:cubicBezTo>
                        <a:cubicBezTo>
                          <a:pt x="30" y="23"/>
                          <a:pt x="30" y="20"/>
                          <a:pt x="32" y="23"/>
                        </a:cubicBezTo>
                        <a:cubicBezTo>
                          <a:pt x="33" y="25"/>
                          <a:pt x="32" y="25"/>
                          <a:pt x="32" y="27"/>
                        </a:cubicBezTo>
                        <a:cubicBezTo>
                          <a:pt x="31" y="27"/>
                          <a:pt x="29" y="26"/>
                          <a:pt x="28" y="27"/>
                        </a:cubicBezTo>
                        <a:cubicBezTo>
                          <a:pt x="26" y="28"/>
                          <a:pt x="24" y="26"/>
                          <a:pt x="20" y="26"/>
                        </a:cubicBezTo>
                        <a:cubicBezTo>
                          <a:pt x="18" y="26"/>
                          <a:pt x="14" y="25"/>
                          <a:pt x="12" y="26"/>
                        </a:cubicBezTo>
                        <a:cubicBezTo>
                          <a:pt x="9" y="26"/>
                          <a:pt x="13" y="26"/>
                          <a:pt x="11" y="27"/>
                        </a:cubicBezTo>
                        <a:cubicBezTo>
                          <a:pt x="9" y="28"/>
                          <a:pt x="7" y="27"/>
                          <a:pt x="5" y="28"/>
                        </a:cubicBezTo>
                        <a:cubicBezTo>
                          <a:pt x="5" y="27"/>
                          <a:pt x="4" y="28"/>
                          <a:pt x="4" y="27"/>
                        </a:cubicBezTo>
                        <a:cubicBezTo>
                          <a:pt x="6" y="25"/>
                          <a:pt x="5" y="27"/>
                          <a:pt x="10" y="26"/>
                        </a:cubicBezTo>
                        <a:cubicBezTo>
                          <a:pt x="9" y="26"/>
                          <a:pt x="8" y="25"/>
                          <a:pt x="7" y="26"/>
                        </a:cubicBezTo>
                        <a:cubicBezTo>
                          <a:pt x="6" y="26"/>
                          <a:pt x="6" y="25"/>
                          <a:pt x="5" y="26"/>
                        </a:cubicBezTo>
                        <a:cubicBezTo>
                          <a:pt x="4" y="27"/>
                          <a:pt x="5" y="25"/>
                          <a:pt x="4" y="23"/>
                        </a:cubicBezTo>
                        <a:cubicBezTo>
                          <a:pt x="6" y="22"/>
                          <a:pt x="10" y="24"/>
                          <a:pt x="9" y="22"/>
                        </a:cubicBezTo>
                        <a:cubicBezTo>
                          <a:pt x="9" y="21"/>
                          <a:pt x="12" y="22"/>
                          <a:pt x="12" y="21"/>
                        </a:cubicBezTo>
                        <a:cubicBezTo>
                          <a:pt x="13" y="19"/>
                          <a:pt x="12" y="20"/>
                          <a:pt x="16" y="21"/>
                        </a:cubicBezTo>
                        <a:cubicBezTo>
                          <a:pt x="18" y="22"/>
                          <a:pt x="20" y="22"/>
                          <a:pt x="20" y="20"/>
                        </a:cubicBezTo>
                        <a:cubicBezTo>
                          <a:pt x="19" y="19"/>
                          <a:pt x="17" y="22"/>
                          <a:pt x="16" y="20"/>
                        </a:cubicBezTo>
                        <a:cubicBezTo>
                          <a:pt x="15" y="18"/>
                          <a:pt x="15" y="20"/>
                          <a:pt x="14" y="19"/>
                        </a:cubicBezTo>
                        <a:cubicBezTo>
                          <a:pt x="14" y="18"/>
                          <a:pt x="12" y="19"/>
                          <a:pt x="11" y="20"/>
                        </a:cubicBezTo>
                        <a:cubicBezTo>
                          <a:pt x="11" y="20"/>
                          <a:pt x="10" y="20"/>
                          <a:pt x="5" y="2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8" name="Freeform 20207">
                    <a:extLst>
                      <a:ext uri="{FF2B5EF4-FFF2-40B4-BE49-F238E27FC236}">
                        <a16:creationId xmlns:a16="http://schemas.microsoft.com/office/drawing/2014/main" id="{28E6C198-9A6B-6642-8BE3-E8F798C63184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856031" y="3865384"/>
                    <a:ext cx="76329" cy="26714"/>
                  </a:xfrm>
                  <a:custGeom>
                    <a:avLst/>
                    <a:gdLst/>
                    <a:ahLst/>
                    <a:cxnLst>
                      <a:cxn ang="0">
                        <a:pos x="2" y="2"/>
                      </a:cxn>
                      <a:cxn ang="0">
                        <a:pos x="8" y="3"/>
                      </a:cxn>
                      <a:cxn ang="0">
                        <a:pos x="2" y="3"/>
                      </a:cxn>
                      <a:cxn ang="0">
                        <a:pos x="1" y="5"/>
                      </a:cxn>
                      <a:cxn ang="0">
                        <a:pos x="6" y="4"/>
                      </a:cxn>
                      <a:cxn ang="0">
                        <a:pos x="9" y="3"/>
                      </a:cxn>
                      <a:cxn ang="0">
                        <a:pos x="13" y="3"/>
                      </a:cxn>
                      <a:cxn ang="0">
                        <a:pos x="17" y="2"/>
                      </a:cxn>
                      <a:cxn ang="0">
                        <a:pos x="13" y="2"/>
                      </a:cxn>
                      <a:cxn ang="0">
                        <a:pos x="11" y="1"/>
                      </a:cxn>
                      <a:cxn ang="0">
                        <a:pos x="8" y="2"/>
                      </a:cxn>
                      <a:cxn ang="0">
                        <a:pos x="2" y="2"/>
                      </a:cxn>
                    </a:cxnLst>
                    <a:rect l="0" t="0" r="r" b="b"/>
                    <a:pathLst>
                      <a:path w="17" h="6">
                        <a:moveTo>
                          <a:pt x="2" y="2"/>
                        </a:moveTo>
                        <a:cubicBezTo>
                          <a:pt x="3" y="4"/>
                          <a:pt x="4" y="2"/>
                          <a:pt x="8" y="3"/>
                        </a:cubicBezTo>
                        <a:cubicBezTo>
                          <a:pt x="4" y="3"/>
                          <a:pt x="3" y="5"/>
                          <a:pt x="2" y="3"/>
                        </a:cubicBezTo>
                        <a:cubicBezTo>
                          <a:pt x="1" y="2"/>
                          <a:pt x="0" y="4"/>
                          <a:pt x="1" y="5"/>
                        </a:cubicBezTo>
                        <a:cubicBezTo>
                          <a:pt x="3" y="4"/>
                          <a:pt x="7" y="6"/>
                          <a:pt x="6" y="4"/>
                        </a:cubicBezTo>
                        <a:cubicBezTo>
                          <a:pt x="6" y="3"/>
                          <a:pt x="9" y="4"/>
                          <a:pt x="9" y="3"/>
                        </a:cubicBezTo>
                        <a:cubicBezTo>
                          <a:pt x="10" y="1"/>
                          <a:pt x="9" y="2"/>
                          <a:pt x="13" y="3"/>
                        </a:cubicBezTo>
                        <a:cubicBezTo>
                          <a:pt x="15" y="4"/>
                          <a:pt x="17" y="4"/>
                          <a:pt x="17" y="2"/>
                        </a:cubicBezTo>
                        <a:cubicBezTo>
                          <a:pt x="16" y="1"/>
                          <a:pt x="14" y="4"/>
                          <a:pt x="13" y="2"/>
                        </a:cubicBezTo>
                        <a:cubicBezTo>
                          <a:pt x="12" y="0"/>
                          <a:pt x="12" y="2"/>
                          <a:pt x="11" y="1"/>
                        </a:cubicBezTo>
                        <a:cubicBezTo>
                          <a:pt x="11" y="0"/>
                          <a:pt x="9" y="1"/>
                          <a:pt x="8" y="2"/>
                        </a:cubicBezTo>
                        <a:cubicBezTo>
                          <a:pt x="8" y="2"/>
                          <a:pt x="7" y="2"/>
                          <a:pt x="2" y="2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89" name="Freeform 20208">
                    <a:extLst>
                      <a:ext uri="{FF2B5EF4-FFF2-40B4-BE49-F238E27FC236}">
                        <a16:creationId xmlns:a16="http://schemas.microsoft.com/office/drawing/2014/main" id="{250E0F35-ECBD-8E4C-8639-C123D1C706FA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3901827" y="3901639"/>
                    <a:ext cx="175557" cy="164107"/>
                  </a:xfrm>
                  <a:custGeom>
                    <a:avLst/>
                    <a:gdLst/>
                    <a:ahLst/>
                    <a:cxnLst>
                      <a:cxn ang="0">
                        <a:pos x="25" y="26"/>
                      </a:cxn>
                      <a:cxn ang="0">
                        <a:pos x="24" y="24"/>
                      </a:cxn>
                      <a:cxn ang="0">
                        <a:pos x="23" y="22"/>
                      </a:cxn>
                      <a:cxn ang="0">
                        <a:pos x="21" y="18"/>
                      </a:cxn>
                      <a:cxn ang="0">
                        <a:pos x="16" y="17"/>
                      </a:cxn>
                      <a:cxn ang="0">
                        <a:pos x="13" y="18"/>
                      </a:cxn>
                      <a:cxn ang="0">
                        <a:pos x="9" y="23"/>
                      </a:cxn>
                      <a:cxn ang="0">
                        <a:pos x="9" y="22"/>
                      </a:cxn>
                      <a:cxn ang="0">
                        <a:pos x="8" y="20"/>
                      </a:cxn>
                      <a:cxn ang="0">
                        <a:pos x="8" y="19"/>
                      </a:cxn>
                      <a:cxn ang="0">
                        <a:pos x="5" y="16"/>
                      </a:cxn>
                      <a:cxn ang="0">
                        <a:pos x="3" y="15"/>
                      </a:cxn>
                      <a:cxn ang="0">
                        <a:pos x="3" y="12"/>
                      </a:cxn>
                      <a:cxn ang="0">
                        <a:pos x="2" y="12"/>
                      </a:cxn>
                      <a:cxn ang="0">
                        <a:pos x="2" y="10"/>
                      </a:cxn>
                      <a:cxn ang="0">
                        <a:pos x="0" y="12"/>
                      </a:cxn>
                      <a:cxn ang="0">
                        <a:pos x="0" y="11"/>
                      </a:cxn>
                      <a:cxn ang="0">
                        <a:pos x="4" y="6"/>
                      </a:cxn>
                      <a:cxn ang="0">
                        <a:pos x="6" y="6"/>
                      </a:cxn>
                      <a:cxn ang="0">
                        <a:pos x="6" y="3"/>
                      </a:cxn>
                      <a:cxn ang="0">
                        <a:pos x="7" y="0"/>
                      </a:cxn>
                      <a:cxn ang="0">
                        <a:pos x="15" y="1"/>
                      </a:cxn>
                      <a:cxn ang="0">
                        <a:pos x="19" y="1"/>
                      </a:cxn>
                      <a:cxn ang="0">
                        <a:pos x="21" y="3"/>
                      </a:cxn>
                      <a:cxn ang="0">
                        <a:pos x="22" y="4"/>
                      </a:cxn>
                      <a:cxn ang="0">
                        <a:pos x="27" y="3"/>
                      </a:cxn>
                      <a:cxn ang="0">
                        <a:pos x="29" y="2"/>
                      </a:cxn>
                      <a:cxn ang="0">
                        <a:pos x="31" y="1"/>
                      </a:cxn>
                      <a:cxn ang="0">
                        <a:pos x="32" y="4"/>
                      </a:cxn>
                      <a:cxn ang="0">
                        <a:pos x="33" y="6"/>
                      </a:cxn>
                      <a:cxn ang="0">
                        <a:pos x="34" y="8"/>
                      </a:cxn>
                      <a:cxn ang="0">
                        <a:pos x="34" y="10"/>
                      </a:cxn>
                      <a:cxn ang="0">
                        <a:pos x="35" y="13"/>
                      </a:cxn>
                      <a:cxn ang="0">
                        <a:pos x="37" y="16"/>
                      </a:cxn>
                      <a:cxn ang="0">
                        <a:pos x="36" y="19"/>
                      </a:cxn>
                      <a:cxn ang="0">
                        <a:pos x="38" y="23"/>
                      </a:cxn>
                      <a:cxn ang="0">
                        <a:pos x="39" y="27"/>
                      </a:cxn>
                      <a:cxn ang="0">
                        <a:pos x="35" y="27"/>
                      </a:cxn>
                      <a:cxn ang="0">
                        <a:pos x="37" y="29"/>
                      </a:cxn>
                      <a:cxn ang="0">
                        <a:pos x="34" y="31"/>
                      </a:cxn>
                      <a:cxn ang="0">
                        <a:pos x="31" y="34"/>
                      </a:cxn>
                      <a:cxn ang="0">
                        <a:pos x="29" y="32"/>
                      </a:cxn>
                      <a:cxn ang="0">
                        <a:pos x="29" y="28"/>
                      </a:cxn>
                      <a:cxn ang="0">
                        <a:pos x="25" y="26"/>
                      </a:cxn>
                    </a:cxnLst>
                    <a:rect l="0" t="0" r="r" b="b"/>
                    <a:pathLst>
                      <a:path w="39" h="36">
                        <a:moveTo>
                          <a:pt x="25" y="26"/>
                        </a:moveTo>
                        <a:cubicBezTo>
                          <a:pt x="22" y="29"/>
                          <a:pt x="24" y="25"/>
                          <a:pt x="24" y="24"/>
                        </a:cubicBezTo>
                        <a:cubicBezTo>
                          <a:pt x="23" y="22"/>
                          <a:pt x="23" y="22"/>
                          <a:pt x="23" y="22"/>
                        </a:cubicBezTo>
                        <a:cubicBezTo>
                          <a:pt x="23" y="20"/>
                          <a:pt x="22" y="21"/>
                          <a:pt x="21" y="18"/>
                        </a:cubicBezTo>
                        <a:cubicBezTo>
                          <a:pt x="20" y="16"/>
                          <a:pt x="16" y="16"/>
                          <a:pt x="16" y="17"/>
                        </a:cubicBezTo>
                        <a:cubicBezTo>
                          <a:pt x="16" y="18"/>
                          <a:pt x="14" y="16"/>
                          <a:pt x="13" y="18"/>
                        </a:cubicBezTo>
                        <a:cubicBezTo>
                          <a:pt x="13" y="21"/>
                          <a:pt x="11" y="22"/>
                          <a:pt x="9" y="23"/>
                        </a:cubicBezTo>
                        <a:cubicBezTo>
                          <a:pt x="9" y="22"/>
                          <a:pt x="10" y="22"/>
                          <a:pt x="9" y="22"/>
                        </a:cubicBezTo>
                        <a:cubicBezTo>
                          <a:pt x="8" y="21"/>
                          <a:pt x="9" y="21"/>
                          <a:pt x="8" y="20"/>
                        </a:cubicBezTo>
                        <a:cubicBezTo>
                          <a:pt x="7" y="20"/>
                          <a:pt x="7" y="20"/>
                          <a:pt x="8" y="19"/>
                        </a:cubicBezTo>
                        <a:cubicBezTo>
                          <a:pt x="8" y="18"/>
                          <a:pt x="6" y="18"/>
                          <a:pt x="5" y="16"/>
                        </a:cubicBezTo>
                        <a:cubicBezTo>
                          <a:pt x="5" y="15"/>
                          <a:pt x="3" y="16"/>
                          <a:pt x="3" y="15"/>
                        </a:cubicBezTo>
                        <a:cubicBezTo>
                          <a:pt x="3" y="13"/>
                          <a:pt x="2" y="15"/>
                          <a:pt x="3" y="12"/>
                        </a:cubicBezTo>
                        <a:cubicBezTo>
                          <a:pt x="3" y="10"/>
                          <a:pt x="2" y="13"/>
                          <a:pt x="2" y="12"/>
                        </a:cubicBezTo>
                        <a:cubicBezTo>
                          <a:pt x="1" y="11"/>
                          <a:pt x="3" y="10"/>
                          <a:pt x="2" y="10"/>
                        </a:cubicBezTo>
                        <a:cubicBezTo>
                          <a:pt x="0" y="10"/>
                          <a:pt x="1" y="12"/>
                          <a:pt x="0" y="12"/>
                        </a:cubicBezTo>
                        <a:cubicBezTo>
                          <a:pt x="0" y="12"/>
                          <a:pt x="0" y="11"/>
                          <a:pt x="0" y="11"/>
                        </a:cubicBezTo>
                        <a:cubicBezTo>
                          <a:pt x="2" y="6"/>
                          <a:pt x="3" y="8"/>
                          <a:pt x="4" y="6"/>
                        </a:cubicBezTo>
                        <a:cubicBezTo>
                          <a:pt x="5" y="5"/>
                          <a:pt x="5" y="7"/>
                          <a:pt x="6" y="6"/>
                        </a:cubicBezTo>
                        <a:cubicBezTo>
                          <a:pt x="8" y="6"/>
                          <a:pt x="8" y="4"/>
                          <a:pt x="6" y="3"/>
                        </a:cubicBezTo>
                        <a:cubicBezTo>
                          <a:pt x="5" y="2"/>
                          <a:pt x="8" y="3"/>
                          <a:pt x="7" y="0"/>
                        </a:cubicBezTo>
                        <a:cubicBezTo>
                          <a:pt x="11" y="0"/>
                          <a:pt x="13" y="2"/>
                          <a:pt x="15" y="1"/>
                        </a:cubicBezTo>
                        <a:cubicBezTo>
                          <a:pt x="16" y="0"/>
                          <a:pt x="18" y="1"/>
                          <a:pt x="19" y="1"/>
                        </a:cubicBezTo>
                        <a:cubicBezTo>
                          <a:pt x="18" y="4"/>
                          <a:pt x="20" y="5"/>
                          <a:pt x="21" y="3"/>
                        </a:cubicBezTo>
                        <a:cubicBezTo>
                          <a:pt x="21" y="2"/>
                          <a:pt x="22" y="3"/>
                          <a:pt x="22" y="4"/>
                        </a:cubicBezTo>
                        <a:cubicBezTo>
                          <a:pt x="24" y="6"/>
                          <a:pt x="23" y="1"/>
                          <a:pt x="27" y="3"/>
                        </a:cubicBezTo>
                        <a:cubicBezTo>
                          <a:pt x="29" y="5"/>
                          <a:pt x="28" y="3"/>
                          <a:pt x="29" y="2"/>
                        </a:cubicBezTo>
                        <a:cubicBezTo>
                          <a:pt x="31" y="2"/>
                          <a:pt x="28" y="0"/>
                          <a:pt x="31" y="1"/>
                        </a:cubicBezTo>
                        <a:cubicBezTo>
                          <a:pt x="33" y="2"/>
                          <a:pt x="32" y="3"/>
                          <a:pt x="32" y="4"/>
                        </a:cubicBezTo>
                        <a:cubicBezTo>
                          <a:pt x="33" y="4"/>
                          <a:pt x="32" y="6"/>
                          <a:pt x="33" y="6"/>
                        </a:cubicBezTo>
                        <a:cubicBezTo>
                          <a:pt x="34" y="6"/>
                          <a:pt x="36" y="8"/>
                          <a:pt x="34" y="8"/>
                        </a:cubicBezTo>
                        <a:cubicBezTo>
                          <a:pt x="33" y="9"/>
                          <a:pt x="33" y="12"/>
                          <a:pt x="34" y="10"/>
                        </a:cubicBezTo>
                        <a:cubicBezTo>
                          <a:pt x="35" y="9"/>
                          <a:pt x="36" y="10"/>
                          <a:pt x="35" y="13"/>
                        </a:cubicBezTo>
                        <a:cubicBezTo>
                          <a:pt x="35" y="15"/>
                          <a:pt x="36" y="13"/>
                          <a:pt x="37" y="16"/>
                        </a:cubicBezTo>
                        <a:cubicBezTo>
                          <a:pt x="35" y="17"/>
                          <a:pt x="37" y="17"/>
                          <a:pt x="36" y="19"/>
                        </a:cubicBezTo>
                        <a:cubicBezTo>
                          <a:pt x="36" y="21"/>
                          <a:pt x="39" y="21"/>
                          <a:pt x="38" y="23"/>
                        </a:cubicBezTo>
                        <a:cubicBezTo>
                          <a:pt x="36" y="25"/>
                          <a:pt x="39" y="24"/>
                          <a:pt x="39" y="27"/>
                        </a:cubicBezTo>
                        <a:cubicBezTo>
                          <a:pt x="36" y="26"/>
                          <a:pt x="35" y="26"/>
                          <a:pt x="35" y="27"/>
                        </a:cubicBezTo>
                        <a:cubicBezTo>
                          <a:pt x="36" y="29"/>
                          <a:pt x="37" y="27"/>
                          <a:pt x="37" y="29"/>
                        </a:cubicBezTo>
                        <a:cubicBezTo>
                          <a:pt x="37" y="31"/>
                          <a:pt x="36" y="33"/>
                          <a:pt x="34" y="31"/>
                        </a:cubicBezTo>
                        <a:cubicBezTo>
                          <a:pt x="33" y="30"/>
                          <a:pt x="32" y="36"/>
                          <a:pt x="31" y="34"/>
                        </a:cubicBezTo>
                        <a:cubicBezTo>
                          <a:pt x="30" y="32"/>
                          <a:pt x="29" y="34"/>
                          <a:pt x="29" y="32"/>
                        </a:cubicBezTo>
                        <a:cubicBezTo>
                          <a:pt x="30" y="30"/>
                          <a:pt x="29" y="29"/>
                          <a:pt x="29" y="28"/>
                        </a:cubicBezTo>
                        <a:cubicBezTo>
                          <a:pt x="30" y="26"/>
                          <a:pt x="26" y="26"/>
                          <a:pt x="25" y="26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0" name="Freeform 20209">
                    <a:extLst>
                      <a:ext uri="{FF2B5EF4-FFF2-40B4-BE49-F238E27FC236}">
                        <a16:creationId xmlns:a16="http://schemas.microsoft.com/office/drawing/2014/main" id="{083203A7-F526-BF46-B24C-1B5F319F2411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3865571" y="3897823"/>
                    <a:ext cx="72512" cy="53429"/>
                  </a:xfrm>
                  <a:custGeom>
                    <a:avLst/>
                    <a:gdLst/>
                    <a:ahLst/>
                    <a:cxnLst>
                      <a:cxn ang="0">
                        <a:pos x="8" y="10"/>
                      </a:cxn>
                      <a:cxn ang="0">
                        <a:pos x="7" y="11"/>
                      </a:cxn>
                      <a:cxn ang="0">
                        <a:pos x="6" y="10"/>
                      </a:cxn>
                      <a:cxn ang="0">
                        <a:pos x="6" y="9"/>
                      </a:cxn>
                      <a:cxn ang="0">
                        <a:pos x="6" y="6"/>
                      </a:cxn>
                      <a:cxn ang="0">
                        <a:pos x="4" y="7"/>
                      </a:cxn>
                      <a:cxn ang="0">
                        <a:pos x="3" y="5"/>
                      </a:cxn>
                      <a:cxn ang="0">
                        <a:pos x="2" y="4"/>
                      </a:cxn>
                      <a:cxn ang="0">
                        <a:pos x="0" y="3"/>
                      </a:cxn>
                      <a:cxn ang="0">
                        <a:pos x="6" y="2"/>
                      </a:cxn>
                      <a:cxn ang="0">
                        <a:pos x="7" y="1"/>
                      </a:cxn>
                      <a:cxn ang="0">
                        <a:pos x="15" y="1"/>
                      </a:cxn>
                      <a:cxn ang="0">
                        <a:pos x="14" y="4"/>
                      </a:cxn>
                      <a:cxn ang="0">
                        <a:pos x="14" y="7"/>
                      </a:cxn>
                      <a:cxn ang="0">
                        <a:pos x="12" y="7"/>
                      </a:cxn>
                      <a:cxn ang="0">
                        <a:pos x="8" y="12"/>
                      </a:cxn>
                      <a:cxn ang="0">
                        <a:pos x="8" y="10"/>
                      </a:cxn>
                      <a:cxn ang="0">
                        <a:pos x="3" y="6"/>
                      </a:cxn>
                      <a:cxn ang="0">
                        <a:pos x="2" y="6"/>
                      </a:cxn>
                      <a:cxn ang="0">
                        <a:pos x="3" y="6"/>
                      </a:cxn>
                      <a:cxn ang="0">
                        <a:pos x="3" y="8"/>
                      </a:cxn>
                      <a:cxn ang="0">
                        <a:pos x="3" y="9"/>
                      </a:cxn>
                      <a:cxn ang="0">
                        <a:pos x="3" y="8"/>
                      </a:cxn>
                      <a:cxn ang="0">
                        <a:pos x="3" y="11"/>
                      </a:cxn>
                      <a:cxn ang="0">
                        <a:pos x="2" y="11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  <a:cxn ang="0">
                        <a:pos x="5" y="9"/>
                      </a:cxn>
                      <a:cxn ang="0">
                        <a:pos x="4" y="10"/>
                      </a:cxn>
                      <a:cxn ang="0">
                        <a:pos x="5" y="9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2" y="8"/>
                      </a:cxn>
                      <a:cxn ang="0">
                        <a:pos x="1" y="8"/>
                      </a:cxn>
                      <a:cxn ang="0">
                        <a:pos x="2" y="8"/>
                      </a:cxn>
                      <a:cxn ang="0">
                        <a:pos x="6" y="8"/>
                      </a:cxn>
                      <a:cxn ang="0">
                        <a:pos x="5" y="8"/>
                      </a:cxn>
                      <a:cxn ang="0">
                        <a:pos x="6" y="8"/>
                      </a:cxn>
                    </a:cxnLst>
                    <a:rect l="0" t="0" r="r" b="b"/>
                    <a:pathLst>
                      <a:path w="16" h="12">
                        <a:moveTo>
                          <a:pt x="8" y="10"/>
                        </a:moveTo>
                        <a:cubicBezTo>
                          <a:pt x="8" y="11"/>
                          <a:pt x="7" y="12"/>
                          <a:pt x="7" y="11"/>
                        </a:cubicBezTo>
                        <a:cubicBezTo>
                          <a:pt x="7" y="10"/>
                          <a:pt x="6" y="11"/>
                          <a:pt x="6" y="10"/>
                        </a:cubicBezTo>
                        <a:cubicBezTo>
                          <a:pt x="6" y="9"/>
                          <a:pt x="5" y="10"/>
                          <a:pt x="6" y="9"/>
                        </a:cubicBezTo>
                        <a:cubicBezTo>
                          <a:pt x="7" y="7"/>
                          <a:pt x="5" y="7"/>
                          <a:pt x="6" y="6"/>
                        </a:cubicBezTo>
                        <a:cubicBezTo>
                          <a:pt x="8" y="5"/>
                          <a:pt x="6" y="5"/>
                          <a:pt x="4" y="7"/>
                        </a:cubicBezTo>
                        <a:cubicBezTo>
                          <a:pt x="2" y="8"/>
                          <a:pt x="5" y="5"/>
                          <a:pt x="3" y="5"/>
                        </a:cubicBezTo>
                        <a:cubicBezTo>
                          <a:pt x="2" y="6"/>
                          <a:pt x="1" y="6"/>
                          <a:pt x="2" y="4"/>
                        </a:cubicBezTo>
                        <a:cubicBezTo>
                          <a:pt x="3" y="3"/>
                          <a:pt x="1" y="4"/>
                          <a:pt x="0" y="3"/>
                        </a:cubicBezTo>
                        <a:cubicBezTo>
                          <a:pt x="2" y="2"/>
                          <a:pt x="4" y="3"/>
                          <a:pt x="6" y="2"/>
                        </a:cubicBezTo>
                        <a:cubicBezTo>
                          <a:pt x="8" y="1"/>
                          <a:pt x="4" y="1"/>
                          <a:pt x="7" y="1"/>
                        </a:cubicBezTo>
                        <a:cubicBezTo>
                          <a:pt x="9" y="0"/>
                          <a:pt x="13" y="1"/>
                          <a:pt x="15" y="1"/>
                        </a:cubicBezTo>
                        <a:cubicBezTo>
                          <a:pt x="16" y="4"/>
                          <a:pt x="13" y="3"/>
                          <a:pt x="14" y="4"/>
                        </a:cubicBezTo>
                        <a:cubicBezTo>
                          <a:pt x="16" y="5"/>
                          <a:pt x="16" y="7"/>
                          <a:pt x="14" y="7"/>
                        </a:cubicBezTo>
                        <a:cubicBezTo>
                          <a:pt x="13" y="8"/>
                          <a:pt x="13" y="6"/>
                          <a:pt x="12" y="7"/>
                        </a:cubicBezTo>
                        <a:cubicBezTo>
                          <a:pt x="11" y="9"/>
                          <a:pt x="10" y="7"/>
                          <a:pt x="8" y="12"/>
                        </a:cubicBezTo>
                        <a:cubicBezTo>
                          <a:pt x="8" y="11"/>
                          <a:pt x="8" y="12"/>
                          <a:pt x="8" y="10"/>
                        </a:cubicBezTo>
                        <a:close/>
                        <a:moveTo>
                          <a:pt x="3" y="6"/>
                        </a:moveTo>
                        <a:cubicBezTo>
                          <a:pt x="3" y="5"/>
                          <a:pt x="2" y="6"/>
                          <a:pt x="2" y="6"/>
                        </a:cubicBezTo>
                        <a:cubicBezTo>
                          <a:pt x="3" y="7"/>
                          <a:pt x="3" y="7"/>
                          <a:pt x="3" y="6"/>
                        </a:cubicBezTo>
                        <a:close/>
                        <a:moveTo>
                          <a:pt x="3" y="8"/>
                        </a:moveTo>
                        <a:cubicBezTo>
                          <a:pt x="3" y="7"/>
                          <a:pt x="2" y="8"/>
                          <a:pt x="3" y="9"/>
                        </a:cubicBezTo>
                        <a:cubicBezTo>
                          <a:pt x="3" y="9"/>
                          <a:pt x="4" y="8"/>
                          <a:pt x="3" y="8"/>
                        </a:cubicBezTo>
                        <a:close/>
                        <a:moveTo>
                          <a:pt x="3" y="11"/>
                        </a:moveTo>
                        <a:cubicBezTo>
                          <a:pt x="3" y="10"/>
                          <a:pt x="2" y="10"/>
                          <a:pt x="2" y="11"/>
                        </a:cubicBezTo>
                        <a:cubicBezTo>
                          <a:pt x="2" y="11"/>
                          <a:pt x="3" y="12"/>
                          <a:pt x="3" y="11"/>
                        </a:cubicBezTo>
                        <a:close/>
                        <a:moveTo>
                          <a:pt x="3" y="10"/>
                        </a:moveTo>
                        <a:cubicBezTo>
                          <a:pt x="3" y="10"/>
                          <a:pt x="3" y="11"/>
                          <a:pt x="3" y="11"/>
                        </a:cubicBezTo>
                        <a:cubicBezTo>
                          <a:pt x="4" y="11"/>
                          <a:pt x="4" y="10"/>
                          <a:pt x="3" y="10"/>
                        </a:cubicBezTo>
                        <a:close/>
                        <a:moveTo>
                          <a:pt x="5" y="9"/>
                        </a:moveTo>
                        <a:cubicBezTo>
                          <a:pt x="5" y="9"/>
                          <a:pt x="4" y="10"/>
                          <a:pt x="4" y="10"/>
                        </a:cubicBezTo>
                        <a:cubicBezTo>
                          <a:pt x="5" y="10"/>
                          <a:pt x="5" y="10"/>
                          <a:pt x="5" y="9"/>
                        </a:cubicBezTo>
                        <a:close/>
                        <a:moveTo>
                          <a:pt x="2" y="9"/>
                        </a:moveTo>
                        <a:cubicBezTo>
                          <a:pt x="2" y="9"/>
                          <a:pt x="2" y="10"/>
                          <a:pt x="2" y="10"/>
                        </a:cubicBezTo>
                        <a:cubicBezTo>
                          <a:pt x="2" y="10"/>
                          <a:pt x="2" y="10"/>
                          <a:pt x="2" y="9"/>
                        </a:cubicBezTo>
                        <a:close/>
                        <a:moveTo>
                          <a:pt x="2" y="8"/>
                        </a:moveTo>
                        <a:cubicBezTo>
                          <a:pt x="2" y="7"/>
                          <a:pt x="1" y="8"/>
                          <a:pt x="1" y="8"/>
                        </a:cubicBezTo>
                        <a:cubicBezTo>
                          <a:pt x="1" y="8"/>
                          <a:pt x="2" y="8"/>
                          <a:pt x="2" y="8"/>
                        </a:cubicBezTo>
                        <a:close/>
                        <a:moveTo>
                          <a:pt x="6" y="8"/>
                        </a:moveTo>
                        <a:cubicBezTo>
                          <a:pt x="5" y="7"/>
                          <a:pt x="5" y="8"/>
                          <a:pt x="5" y="8"/>
                        </a:cubicBezTo>
                        <a:cubicBezTo>
                          <a:pt x="5" y="8"/>
                          <a:pt x="6" y="8"/>
                          <a:pt x="6" y="8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1" name="Freeform 20210">
                    <a:extLst>
                      <a:ext uri="{FF2B5EF4-FFF2-40B4-BE49-F238E27FC236}">
                        <a16:creationId xmlns:a16="http://schemas.microsoft.com/office/drawing/2014/main" id="{5C21147A-C4D3-2B42-A40C-348E8111C992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3657574" y="3771880"/>
                    <a:ext cx="66789" cy="70604"/>
                  </a:xfrm>
                  <a:custGeom>
                    <a:avLst/>
                    <a:gdLst/>
                    <a:ahLst/>
                    <a:cxnLst>
                      <a:cxn ang="0">
                        <a:pos x="9" y="15"/>
                      </a:cxn>
                      <a:cxn ang="0">
                        <a:pos x="9" y="12"/>
                      </a:cxn>
                      <a:cxn ang="0">
                        <a:pos x="9" y="15"/>
                      </a:cxn>
                      <a:cxn ang="0">
                        <a:pos x="14" y="7"/>
                      </a:cxn>
                      <a:cxn ang="0">
                        <a:pos x="13" y="7"/>
                      </a:cxn>
                      <a:cxn ang="0">
                        <a:pos x="14" y="7"/>
                      </a:cxn>
                      <a:cxn ang="0">
                        <a:pos x="1" y="0"/>
                      </a:cxn>
                      <a:cxn ang="0">
                        <a:pos x="0" y="1"/>
                      </a:cxn>
                      <a:cxn ang="0">
                        <a:pos x="1" y="0"/>
                      </a:cxn>
                      <a:cxn ang="0">
                        <a:pos x="6" y="4"/>
                      </a:cxn>
                      <a:cxn ang="0">
                        <a:pos x="6" y="3"/>
                      </a:cxn>
                      <a:cxn ang="0">
                        <a:pos x="5" y="4"/>
                      </a:cxn>
                      <a:cxn ang="0">
                        <a:pos x="6" y="4"/>
                      </a:cxn>
                      <a:cxn ang="0">
                        <a:pos x="5" y="15"/>
                      </a:cxn>
                      <a:cxn ang="0">
                        <a:pos x="5" y="14"/>
                      </a:cxn>
                      <a:cxn ang="0">
                        <a:pos x="5" y="15"/>
                      </a:cxn>
                      <a:cxn ang="0">
                        <a:pos x="11" y="12"/>
                      </a:cxn>
                      <a:cxn ang="0">
                        <a:pos x="11" y="13"/>
                      </a:cxn>
                      <a:cxn ang="0">
                        <a:pos x="11" y="12"/>
                      </a:cxn>
                    </a:cxnLst>
                    <a:rect l="0" t="0" r="r" b="b"/>
                    <a:pathLst>
                      <a:path w="15" h="16">
                        <a:moveTo>
                          <a:pt x="9" y="15"/>
                        </a:moveTo>
                        <a:cubicBezTo>
                          <a:pt x="8" y="15"/>
                          <a:pt x="8" y="11"/>
                          <a:pt x="9" y="12"/>
                        </a:cubicBezTo>
                        <a:cubicBezTo>
                          <a:pt x="10" y="13"/>
                          <a:pt x="11" y="14"/>
                          <a:pt x="9" y="15"/>
                        </a:cubicBezTo>
                        <a:close/>
                        <a:moveTo>
                          <a:pt x="14" y="7"/>
                        </a:moveTo>
                        <a:cubicBezTo>
                          <a:pt x="15" y="6"/>
                          <a:pt x="13" y="6"/>
                          <a:pt x="13" y="7"/>
                        </a:cubicBezTo>
                        <a:cubicBezTo>
                          <a:pt x="12" y="8"/>
                          <a:pt x="13" y="8"/>
                          <a:pt x="14" y="7"/>
                        </a:cubicBezTo>
                        <a:close/>
                        <a:moveTo>
                          <a:pt x="1" y="0"/>
                        </a:move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1" y="3"/>
                          <a:pt x="3" y="0"/>
                          <a:pt x="1" y="0"/>
                        </a:cubicBezTo>
                        <a:close/>
                        <a:moveTo>
                          <a:pt x="6" y="4"/>
                        </a:moveTo>
                        <a:cubicBezTo>
                          <a:pt x="7" y="4"/>
                          <a:pt x="7" y="4"/>
                          <a:pt x="6" y="3"/>
                        </a:cubicBezTo>
                        <a:cubicBezTo>
                          <a:pt x="5" y="3"/>
                          <a:pt x="5" y="3"/>
                          <a:pt x="5" y="4"/>
                        </a:cubicBezTo>
                        <a:cubicBezTo>
                          <a:pt x="5" y="5"/>
                          <a:pt x="5" y="4"/>
                          <a:pt x="6" y="4"/>
                        </a:cubicBezTo>
                        <a:close/>
                        <a:moveTo>
                          <a:pt x="5" y="15"/>
                        </a:moveTo>
                        <a:cubicBezTo>
                          <a:pt x="6" y="15"/>
                          <a:pt x="5" y="14"/>
                          <a:pt x="5" y="14"/>
                        </a:cubicBezTo>
                        <a:cubicBezTo>
                          <a:pt x="4" y="15"/>
                          <a:pt x="5" y="16"/>
                          <a:pt x="5" y="15"/>
                        </a:cubicBezTo>
                        <a:close/>
                        <a:moveTo>
                          <a:pt x="11" y="12"/>
                        </a:moveTo>
                        <a:cubicBezTo>
                          <a:pt x="11" y="12"/>
                          <a:pt x="10" y="13"/>
                          <a:pt x="11" y="13"/>
                        </a:cubicBezTo>
                        <a:cubicBezTo>
                          <a:pt x="12" y="13"/>
                          <a:pt x="12" y="12"/>
                          <a:pt x="11" y="12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2" name="Freeform 20300">
                    <a:extLst>
                      <a:ext uri="{FF2B5EF4-FFF2-40B4-BE49-F238E27FC236}">
                        <a16:creationId xmlns:a16="http://schemas.microsoft.com/office/drawing/2014/main" id="{5A215C86-9DF7-9B48-97B8-4DA469A81F39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268120" y="4584785"/>
                    <a:ext cx="9542" cy="17174"/>
                  </a:xfrm>
                  <a:custGeom>
                    <a:avLst/>
                    <a:gdLst/>
                    <a:ahLst/>
                    <a:cxnLst>
                      <a:cxn ang="0">
                        <a:pos x="1" y="1"/>
                      </a:cxn>
                      <a:cxn ang="0">
                        <a:pos x="1" y="4"/>
                      </a:cxn>
                      <a:cxn ang="0">
                        <a:pos x="1" y="1"/>
                      </a:cxn>
                    </a:cxnLst>
                    <a:rect l="0" t="0" r="r" b="b"/>
                    <a:pathLst>
                      <a:path w="2" h="4">
                        <a:moveTo>
                          <a:pt x="1" y="1"/>
                        </a:moveTo>
                        <a:cubicBezTo>
                          <a:pt x="1" y="0"/>
                          <a:pt x="2" y="4"/>
                          <a:pt x="1" y="4"/>
                        </a:cubicBezTo>
                        <a:cubicBezTo>
                          <a:pt x="0" y="4"/>
                          <a:pt x="0" y="1"/>
                          <a:pt x="1" y="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3" name="Freeform 20301">
                    <a:extLst>
                      <a:ext uri="{FF2B5EF4-FFF2-40B4-BE49-F238E27FC236}">
                        <a16:creationId xmlns:a16="http://schemas.microsoft.com/office/drawing/2014/main" id="{D19C3E84-33B9-DB44-806B-4E7FEFBDE93A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310101" y="4621042"/>
                    <a:ext cx="7632" cy="13357"/>
                  </a:xfrm>
                  <a:custGeom>
                    <a:avLst/>
                    <a:gdLst/>
                    <a:ahLst/>
                    <a:cxnLst>
                      <a:cxn ang="0">
                        <a:pos x="1" y="2"/>
                      </a:cxn>
                      <a:cxn ang="0">
                        <a:pos x="1" y="1"/>
                      </a:cxn>
                      <a:cxn ang="0">
                        <a:pos x="1" y="2"/>
                      </a:cxn>
                    </a:cxnLst>
                    <a:rect l="0" t="0" r="r" b="b"/>
                    <a:pathLst>
                      <a:path w="2" h="3">
                        <a:moveTo>
                          <a:pt x="1" y="2"/>
                        </a:moveTo>
                        <a:cubicBezTo>
                          <a:pt x="0" y="1"/>
                          <a:pt x="0" y="0"/>
                          <a:pt x="1" y="1"/>
                        </a:cubicBezTo>
                        <a:cubicBezTo>
                          <a:pt x="2" y="1"/>
                          <a:pt x="2" y="3"/>
                          <a:pt x="1" y="2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4" name="Freeform 20302">
                    <a:extLst>
                      <a:ext uri="{FF2B5EF4-FFF2-40B4-BE49-F238E27FC236}">
                        <a16:creationId xmlns:a16="http://schemas.microsoft.com/office/drawing/2014/main" id="{BC2D980D-D683-2746-8EBB-D8A5DFA168F8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291017" y="4607684"/>
                    <a:ext cx="9542" cy="7632"/>
                  </a:xfrm>
                  <a:custGeom>
                    <a:avLst/>
                    <a:gdLst/>
                    <a:ahLst/>
                    <a:cxnLst>
                      <a:cxn ang="0">
                        <a:pos x="1" y="0"/>
                      </a:cxn>
                      <a:cxn ang="0">
                        <a:pos x="2" y="2"/>
                      </a:cxn>
                      <a:cxn ang="0">
                        <a:pos x="1" y="0"/>
                      </a:cxn>
                    </a:cxnLst>
                    <a:rect l="0" t="0" r="r" b="b"/>
                    <a:pathLst>
                      <a:path w="2" h="2">
                        <a:moveTo>
                          <a:pt x="1" y="0"/>
                        </a:moveTo>
                        <a:cubicBezTo>
                          <a:pt x="0" y="1"/>
                          <a:pt x="2" y="2"/>
                          <a:pt x="2" y="2"/>
                        </a:cubicBezTo>
                        <a:cubicBezTo>
                          <a:pt x="2" y="1"/>
                          <a:pt x="2" y="0"/>
                          <a:pt x="1" y="0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5" name="Freeform 20303">
                    <a:extLst>
                      <a:ext uri="{FF2B5EF4-FFF2-40B4-BE49-F238E27FC236}">
                        <a16:creationId xmlns:a16="http://schemas.microsoft.com/office/drawing/2014/main" id="{2FCF7A2E-5A11-4644-85B6-C440B79BD60F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4943720" y="4290918"/>
                    <a:ext cx="261428" cy="311041"/>
                  </a:xfrm>
                  <a:custGeom>
                    <a:avLst/>
                    <a:gdLst/>
                    <a:ahLst/>
                    <a:cxnLst>
                      <a:cxn ang="0">
                        <a:pos x="1" y="22"/>
                      </a:cxn>
                      <a:cxn ang="0">
                        <a:pos x="7" y="15"/>
                      </a:cxn>
                      <a:cxn ang="0">
                        <a:pos x="6" y="11"/>
                      </a:cxn>
                      <a:cxn ang="0">
                        <a:pos x="7" y="9"/>
                      </a:cxn>
                      <a:cxn ang="0">
                        <a:pos x="8" y="5"/>
                      </a:cxn>
                      <a:cxn ang="0">
                        <a:pos x="6" y="0"/>
                      </a:cxn>
                      <a:cxn ang="0">
                        <a:pos x="24" y="0"/>
                      </a:cxn>
                      <a:cxn ang="0">
                        <a:pos x="42" y="12"/>
                      </a:cxn>
                      <a:cxn ang="0">
                        <a:pos x="44" y="17"/>
                      </a:cxn>
                      <a:cxn ang="0">
                        <a:pos x="52" y="23"/>
                      </a:cxn>
                      <a:cxn ang="0">
                        <a:pos x="50" y="28"/>
                      </a:cxn>
                      <a:cxn ang="0">
                        <a:pos x="53" y="37"/>
                      </a:cxn>
                      <a:cxn ang="0">
                        <a:pos x="53" y="42"/>
                      </a:cxn>
                      <a:cxn ang="0">
                        <a:pos x="53" y="49"/>
                      </a:cxn>
                      <a:cxn ang="0">
                        <a:pos x="54" y="57"/>
                      </a:cxn>
                      <a:cxn ang="0">
                        <a:pos x="58" y="60"/>
                      </a:cxn>
                      <a:cxn ang="0">
                        <a:pos x="50" y="65"/>
                      </a:cxn>
                      <a:cxn ang="0">
                        <a:pos x="45" y="65"/>
                      </a:cxn>
                      <a:cxn ang="0">
                        <a:pos x="40" y="67"/>
                      </a:cxn>
                      <a:cxn ang="0">
                        <a:pos x="35" y="67"/>
                      </a:cxn>
                      <a:cxn ang="0">
                        <a:pos x="28" y="66"/>
                      </a:cxn>
                      <a:cxn ang="0">
                        <a:pos x="27" y="60"/>
                      </a:cxn>
                      <a:cxn ang="0">
                        <a:pos x="24" y="54"/>
                      </a:cxn>
                      <a:cxn ang="0">
                        <a:pos x="19" y="53"/>
                      </a:cxn>
                      <a:cxn ang="0">
                        <a:pos x="14" y="50"/>
                      </a:cxn>
                      <a:cxn ang="0">
                        <a:pos x="12" y="49"/>
                      </a:cxn>
                      <a:cxn ang="0">
                        <a:pos x="8" y="45"/>
                      </a:cxn>
                      <a:cxn ang="0">
                        <a:pos x="6" y="40"/>
                      </a:cxn>
                      <a:cxn ang="0">
                        <a:pos x="1" y="31"/>
                      </a:cxn>
                      <a:cxn ang="0">
                        <a:pos x="1" y="22"/>
                      </a:cxn>
                      <a:cxn ang="0">
                        <a:pos x="53" y="33"/>
                      </a:cxn>
                      <a:cxn ang="0">
                        <a:pos x="53" y="31"/>
                      </a:cxn>
                      <a:cxn ang="0">
                        <a:pos x="52" y="31"/>
                      </a:cxn>
                      <a:cxn ang="0">
                        <a:pos x="52" y="34"/>
                      </a:cxn>
                      <a:cxn ang="0">
                        <a:pos x="53" y="33"/>
                      </a:cxn>
                      <a:cxn ang="0">
                        <a:pos x="55" y="27"/>
                      </a:cxn>
                      <a:cxn ang="0">
                        <a:pos x="55" y="25"/>
                      </a:cxn>
                      <a:cxn ang="0">
                        <a:pos x="54" y="26"/>
                      </a:cxn>
                      <a:cxn ang="0">
                        <a:pos x="54" y="28"/>
                      </a:cxn>
                      <a:cxn ang="0">
                        <a:pos x="55" y="27"/>
                      </a:cxn>
                      <a:cxn ang="0">
                        <a:pos x="55" y="42"/>
                      </a:cxn>
                      <a:cxn ang="0">
                        <a:pos x="54" y="44"/>
                      </a:cxn>
                      <a:cxn ang="0">
                        <a:pos x="55" y="42"/>
                      </a:cxn>
                    </a:cxnLst>
                    <a:rect l="0" t="0" r="r" b="b"/>
                    <a:pathLst>
                      <a:path w="58" h="69">
                        <a:moveTo>
                          <a:pt x="1" y="22"/>
                        </a:moveTo>
                        <a:cubicBezTo>
                          <a:pt x="5" y="21"/>
                          <a:pt x="4" y="18"/>
                          <a:pt x="7" y="15"/>
                        </a:cubicBezTo>
                        <a:cubicBezTo>
                          <a:pt x="10" y="12"/>
                          <a:pt x="6" y="12"/>
                          <a:pt x="6" y="11"/>
                        </a:cubicBezTo>
                        <a:cubicBezTo>
                          <a:pt x="6" y="10"/>
                          <a:pt x="7" y="10"/>
                          <a:pt x="7" y="9"/>
                        </a:cubicBezTo>
                        <a:cubicBezTo>
                          <a:pt x="8" y="9"/>
                          <a:pt x="8" y="8"/>
                          <a:pt x="8" y="5"/>
                        </a:cubicBezTo>
                        <a:cubicBezTo>
                          <a:pt x="7" y="1"/>
                          <a:pt x="6" y="2"/>
                          <a:pt x="6" y="0"/>
                        </a:cubicBezTo>
                        <a:cubicBezTo>
                          <a:pt x="8" y="0"/>
                          <a:pt x="21" y="0"/>
                          <a:pt x="24" y="0"/>
                        </a:cubicBezTo>
                        <a:cubicBezTo>
                          <a:pt x="35" y="7"/>
                          <a:pt x="39" y="10"/>
                          <a:pt x="42" y="12"/>
                        </a:cubicBezTo>
                        <a:cubicBezTo>
                          <a:pt x="46" y="14"/>
                          <a:pt x="42" y="14"/>
                          <a:pt x="44" y="17"/>
                        </a:cubicBezTo>
                        <a:cubicBezTo>
                          <a:pt x="47" y="19"/>
                          <a:pt x="51" y="23"/>
                          <a:pt x="52" y="23"/>
                        </a:cubicBezTo>
                        <a:cubicBezTo>
                          <a:pt x="50" y="26"/>
                          <a:pt x="51" y="26"/>
                          <a:pt x="50" y="28"/>
                        </a:cubicBezTo>
                        <a:cubicBezTo>
                          <a:pt x="48" y="33"/>
                          <a:pt x="51" y="35"/>
                          <a:pt x="53" y="37"/>
                        </a:cubicBezTo>
                        <a:cubicBezTo>
                          <a:pt x="54" y="40"/>
                          <a:pt x="51" y="38"/>
                          <a:pt x="53" y="42"/>
                        </a:cubicBezTo>
                        <a:cubicBezTo>
                          <a:pt x="54" y="46"/>
                          <a:pt x="51" y="44"/>
                          <a:pt x="53" y="49"/>
                        </a:cubicBezTo>
                        <a:cubicBezTo>
                          <a:pt x="55" y="54"/>
                          <a:pt x="53" y="54"/>
                          <a:pt x="54" y="57"/>
                        </a:cubicBezTo>
                        <a:cubicBezTo>
                          <a:pt x="56" y="59"/>
                          <a:pt x="56" y="57"/>
                          <a:pt x="58" y="60"/>
                        </a:cubicBezTo>
                        <a:cubicBezTo>
                          <a:pt x="56" y="62"/>
                          <a:pt x="54" y="63"/>
                          <a:pt x="50" y="65"/>
                        </a:cubicBezTo>
                        <a:cubicBezTo>
                          <a:pt x="46" y="67"/>
                          <a:pt x="45" y="62"/>
                          <a:pt x="45" y="65"/>
                        </a:cubicBezTo>
                        <a:cubicBezTo>
                          <a:pt x="44" y="68"/>
                          <a:pt x="41" y="68"/>
                          <a:pt x="40" y="67"/>
                        </a:cubicBezTo>
                        <a:cubicBezTo>
                          <a:pt x="39" y="66"/>
                          <a:pt x="37" y="69"/>
                          <a:pt x="35" y="67"/>
                        </a:cubicBezTo>
                        <a:cubicBezTo>
                          <a:pt x="33" y="64"/>
                          <a:pt x="33" y="68"/>
                          <a:pt x="28" y="66"/>
                        </a:cubicBezTo>
                        <a:cubicBezTo>
                          <a:pt x="26" y="63"/>
                          <a:pt x="28" y="63"/>
                          <a:pt x="27" y="60"/>
                        </a:cubicBezTo>
                        <a:cubicBezTo>
                          <a:pt x="26" y="57"/>
                          <a:pt x="25" y="55"/>
                          <a:pt x="24" y="54"/>
                        </a:cubicBezTo>
                        <a:cubicBezTo>
                          <a:pt x="22" y="54"/>
                          <a:pt x="20" y="54"/>
                          <a:pt x="19" y="53"/>
                        </a:cubicBezTo>
                        <a:cubicBezTo>
                          <a:pt x="14" y="50"/>
                          <a:pt x="15" y="52"/>
                          <a:pt x="14" y="50"/>
                        </a:cubicBezTo>
                        <a:cubicBezTo>
                          <a:pt x="13" y="48"/>
                          <a:pt x="13" y="51"/>
                          <a:pt x="12" y="49"/>
                        </a:cubicBezTo>
                        <a:cubicBezTo>
                          <a:pt x="11" y="47"/>
                          <a:pt x="9" y="48"/>
                          <a:pt x="8" y="45"/>
                        </a:cubicBezTo>
                        <a:cubicBezTo>
                          <a:pt x="7" y="44"/>
                          <a:pt x="6" y="43"/>
                          <a:pt x="6" y="40"/>
                        </a:cubicBezTo>
                        <a:cubicBezTo>
                          <a:pt x="5" y="38"/>
                          <a:pt x="0" y="34"/>
                          <a:pt x="1" y="31"/>
                        </a:cubicBezTo>
                        <a:cubicBezTo>
                          <a:pt x="2" y="28"/>
                          <a:pt x="0" y="26"/>
                          <a:pt x="1" y="22"/>
                        </a:cubicBezTo>
                        <a:close/>
                        <a:moveTo>
                          <a:pt x="53" y="33"/>
                        </a:moveTo>
                        <a:cubicBezTo>
                          <a:pt x="53" y="32"/>
                          <a:pt x="53" y="33"/>
                          <a:pt x="53" y="31"/>
                        </a:cubicBezTo>
                        <a:cubicBezTo>
                          <a:pt x="52" y="29"/>
                          <a:pt x="52" y="30"/>
                          <a:pt x="52" y="31"/>
                        </a:cubicBezTo>
                        <a:cubicBezTo>
                          <a:pt x="51" y="31"/>
                          <a:pt x="52" y="33"/>
                          <a:pt x="52" y="34"/>
                        </a:cubicBezTo>
                        <a:cubicBezTo>
                          <a:pt x="54" y="35"/>
                          <a:pt x="54" y="34"/>
                          <a:pt x="53" y="33"/>
                        </a:cubicBezTo>
                        <a:close/>
                        <a:moveTo>
                          <a:pt x="55" y="27"/>
                        </a:moveTo>
                        <a:cubicBezTo>
                          <a:pt x="55" y="25"/>
                          <a:pt x="55" y="25"/>
                          <a:pt x="55" y="25"/>
                        </a:cubicBezTo>
                        <a:cubicBezTo>
                          <a:pt x="54" y="24"/>
                          <a:pt x="54" y="25"/>
                          <a:pt x="54" y="26"/>
                        </a:cubicBezTo>
                        <a:cubicBezTo>
                          <a:pt x="54" y="27"/>
                          <a:pt x="53" y="27"/>
                          <a:pt x="54" y="28"/>
                        </a:cubicBezTo>
                        <a:cubicBezTo>
                          <a:pt x="55" y="28"/>
                          <a:pt x="55" y="28"/>
                          <a:pt x="55" y="27"/>
                        </a:cubicBezTo>
                        <a:close/>
                        <a:moveTo>
                          <a:pt x="55" y="42"/>
                        </a:moveTo>
                        <a:cubicBezTo>
                          <a:pt x="56" y="41"/>
                          <a:pt x="53" y="44"/>
                          <a:pt x="54" y="44"/>
                        </a:cubicBezTo>
                        <a:cubicBezTo>
                          <a:pt x="55" y="44"/>
                          <a:pt x="55" y="43"/>
                          <a:pt x="55" y="42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6" name="Freeform 20304">
                    <a:extLst>
                      <a:ext uri="{FF2B5EF4-FFF2-40B4-BE49-F238E27FC236}">
                        <a16:creationId xmlns:a16="http://schemas.microsoft.com/office/drawing/2014/main" id="{13B96F83-D1B9-FE48-9690-342A9B37A61F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548630" y="4859571"/>
                    <a:ext cx="22899" cy="22899"/>
                  </a:xfrm>
                  <a:custGeom>
                    <a:avLst/>
                    <a:gdLst/>
                    <a:ahLst/>
                    <a:cxnLst>
                      <a:cxn ang="0">
                        <a:pos x="1" y="1"/>
                      </a:cxn>
                      <a:cxn ang="0">
                        <a:pos x="4" y="3"/>
                      </a:cxn>
                      <a:cxn ang="0">
                        <a:pos x="1" y="1"/>
                      </a:cxn>
                    </a:cxnLst>
                    <a:rect l="0" t="0" r="r" b="b"/>
                    <a:pathLst>
                      <a:path w="5" h="5">
                        <a:moveTo>
                          <a:pt x="1" y="1"/>
                        </a:moveTo>
                        <a:cubicBezTo>
                          <a:pt x="2" y="0"/>
                          <a:pt x="5" y="2"/>
                          <a:pt x="4" y="3"/>
                        </a:cubicBezTo>
                        <a:cubicBezTo>
                          <a:pt x="3" y="5"/>
                          <a:pt x="0" y="3"/>
                          <a:pt x="1" y="1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7" name="Freeform 20305">
                    <a:extLst>
                      <a:ext uri="{FF2B5EF4-FFF2-40B4-BE49-F238E27FC236}">
                        <a16:creationId xmlns:a16="http://schemas.microsoft.com/office/drawing/2014/main" id="{D4C00CAD-FEB1-2845-B367-2986AB7FB920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5594426" y="4829039"/>
                    <a:ext cx="20991" cy="26714"/>
                  </a:xfrm>
                  <a:custGeom>
                    <a:avLst/>
                    <a:gdLst/>
                    <a:ahLst/>
                    <a:cxnLst>
                      <a:cxn ang="0">
                        <a:pos x="3" y="5"/>
                      </a:cxn>
                      <a:cxn ang="0">
                        <a:pos x="4" y="2"/>
                      </a:cxn>
                      <a:cxn ang="0">
                        <a:pos x="3" y="5"/>
                      </a:cxn>
                    </a:cxnLst>
                    <a:rect l="0" t="0" r="r" b="b"/>
                    <a:pathLst>
                      <a:path w="5" h="6">
                        <a:moveTo>
                          <a:pt x="3" y="5"/>
                        </a:moveTo>
                        <a:cubicBezTo>
                          <a:pt x="0" y="6"/>
                          <a:pt x="3" y="0"/>
                          <a:pt x="4" y="2"/>
                        </a:cubicBezTo>
                        <a:cubicBezTo>
                          <a:pt x="4" y="4"/>
                          <a:pt x="5" y="5"/>
                          <a:pt x="3" y="5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8" name="Freeform 20317">
                    <a:extLst>
                      <a:ext uri="{FF2B5EF4-FFF2-40B4-BE49-F238E27FC236}">
                        <a16:creationId xmlns:a16="http://schemas.microsoft.com/office/drawing/2014/main" id="{07A7C521-3CEC-E24F-B24D-286788AC2516}"/>
                      </a:ext>
                    </a:extLst>
                  </p:cNvPr>
                  <p:cNvSpPr>
                    <a:spLocks/>
                  </p:cNvSpPr>
                  <p:nvPr userDrawn="1"/>
                </p:nvSpPr>
                <p:spPr bwMode="auto">
                  <a:xfrm>
                    <a:off x="4804420" y="3911182"/>
                    <a:ext cx="297684" cy="257610"/>
                  </a:xfrm>
                  <a:custGeom>
                    <a:avLst/>
                    <a:gdLst/>
                    <a:ahLst/>
                    <a:cxnLst>
                      <a:cxn ang="0">
                        <a:pos x="55" y="17"/>
                      </a:cxn>
                      <a:cxn ang="0">
                        <a:pos x="55" y="15"/>
                      </a:cxn>
                      <a:cxn ang="0">
                        <a:pos x="52" y="11"/>
                      </a:cxn>
                      <a:cxn ang="0">
                        <a:pos x="51" y="10"/>
                      </a:cxn>
                      <a:cxn ang="0">
                        <a:pos x="51" y="5"/>
                      </a:cxn>
                      <a:cxn ang="0">
                        <a:pos x="51" y="2"/>
                      </a:cxn>
                      <a:cxn ang="0">
                        <a:pos x="51" y="0"/>
                      </a:cxn>
                      <a:cxn ang="0">
                        <a:pos x="49" y="0"/>
                      </a:cxn>
                      <a:cxn ang="0">
                        <a:pos x="49" y="2"/>
                      </a:cxn>
                      <a:cxn ang="0">
                        <a:pos x="45" y="2"/>
                      </a:cxn>
                      <a:cxn ang="0">
                        <a:pos x="47" y="5"/>
                      </a:cxn>
                      <a:cxn ang="0">
                        <a:pos x="47" y="8"/>
                      </a:cxn>
                      <a:cxn ang="0">
                        <a:pos x="45" y="10"/>
                      </a:cxn>
                      <a:cxn ang="0">
                        <a:pos x="44" y="12"/>
                      </a:cxn>
                      <a:cxn ang="0">
                        <a:pos x="41" y="16"/>
                      </a:cxn>
                      <a:cxn ang="0">
                        <a:pos x="39" y="16"/>
                      </a:cxn>
                      <a:cxn ang="0">
                        <a:pos x="37" y="15"/>
                      </a:cxn>
                      <a:cxn ang="0">
                        <a:pos x="34" y="13"/>
                      </a:cxn>
                      <a:cxn ang="0">
                        <a:pos x="32" y="14"/>
                      </a:cxn>
                      <a:cxn ang="0">
                        <a:pos x="32" y="16"/>
                      </a:cxn>
                      <a:cxn ang="0">
                        <a:pos x="30" y="16"/>
                      </a:cxn>
                      <a:cxn ang="0">
                        <a:pos x="28" y="19"/>
                      </a:cxn>
                      <a:cxn ang="0">
                        <a:pos x="24" y="19"/>
                      </a:cxn>
                      <a:cxn ang="0">
                        <a:pos x="23" y="17"/>
                      </a:cxn>
                      <a:cxn ang="0">
                        <a:pos x="20" y="17"/>
                      </a:cxn>
                      <a:cxn ang="0">
                        <a:pos x="16" y="18"/>
                      </a:cxn>
                      <a:cxn ang="0">
                        <a:pos x="14" y="14"/>
                      </a:cxn>
                      <a:cxn ang="0">
                        <a:pos x="13" y="12"/>
                      </a:cxn>
                      <a:cxn ang="0">
                        <a:pos x="10" y="12"/>
                      </a:cxn>
                      <a:cxn ang="0">
                        <a:pos x="8" y="15"/>
                      </a:cxn>
                      <a:cxn ang="0">
                        <a:pos x="5" y="16"/>
                      </a:cxn>
                      <a:cxn ang="0">
                        <a:pos x="2" y="17"/>
                      </a:cxn>
                      <a:cxn ang="0">
                        <a:pos x="2" y="17"/>
                      </a:cxn>
                      <a:cxn ang="0">
                        <a:pos x="1" y="19"/>
                      </a:cxn>
                      <a:cxn ang="0">
                        <a:pos x="4" y="24"/>
                      </a:cxn>
                      <a:cxn ang="0">
                        <a:pos x="9" y="27"/>
                      </a:cxn>
                      <a:cxn ang="0">
                        <a:pos x="12" y="32"/>
                      </a:cxn>
                      <a:cxn ang="0">
                        <a:pos x="16" y="37"/>
                      </a:cxn>
                      <a:cxn ang="0">
                        <a:pos x="19" y="41"/>
                      </a:cxn>
                      <a:cxn ang="0">
                        <a:pos x="22" y="46"/>
                      </a:cxn>
                      <a:cxn ang="0">
                        <a:pos x="27" y="50"/>
                      </a:cxn>
                      <a:cxn ang="0">
                        <a:pos x="31" y="49"/>
                      </a:cxn>
                      <a:cxn ang="0">
                        <a:pos x="35" y="51"/>
                      </a:cxn>
                      <a:cxn ang="0">
                        <a:pos x="39" y="56"/>
                      </a:cxn>
                      <a:cxn ang="0">
                        <a:pos x="43" y="54"/>
                      </a:cxn>
                      <a:cxn ang="0">
                        <a:pos x="45" y="55"/>
                      </a:cxn>
                      <a:cxn ang="0">
                        <a:pos x="51" y="53"/>
                      </a:cxn>
                      <a:cxn ang="0">
                        <a:pos x="52" y="54"/>
                      </a:cxn>
                      <a:cxn ang="0">
                        <a:pos x="55" y="51"/>
                      </a:cxn>
                      <a:cxn ang="0">
                        <a:pos x="59" y="47"/>
                      </a:cxn>
                      <a:cxn ang="0">
                        <a:pos x="63" y="47"/>
                      </a:cxn>
                      <a:cxn ang="0">
                        <a:pos x="65" y="49"/>
                      </a:cxn>
                      <a:cxn ang="0">
                        <a:pos x="64" y="44"/>
                      </a:cxn>
                      <a:cxn ang="0">
                        <a:pos x="60" y="38"/>
                      </a:cxn>
                      <a:cxn ang="0">
                        <a:pos x="56" y="32"/>
                      </a:cxn>
                      <a:cxn ang="0">
                        <a:pos x="51" y="27"/>
                      </a:cxn>
                      <a:cxn ang="0">
                        <a:pos x="54" y="25"/>
                      </a:cxn>
                      <a:cxn ang="0">
                        <a:pos x="56" y="18"/>
                      </a:cxn>
                      <a:cxn ang="0">
                        <a:pos x="56" y="18"/>
                      </a:cxn>
                      <a:cxn ang="0">
                        <a:pos x="55" y="17"/>
                      </a:cxn>
                    </a:cxnLst>
                    <a:rect l="0" t="0" r="r" b="b"/>
                    <a:pathLst>
                      <a:path w="66" h="57">
                        <a:moveTo>
                          <a:pt x="55" y="17"/>
                        </a:moveTo>
                        <a:cubicBezTo>
                          <a:pt x="55" y="16"/>
                          <a:pt x="55" y="16"/>
                          <a:pt x="55" y="15"/>
                        </a:cubicBezTo>
                        <a:cubicBezTo>
                          <a:pt x="55" y="13"/>
                          <a:pt x="53" y="12"/>
                          <a:pt x="52" y="11"/>
                        </a:cubicBezTo>
                        <a:cubicBezTo>
                          <a:pt x="51" y="10"/>
                          <a:pt x="50" y="10"/>
                          <a:pt x="51" y="10"/>
                        </a:cubicBezTo>
                        <a:cubicBezTo>
                          <a:pt x="51" y="9"/>
                          <a:pt x="51" y="7"/>
                          <a:pt x="51" y="5"/>
                        </a:cubicBezTo>
                        <a:cubicBezTo>
                          <a:pt x="50" y="4"/>
                          <a:pt x="51" y="3"/>
                          <a:pt x="51" y="2"/>
                        </a:cubicBezTo>
                        <a:cubicBezTo>
                          <a:pt x="51" y="2"/>
                          <a:pt x="51" y="0"/>
                          <a:pt x="51" y="0"/>
                        </a:cubicBezTo>
                        <a:cubicBezTo>
                          <a:pt x="49" y="0"/>
                          <a:pt x="49" y="0"/>
                          <a:pt x="49" y="0"/>
                        </a:cubicBezTo>
                        <a:cubicBezTo>
                          <a:pt x="49" y="2"/>
                          <a:pt x="49" y="2"/>
                          <a:pt x="49" y="2"/>
                        </a:cubicBezTo>
                        <a:cubicBezTo>
                          <a:pt x="45" y="2"/>
                          <a:pt x="45" y="2"/>
                          <a:pt x="45" y="2"/>
                        </a:cubicBezTo>
                        <a:cubicBezTo>
                          <a:pt x="46" y="3"/>
                          <a:pt x="46" y="4"/>
                          <a:pt x="47" y="5"/>
                        </a:cubicBezTo>
                        <a:cubicBezTo>
                          <a:pt x="47" y="6"/>
                          <a:pt x="47" y="8"/>
                          <a:pt x="47" y="8"/>
                        </a:cubicBezTo>
                        <a:cubicBezTo>
                          <a:pt x="47" y="8"/>
                          <a:pt x="46" y="9"/>
                          <a:pt x="45" y="10"/>
                        </a:cubicBezTo>
                        <a:cubicBezTo>
                          <a:pt x="44" y="11"/>
                          <a:pt x="45" y="11"/>
                          <a:pt x="44" y="12"/>
                        </a:cubicBezTo>
                        <a:cubicBezTo>
                          <a:pt x="44" y="13"/>
                          <a:pt x="41" y="16"/>
                          <a:pt x="41" y="16"/>
                        </a:cubicBezTo>
                        <a:cubicBezTo>
                          <a:pt x="39" y="16"/>
                          <a:pt x="39" y="16"/>
                          <a:pt x="39" y="16"/>
                        </a:cubicBezTo>
                        <a:cubicBezTo>
                          <a:pt x="39" y="16"/>
                          <a:pt x="38" y="15"/>
                          <a:pt x="37" y="15"/>
                        </a:cubicBezTo>
                        <a:cubicBezTo>
                          <a:pt x="36" y="14"/>
                          <a:pt x="34" y="13"/>
                          <a:pt x="34" y="13"/>
                        </a:cubicBezTo>
                        <a:cubicBezTo>
                          <a:pt x="32" y="14"/>
                          <a:pt x="32" y="14"/>
                          <a:pt x="32" y="14"/>
                        </a:cubicBezTo>
                        <a:cubicBezTo>
                          <a:pt x="32" y="16"/>
                          <a:pt x="32" y="16"/>
                          <a:pt x="32" y="16"/>
                        </a:cubicBezTo>
                        <a:cubicBezTo>
                          <a:pt x="30" y="16"/>
                          <a:pt x="30" y="16"/>
                          <a:pt x="30" y="16"/>
                        </a:cubicBezTo>
                        <a:cubicBezTo>
                          <a:pt x="28" y="19"/>
                          <a:pt x="28" y="19"/>
                          <a:pt x="28" y="19"/>
                        </a:cubicBezTo>
                        <a:cubicBezTo>
                          <a:pt x="24" y="19"/>
                          <a:pt x="24" y="19"/>
                          <a:pt x="24" y="19"/>
                        </a:cubicBezTo>
                        <a:cubicBezTo>
                          <a:pt x="23" y="17"/>
                          <a:pt x="23" y="17"/>
                          <a:pt x="23" y="17"/>
                        </a:cubicBezTo>
                        <a:cubicBezTo>
                          <a:pt x="23" y="17"/>
                          <a:pt x="22" y="17"/>
                          <a:pt x="20" y="17"/>
                        </a:cubicBezTo>
                        <a:cubicBezTo>
                          <a:pt x="19" y="17"/>
                          <a:pt x="18" y="18"/>
                          <a:pt x="16" y="18"/>
                        </a:cubicBezTo>
                        <a:cubicBezTo>
                          <a:pt x="15" y="17"/>
                          <a:pt x="15" y="15"/>
                          <a:pt x="14" y="14"/>
                        </a:cubicBezTo>
                        <a:cubicBezTo>
                          <a:pt x="13" y="13"/>
                          <a:pt x="13" y="12"/>
                          <a:pt x="13" y="12"/>
                        </a:cubicBezTo>
                        <a:cubicBezTo>
                          <a:pt x="13" y="12"/>
                          <a:pt x="12" y="12"/>
                          <a:pt x="10" y="12"/>
                        </a:cubicBezTo>
                        <a:cubicBezTo>
                          <a:pt x="8" y="13"/>
                          <a:pt x="9" y="14"/>
                          <a:pt x="8" y="15"/>
                        </a:cubicBezTo>
                        <a:cubicBezTo>
                          <a:pt x="7" y="16"/>
                          <a:pt x="6" y="16"/>
                          <a:pt x="5" y="16"/>
                        </a:cubicBezTo>
                        <a:cubicBezTo>
                          <a:pt x="3" y="17"/>
                          <a:pt x="3" y="17"/>
                          <a:pt x="2" y="17"/>
                        </a:cubicBezTo>
                        <a:cubicBezTo>
                          <a:pt x="2" y="17"/>
                          <a:pt x="2" y="17"/>
                          <a:pt x="2" y="17"/>
                        </a:cubicBezTo>
                        <a:cubicBezTo>
                          <a:pt x="2" y="17"/>
                          <a:pt x="2" y="18"/>
                          <a:pt x="1" y="19"/>
                        </a:cubicBezTo>
                        <a:cubicBezTo>
                          <a:pt x="0" y="26"/>
                          <a:pt x="6" y="22"/>
                          <a:pt x="4" y="24"/>
                        </a:cubicBezTo>
                        <a:cubicBezTo>
                          <a:pt x="3" y="27"/>
                          <a:pt x="7" y="25"/>
                          <a:pt x="9" y="27"/>
                        </a:cubicBezTo>
                        <a:cubicBezTo>
                          <a:pt x="11" y="30"/>
                          <a:pt x="8" y="29"/>
                          <a:pt x="12" y="32"/>
                        </a:cubicBezTo>
                        <a:cubicBezTo>
                          <a:pt x="15" y="35"/>
                          <a:pt x="16" y="35"/>
                          <a:pt x="16" y="37"/>
                        </a:cubicBezTo>
                        <a:cubicBezTo>
                          <a:pt x="15" y="39"/>
                          <a:pt x="16" y="39"/>
                          <a:pt x="19" y="41"/>
                        </a:cubicBezTo>
                        <a:cubicBezTo>
                          <a:pt x="21" y="41"/>
                          <a:pt x="20" y="44"/>
                          <a:pt x="22" y="46"/>
                        </a:cubicBezTo>
                        <a:cubicBezTo>
                          <a:pt x="24" y="49"/>
                          <a:pt x="26" y="52"/>
                          <a:pt x="27" y="50"/>
                        </a:cubicBezTo>
                        <a:cubicBezTo>
                          <a:pt x="29" y="48"/>
                          <a:pt x="30" y="52"/>
                          <a:pt x="31" y="49"/>
                        </a:cubicBezTo>
                        <a:cubicBezTo>
                          <a:pt x="33" y="47"/>
                          <a:pt x="34" y="48"/>
                          <a:pt x="35" y="51"/>
                        </a:cubicBezTo>
                        <a:cubicBezTo>
                          <a:pt x="37" y="54"/>
                          <a:pt x="37" y="52"/>
                          <a:pt x="39" y="56"/>
                        </a:cubicBezTo>
                        <a:cubicBezTo>
                          <a:pt x="41" y="51"/>
                          <a:pt x="42" y="56"/>
                          <a:pt x="43" y="54"/>
                        </a:cubicBezTo>
                        <a:cubicBezTo>
                          <a:pt x="44" y="53"/>
                          <a:pt x="44" y="54"/>
                          <a:pt x="45" y="55"/>
                        </a:cubicBezTo>
                        <a:cubicBezTo>
                          <a:pt x="46" y="57"/>
                          <a:pt x="48" y="53"/>
                          <a:pt x="51" y="53"/>
                        </a:cubicBezTo>
                        <a:cubicBezTo>
                          <a:pt x="52" y="54"/>
                          <a:pt x="50" y="54"/>
                          <a:pt x="52" y="54"/>
                        </a:cubicBezTo>
                        <a:cubicBezTo>
                          <a:pt x="54" y="54"/>
                          <a:pt x="54" y="53"/>
                          <a:pt x="55" y="51"/>
                        </a:cubicBezTo>
                        <a:cubicBezTo>
                          <a:pt x="56" y="50"/>
                          <a:pt x="57" y="48"/>
                          <a:pt x="59" y="47"/>
                        </a:cubicBezTo>
                        <a:cubicBezTo>
                          <a:pt x="61" y="47"/>
                          <a:pt x="63" y="46"/>
                          <a:pt x="63" y="47"/>
                        </a:cubicBezTo>
                        <a:cubicBezTo>
                          <a:pt x="62" y="49"/>
                          <a:pt x="64" y="49"/>
                          <a:pt x="65" y="49"/>
                        </a:cubicBezTo>
                        <a:cubicBezTo>
                          <a:pt x="64" y="45"/>
                          <a:pt x="66" y="44"/>
                          <a:pt x="64" y="44"/>
                        </a:cubicBezTo>
                        <a:cubicBezTo>
                          <a:pt x="61" y="43"/>
                          <a:pt x="61" y="43"/>
                          <a:pt x="60" y="38"/>
                        </a:cubicBezTo>
                        <a:cubicBezTo>
                          <a:pt x="59" y="33"/>
                          <a:pt x="58" y="35"/>
                          <a:pt x="56" y="32"/>
                        </a:cubicBezTo>
                        <a:cubicBezTo>
                          <a:pt x="54" y="28"/>
                          <a:pt x="48" y="29"/>
                          <a:pt x="51" y="27"/>
                        </a:cubicBezTo>
                        <a:cubicBezTo>
                          <a:pt x="52" y="26"/>
                          <a:pt x="49" y="23"/>
                          <a:pt x="54" y="25"/>
                        </a:cubicBezTo>
                        <a:cubicBezTo>
                          <a:pt x="57" y="26"/>
                          <a:pt x="56" y="21"/>
                          <a:pt x="56" y="18"/>
                        </a:cubicBezTo>
                        <a:cubicBezTo>
                          <a:pt x="56" y="18"/>
                          <a:pt x="56" y="18"/>
                          <a:pt x="56" y="18"/>
                        </a:cubicBezTo>
                        <a:cubicBezTo>
                          <a:pt x="55" y="18"/>
                          <a:pt x="55" y="18"/>
                          <a:pt x="55" y="17"/>
                        </a:cubicBezTo>
                        <a:close/>
                      </a:path>
                    </a:pathLst>
                  </a:custGeom>
                  <a:grpFill/>
                  <a:ln w="0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sz="675" dirty="0">
                      <a:latin typeface="Calibri" panose="020F0502020204030204" pitchFamily="34" charset="0"/>
                    </a:endParaRPr>
                  </a:p>
                </p:txBody>
              </p:sp>
            </p:grpSp>
          </p:grpSp>
        </p:grpSp>
      </p:grpSp>
      <p:sp>
        <p:nvSpPr>
          <p:cNvPr id="268" name="Oval 267">
            <a:extLst>
              <a:ext uri="{FF2B5EF4-FFF2-40B4-BE49-F238E27FC236}">
                <a16:creationId xmlns:a16="http://schemas.microsoft.com/office/drawing/2014/main" id="{F710BC3A-F963-7C47-AE16-84417D1032DA}"/>
              </a:ext>
            </a:extLst>
          </p:cNvPr>
          <p:cNvSpPr>
            <a:spLocks noChangeAspect="1"/>
          </p:cNvSpPr>
          <p:nvPr userDrawn="1"/>
        </p:nvSpPr>
        <p:spPr>
          <a:xfrm>
            <a:off x="2219937" y="2481480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9772AB80-CC69-0745-B015-B21D07DB5135}"/>
              </a:ext>
            </a:extLst>
          </p:cNvPr>
          <p:cNvSpPr>
            <a:spLocks noChangeAspect="1"/>
          </p:cNvSpPr>
          <p:nvPr userDrawn="1"/>
        </p:nvSpPr>
        <p:spPr>
          <a:xfrm>
            <a:off x="2921670" y="2336769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0" name="Oval 269">
            <a:extLst>
              <a:ext uri="{FF2B5EF4-FFF2-40B4-BE49-F238E27FC236}">
                <a16:creationId xmlns:a16="http://schemas.microsoft.com/office/drawing/2014/main" id="{693952E3-B93F-1E43-8607-5B71D93E60E4}"/>
              </a:ext>
            </a:extLst>
          </p:cNvPr>
          <p:cNvSpPr>
            <a:spLocks noChangeAspect="1"/>
          </p:cNvSpPr>
          <p:nvPr userDrawn="1"/>
        </p:nvSpPr>
        <p:spPr>
          <a:xfrm>
            <a:off x="2002859" y="255524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4" name="Oval 273">
            <a:extLst>
              <a:ext uri="{FF2B5EF4-FFF2-40B4-BE49-F238E27FC236}">
                <a16:creationId xmlns:a16="http://schemas.microsoft.com/office/drawing/2014/main" id="{11E77A3A-7BE7-AC4C-B422-AD985451524F}"/>
              </a:ext>
            </a:extLst>
          </p:cNvPr>
          <p:cNvSpPr>
            <a:spLocks noChangeAspect="1"/>
          </p:cNvSpPr>
          <p:nvPr userDrawn="1"/>
        </p:nvSpPr>
        <p:spPr>
          <a:xfrm>
            <a:off x="2575149" y="2322968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6D4735FE-A735-B148-AA96-600E2A915320}"/>
              </a:ext>
            </a:extLst>
          </p:cNvPr>
          <p:cNvSpPr>
            <a:spLocks noChangeAspect="1"/>
          </p:cNvSpPr>
          <p:nvPr userDrawn="1"/>
        </p:nvSpPr>
        <p:spPr>
          <a:xfrm>
            <a:off x="2973100" y="229898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9" name="Oval 278">
            <a:extLst>
              <a:ext uri="{FF2B5EF4-FFF2-40B4-BE49-F238E27FC236}">
                <a16:creationId xmlns:a16="http://schemas.microsoft.com/office/drawing/2014/main" id="{8AE810D0-EB88-D643-9DD4-73A219D3D93C}"/>
              </a:ext>
            </a:extLst>
          </p:cNvPr>
          <p:cNvSpPr>
            <a:spLocks noChangeAspect="1"/>
          </p:cNvSpPr>
          <p:nvPr userDrawn="1"/>
        </p:nvSpPr>
        <p:spPr>
          <a:xfrm>
            <a:off x="4308181" y="1992026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highlight>
                <a:srgbClr val="FFFF00"/>
              </a:highlight>
            </a:endParaRPr>
          </a:p>
        </p:txBody>
      </p:sp>
      <p:sp>
        <p:nvSpPr>
          <p:cNvPr id="280" name="Oval 279">
            <a:extLst>
              <a:ext uri="{FF2B5EF4-FFF2-40B4-BE49-F238E27FC236}">
                <a16:creationId xmlns:a16="http://schemas.microsoft.com/office/drawing/2014/main" id="{580E8DB1-71CC-4841-A29C-62E709934607}"/>
              </a:ext>
            </a:extLst>
          </p:cNvPr>
          <p:cNvSpPr>
            <a:spLocks noChangeAspect="1"/>
          </p:cNvSpPr>
          <p:nvPr userDrawn="1"/>
        </p:nvSpPr>
        <p:spPr>
          <a:xfrm>
            <a:off x="4272907" y="2014436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81" name="Oval 280">
            <a:extLst>
              <a:ext uri="{FF2B5EF4-FFF2-40B4-BE49-F238E27FC236}">
                <a16:creationId xmlns:a16="http://schemas.microsoft.com/office/drawing/2014/main" id="{55524082-9BE7-A540-96E9-A98B33803FF3}"/>
              </a:ext>
            </a:extLst>
          </p:cNvPr>
          <p:cNvSpPr>
            <a:spLocks noChangeAspect="1"/>
          </p:cNvSpPr>
          <p:nvPr userDrawn="1"/>
        </p:nvSpPr>
        <p:spPr>
          <a:xfrm>
            <a:off x="4415926" y="1982263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0C3656F9-EF91-7F47-AF7C-710B7D28CAD9}"/>
              </a:ext>
            </a:extLst>
          </p:cNvPr>
          <p:cNvSpPr>
            <a:spLocks noChangeAspect="1"/>
          </p:cNvSpPr>
          <p:nvPr userDrawn="1"/>
        </p:nvSpPr>
        <p:spPr>
          <a:xfrm>
            <a:off x="4407397" y="1971396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82" name="Oval 281">
            <a:extLst>
              <a:ext uri="{FF2B5EF4-FFF2-40B4-BE49-F238E27FC236}">
                <a16:creationId xmlns:a16="http://schemas.microsoft.com/office/drawing/2014/main" id="{D1D31C4A-17FD-AA4F-85F5-BE79B2B28607}"/>
              </a:ext>
            </a:extLst>
          </p:cNvPr>
          <p:cNvSpPr>
            <a:spLocks noChangeAspect="1"/>
          </p:cNvSpPr>
          <p:nvPr userDrawn="1"/>
        </p:nvSpPr>
        <p:spPr>
          <a:xfrm>
            <a:off x="4248268" y="2020361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284" name="Oval 283">
            <a:extLst>
              <a:ext uri="{FF2B5EF4-FFF2-40B4-BE49-F238E27FC236}">
                <a16:creationId xmlns:a16="http://schemas.microsoft.com/office/drawing/2014/main" id="{071964AF-A5DD-B244-B7E3-FC0EF806A244}"/>
              </a:ext>
            </a:extLst>
          </p:cNvPr>
          <p:cNvSpPr>
            <a:spLocks noChangeAspect="1"/>
          </p:cNvSpPr>
          <p:nvPr userDrawn="1"/>
        </p:nvSpPr>
        <p:spPr>
          <a:xfrm>
            <a:off x="2956341" y="2333053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C0F80059-AFD0-9243-B1CE-D4A018B20B33}"/>
              </a:ext>
            </a:extLst>
          </p:cNvPr>
          <p:cNvSpPr>
            <a:spLocks noChangeAspect="1"/>
          </p:cNvSpPr>
          <p:nvPr userDrawn="1"/>
        </p:nvSpPr>
        <p:spPr>
          <a:xfrm>
            <a:off x="2937547" y="2349592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92A58023-6BF8-B540-98A2-D7F2AAB50224}"/>
              </a:ext>
            </a:extLst>
          </p:cNvPr>
          <p:cNvSpPr>
            <a:spLocks noChangeAspect="1"/>
          </p:cNvSpPr>
          <p:nvPr userDrawn="1"/>
        </p:nvSpPr>
        <p:spPr>
          <a:xfrm>
            <a:off x="2730477" y="2530432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1" name="Oval 270">
            <a:extLst>
              <a:ext uri="{FF2B5EF4-FFF2-40B4-BE49-F238E27FC236}">
                <a16:creationId xmlns:a16="http://schemas.microsoft.com/office/drawing/2014/main" id="{F11B8644-0209-2243-A534-F36DC96723C2}"/>
              </a:ext>
            </a:extLst>
          </p:cNvPr>
          <p:cNvSpPr>
            <a:spLocks noChangeAspect="1"/>
          </p:cNvSpPr>
          <p:nvPr userDrawn="1"/>
        </p:nvSpPr>
        <p:spPr>
          <a:xfrm>
            <a:off x="2734023" y="2542056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FF41014E-27BD-5D40-8F0E-4BE317927262}"/>
              </a:ext>
            </a:extLst>
          </p:cNvPr>
          <p:cNvSpPr>
            <a:spLocks noChangeAspect="1"/>
          </p:cNvSpPr>
          <p:nvPr userDrawn="1"/>
        </p:nvSpPr>
        <p:spPr>
          <a:xfrm>
            <a:off x="2873029" y="241364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694594E4-BD56-2B45-A1C7-20EB890BBDE5}"/>
              </a:ext>
            </a:extLst>
          </p:cNvPr>
          <p:cNvSpPr>
            <a:spLocks noChangeAspect="1"/>
          </p:cNvSpPr>
          <p:nvPr userDrawn="1"/>
        </p:nvSpPr>
        <p:spPr>
          <a:xfrm>
            <a:off x="2892985" y="2402384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ACF17379-0783-3C47-BE34-99CB61ACCACB}"/>
              </a:ext>
            </a:extLst>
          </p:cNvPr>
          <p:cNvSpPr>
            <a:spLocks noChangeAspect="1"/>
          </p:cNvSpPr>
          <p:nvPr userDrawn="1"/>
        </p:nvSpPr>
        <p:spPr>
          <a:xfrm>
            <a:off x="2809641" y="250856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1CCA64E3-280A-034F-8404-B1190CFB0D95}"/>
              </a:ext>
            </a:extLst>
          </p:cNvPr>
          <p:cNvSpPr>
            <a:spLocks noChangeAspect="1"/>
          </p:cNvSpPr>
          <p:nvPr userDrawn="1"/>
        </p:nvSpPr>
        <p:spPr>
          <a:xfrm>
            <a:off x="2455760" y="256149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highlight>
                <a:srgbClr val="00FF00"/>
              </a:highlight>
            </a:endParaRP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08BAFC6A-B413-3F45-B9A4-E45F56315F58}"/>
              </a:ext>
            </a:extLst>
          </p:cNvPr>
          <p:cNvSpPr>
            <a:spLocks noChangeAspect="1"/>
          </p:cNvSpPr>
          <p:nvPr userDrawn="1"/>
        </p:nvSpPr>
        <p:spPr>
          <a:xfrm>
            <a:off x="4285771" y="2004673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94" name="Oval 293">
            <a:extLst>
              <a:ext uri="{FF2B5EF4-FFF2-40B4-BE49-F238E27FC236}">
                <a16:creationId xmlns:a16="http://schemas.microsoft.com/office/drawing/2014/main" id="{E807A3E1-BBFA-E94D-974E-F1ED17E7B824}"/>
              </a:ext>
            </a:extLst>
          </p:cNvPr>
          <p:cNvSpPr>
            <a:spLocks noChangeAspect="1"/>
          </p:cNvSpPr>
          <p:nvPr userDrawn="1"/>
        </p:nvSpPr>
        <p:spPr>
          <a:xfrm>
            <a:off x="2682164" y="2370306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96" name="Oval 295">
            <a:extLst>
              <a:ext uri="{FF2B5EF4-FFF2-40B4-BE49-F238E27FC236}">
                <a16:creationId xmlns:a16="http://schemas.microsoft.com/office/drawing/2014/main" id="{5D7D0A80-741F-7345-9187-0864270E65AA}"/>
              </a:ext>
            </a:extLst>
          </p:cNvPr>
          <p:cNvSpPr>
            <a:spLocks noChangeAspect="1"/>
          </p:cNvSpPr>
          <p:nvPr userDrawn="1"/>
        </p:nvSpPr>
        <p:spPr>
          <a:xfrm>
            <a:off x="2655274" y="2379960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C9E85CE-7754-A641-A6D5-697381522B77}"/>
              </a:ext>
            </a:extLst>
          </p:cNvPr>
          <p:cNvSpPr>
            <a:spLocks noChangeAspect="1"/>
          </p:cNvSpPr>
          <p:nvPr userDrawn="1"/>
        </p:nvSpPr>
        <p:spPr>
          <a:xfrm>
            <a:off x="2638406" y="2386224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97" name="Oval 296">
            <a:extLst>
              <a:ext uri="{FF2B5EF4-FFF2-40B4-BE49-F238E27FC236}">
                <a16:creationId xmlns:a16="http://schemas.microsoft.com/office/drawing/2014/main" id="{EAC3C116-5C69-3A4E-BEA1-64B190575F0F}"/>
              </a:ext>
            </a:extLst>
          </p:cNvPr>
          <p:cNvSpPr>
            <a:spLocks noChangeAspect="1"/>
          </p:cNvSpPr>
          <p:nvPr userDrawn="1"/>
        </p:nvSpPr>
        <p:spPr>
          <a:xfrm>
            <a:off x="2929632" y="2336262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73" name="Oval 272">
            <a:extLst>
              <a:ext uri="{FF2B5EF4-FFF2-40B4-BE49-F238E27FC236}">
                <a16:creationId xmlns:a16="http://schemas.microsoft.com/office/drawing/2014/main" id="{7AA9B9F3-7201-4A42-BCE0-7699AB33939F}"/>
              </a:ext>
            </a:extLst>
          </p:cNvPr>
          <p:cNvSpPr>
            <a:spLocks noChangeAspect="1"/>
          </p:cNvSpPr>
          <p:nvPr userDrawn="1"/>
        </p:nvSpPr>
        <p:spPr>
          <a:xfrm>
            <a:off x="2934616" y="2315371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99" name="Oval 298">
            <a:extLst>
              <a:ext uri="{FF2B5EF4-FFF2-40B4-BE49-F238E27FC236}">
                <a16:creationId xmlns:a16="http://schemas.microsoft.com/office/drawing/2014/main" id="{D009BE7F-5751-3742-BA69-1DC263D570D6}"/>
              </a:ext>
            </a:extLst>
          </p:cNvPr>
          <p:cNvSpPr>
            <a:spLocks noChangeAspect="1"/>
          </p:cNvSpPr>
          <p:nvPr userDrawn="1"/>
        </p:nvSpPr>
        <p:spPr>
          <a:xfrm>
            <a:off x="2828550" y="2511597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F7A563F-31A1-A74B-AD76-95C384FC01FA}"/>
              </a:ext>
            </a:extLst>
          </p:cNvPr>
          <p:cNvSpPr>
            <a:spLocks noChangeAspect="1"/>
          </p:cNvSpPr>
          <p:nvPr userDrawn="1"/>
        </p:nvSpPr>
        <p:spPr>
          <a:xfrm>
            <a:off x="2809641" y="2520159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00" name="Oval 299">
            <a:extLst>
              <a:ext uri="{FF2B5EF4-FFF2-40B4-BE49-F238E27FC236}">
                <a16:creationId xmlns:a16="http://schemas.microsoft.com/office/drawing/2014/main" id="{832908F5-A1DB-E741-A728-409CBDE818B4}"/>
              </a:ext>
            </a:extLst>
          </p:cNvPr>
          <p:cNvSpPr>
            <a:spLocks noChangeAspect="1"/>
          </p:cNvSpPr>
          <p:nvPr userDrawn="1"/>
        </p:nvSpPr>
        <p:spPr>
          <a:xfrm>
            <a:off x="2680289" y="2484538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01" name="Oval 300">
            <a:extLst>
              <a:ext uri="{FF2B5EF4-FFF2-40B4-BE49-F238E27FC236}">
                <a16:creationId xmlns:a16="http://schemas.microsoft.com/office/drawing/2014/main" id="{D0AF6A91-99D4-C444-96FC-8319FB0C3330}"/>
              </a:ext>
            </a:extLst>
          </p:cNvPr>
          <p:cNvSpPr>
            <a:spLocks noChangeAspect="1"/>
          </p:cNvSpPr>
          <p:nvPr userDrawn="1"/>
        </p:nvSpPr>
        <p:spPr>
          <a:xfrm>
            <a:off x="2914899" y="2378754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2" name="TextBox 1"/>
          <p:cNvSpPr txBox="1"/>
          <p:nvPr/>
        </p:nvSpPr>
        <p:spPr>
          <a:xfrm>
            <a:off x="1197151" y="682451"/>
            <a:ext cx="6407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EFINE PCI: Total enrollment 500 pts in 27 US and European Sites </a:t>
            </a:r>
          </a:p>
        </p:txBody>
      </p:sp>
      <p:sp>
        <p:nvSpPr>
          <p:cNvPr id="594" name="Rectangle 593">
            <a:extLst>
              <a:ext uri="{FF2B5EF4-FFF2-40B4-BE49-F238E27FC236}">
                <a16:creationId xmlns:a16="http://schemas.microsoft.com/office/drawing/2014/main" id="{BFC04177-8AF4-5643-8B4F-91A2B9EC17EE}"/>
              </a:ext>
            </a:extLst>
          </p:cNvPr>
          <p:cNvSpPr/>
          <p:nvPr/>
        </p:nvSpPr>
        <p:spPr>
          <a:xfrm>
            <a:off x="5990479" y="1082321"/>
            <a:ext cx="2075825" cy="391883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Top 15 Enrolling Cente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North Carolina Heart &amp; Vascular      (J. Schneider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Essex Cardiothoracic Centre (K. Tang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Royal Bournemouth Hospital           (S. </a:t>
            </a:r>
            <a:r>
              <a:rPr lang="en-US" sz="975" b="1" dirty="0" err="1"/>
              <a:t>Talwar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VU University  Medical Center         (K. Marques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Midwest Cardiovascular Research Foundation (N. </a:t>
            </a:r>
            <a:r>
              <a:rPr lang="en-US" sz="975" b="1" dirty="0" err="1"/>
              <a:t>Shammas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 err="1"/>
              <a:t>Northwell</a:t>
            </a:r>
            <a:r>
              <a:rPr lang="en-US" sz="975" b="1" dirty="0"/>
              <a:t> Health (L. </a:t>
            </a:r>
            <a:r>
              <a:rPr lang="en-US" sz="975" b="1" dirty="0" err="1"/>
              <a:t>Gruberg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Colorado Heart &amp; Vascular                (J. Altman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Dartmouth Hitchcock (J. Jayne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VAMC Long Beach (A. </a:t>
            </a:r>
            <a:r>
              <a:rPr lang="en-US" sz="975" b="1" dirty="0" err="1"/>
              <a:t>Seto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VAMC Atlanta (G. Kumar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AMC </a:t>
            </a:r>
            <a:r>
              <a:rPr lang="en-US" sz="975" b="1" dirty="0" err="1"/>
              <a:t>Amsterfdam</a:t>
            </a:r>
            <a:r>
              <a:rPr lang="en-US" sz="975" b="1" dirty="0"/>
              <a:t> (J. Piek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St. Francis Hospital (R. </a:t>
            </a:r>
            <a:r>
              <a:rPr lang="en-US" sz="975" b="1" dirty="0" err="1"/>
              <a:t>Schlofmitz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Minneapolis Heart Institute             (E. </a:t>
            </a:r>
            <a:r>
              <a:rPr lang="en-US" sz="975" b="1" dirty="0" err="1"/>
              <a:t>Brilakis</a:t>
            </a:r>
            <a:r>
              <a:rPr lang="en-US" sz="975" b="1" dirty="0"/>
              <a:t>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Royal Devon &amp; Exeter (A. Sharp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b="1" dirty="0"/>
              <a:t>Stony Brook University Hospital      (W. Lawson)</a:t>
            </a:r>
          </a:p>
        </p:txBody>
      </p:sp>
      <p:sp>
        <p:nvSpPr>
          <p:cNvPr id="295" name="Rectangle 294"/>
          <p:cNvSpPr/>
          <p:nvPr/>
        </p:nvSpPr>
        <p:spPr>
          <a:xfrm>
            <a:off x="6012284" y="1294723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67</a:t>
            </a:r>
          </a:p>
        </p:txBody>
      </p:sp>
      <p:sp>
        <p:nvSpPr>
          <p:cNvPr id="298" name="Rectangle 297"/>
          <p:cNvSpPr/>
          <p:nvPr/>
        </p:nvSpPr>
        <p:spPr>
          <a:xfrm>
            <a:off x="6005447" y="1614881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50</a:t>
            </a:r>
          </a:p>
        </p:txBody>
      </p:sp>
      <p:sp>
        <p:nvSpPr>
          <p:cNvPr id="312" name="Rectangle 311"/>
          <p:cNvSpPr/>
          <p:nvPr/>
        </p:nvSpPr>
        <p:spPr>
          <a:xfrm>
            <a:off x="6005507" y="1905348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40</a:t>
            </a:r>
          </a:p>
        </p:txBody>
      </p:sp>
      <p:sp>
        <p:nvSpPr>
          <p:cNvPr id="313" name="Rectangle 312"/>
          <p:cNvSpPr/>
          <p:nvPr/>
        </p:nvSpPr>
        <p:spPr>
          <a:xfrm>
            <a:off x="6011433" y="2208834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36</a:t>
            </a:r>
          </a:p>
        </p:txBody>
      </p:sp>
      <p:sp>
        <p:nvSpPr>
          <p:cNvPr id="314" name="Rectangle 313"/>
          <p:cNvSpPr/>
          <p:nvPr/>
        </p:nvSpPr>
        <p:spPr>
          <a:xfrm>
            <a:off x="6022760" y="2513346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32</a:t>
            </a:r>
          </a:p>
        </p:txBody>
      </p:sp>
      <p:sp>
        <p:nvSpPr>
          <p:cNvPr id="315" name="Rectangle 314"/>
          <p:cNvSpPr/>
          <p:nvPr/>
        </p:nvSpPr>
        <p:spPr>
          <a:xfrm>
            <a:off x="6022937" y="2926124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32</a:t>
            </a:r>
          </a:p>
        </p:txBody>
      </p:sp>
      <p:sp>
        <p:nvSpPr>
          <p:cNvPr id="316" name="Rectangle 315"/>
          <p:cNvSpPr/>
          <p:nvPr/>
        </p:nvSpPr>
        <p:spPr>
          <a:xfrm>
            <a:off x="6021129" y="3116968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26</a:t>
            </a:r>
          </a:p>
        </p:txBody>
      </p:sp>
      <p:sp>
        <p:nvSpPr>
          <p:cNvPr id="317" name="Rectangle 316"/>
          <p:cNvSpPr/>
          <p:nvPr/>
        </p:nvSpPr>
        <p:spPr>
          <a:xfrm>
            <a:off x="6021611" y="3398894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25</a:t>
            </a:r>
          </a:p>
        </p:txBody>
      </p:sp>
      <p:sp>
        <p:nvSpPr>
          <p:cNvPr id="318" name="Rectangle 317"/>
          <p:cNvSpPr/>
          <p:nvPr/>
        </p:nvSpPr>
        <p:spPr>
          <a:xfrm>
            <a:off x="6029119" y="3546749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25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6032387" y="3708564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22</a:t>
            </a:r>
          </a:p>
        </p:txBody>
      </p:sp>
      <p:sp>
        <p:nvSpPr>
          <p:cNvPr id="320" name="Rectangle 319"/>
          <p:cNvSpPr/>
          <p:nvPr/>
        </p:nvSpPr>
        <p:spPr>
          <a:xfrm>
            <a:off x="6033106" y="3852055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18</a:t>
            </a:r>
          </a:p>
        </p:txBody>
      </p:sp>
      <p:sp>
        <p:nvSpPr>
          <p:cNvPr id="321" name="Rectangle 320"/>
          <p:cNvSpPr/>
          <p:nvPr/>
        </p:nvSpPr>
        <p:spPr>
          <a:xfrm>
            <a:off x="6032938" y="4020699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17</a:t>
            </a:r>
          </a:p>
        </p:txBody>
      </p:sp>
      <p:sp>
        <p:nvSpPr>
          <p:cNvPr id="322" name="Rectangle 321"/>
          <p:cNvSpPr/>
          <p:nvPr/>
        </p:nvSpPr>
        <p:spPr>
          <a:xfrm>
            <a:off x="6015279" y="4222211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17</a:t>
            </a:r>
          </a:p>
        </p:txBody>
      </p:sp>
      <p:sp>
        <p:nvSpPr>
          <p:cNvPr id="323" name="Rectangle 322"/>
          <p:cNvSpPr/>
          <p:nvPr/>
        </p:nvSpPr>
        <p:spPr>
          <a:xfrm>
            <a:off x="6032387" y="4468239"/>
            <a:ext cx="219810" cy="128208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15</a:t>
            </a:r>
          </a:p>
        </p:txBody>
      </p:sp>
      <p:sp>
        <p:nvSpPr>
          <p:cNvPr id="324" name="Rectangle 323"/>
          <p:cNvSpPr/>
          <p:nvPr/>
        </p:nvSpPr>
        <p:spPr>
          <a:xfrm>
            <a:off x="6032387" y="4683521"/>
            <a:ext cx="219810" cy="153830"/>
          </a:xfrm>
          <a:prstGeom prst="rect">
            <a:avLst/>
          </a:prstGeom>
          <a:solidFill>
            <a:srgbClr val="31859C"/>
          </a:solidFill>
          <a:ln>
            <a:solidFill>
              <a:srgbClr val="3185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" rIns="6858" rtlCol="0" anchor="ctr"/>
          <a:lstStyle/>
          <a:p>
            <a:pPr algn="ctr"/>
            <a:r>
              <a:rPr lang="en-US" sz="975" dirty="0"/>
              <a:t>13</a:t>
            </a:r>
          </a:p>
        </p:txBody>
      </p:sp>
      <p:pic>
        <p:nvPicPr>
          <p:cNvPr id="303" name="Picture 302">
            <a:extLst>
              <a:ext uri="{FF2B5EF4-FFF2-40B4-BE49-F238E27FC236}">
                <a16:creationId xmlns:a16="http://schemas.microsoft.com/office/drawing/2014/main" id="{C0A4A5A1-5E1D-4065-A59F-5D036A75CE7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700" y="179085"/>
            <a:ext cx="2417050" cy="392415"/>
          </a:xfrm>
          <a:prstGeom prst="rect">
            <a:avLst/>
          </a:prstGeom>
        </p:spPr>
      </p:pic>
      <p:sp>
        <p:nvSpPr>
          <p:cNvPr id="304" name="Oval 303">
            <a:extLst>
              <a:ext uri="{FF2B5EF4-FFF2-40B4-BE49-F238E27FC236}">
                <a16:creationId xmlns:a16="http://schemas.microsoft.com/office/drawing/2014/main" id="{4EFE99D0-A953-482C-A060-77C225C617E4}"/>
              </a:ext>
            </a:extLst>
          </p:cNvPr>
          <p:cNvSpPr>
            <a:spLocks noChangeAspect="1"/>
          </p:cNvSpPr>
          <p:nvPr/>
        </p:nvSpPr>
        <p:spPr>
          <a:xfrm>
            <a:off x="4436423" y="2103119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05" name="Oval 304">
            <a:extLst>
              <a:ext uri="{FF2B5EF4-FFF2-40B4-BE49-F238E27FC236}">
                <a16:creationId xmlns:a16="http://schemas.microsoft.com/office/drawing/2014/main" id="{2E1C7988-FC34-4550-807C-AB3D2E4715D9}"/>
              </a:ext>
            </a:extLst>
          </p:cNvPr>
          <p:cNvSpPr>
            <a:spLocks noChangeAspect="1"/>
          </p:cNvSpPr>
          <p:nvPr/>
        </p:nvSpPr>
        <p:spPr>
          <a:xfrm>
            <a:off x="4493573" y="2160269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307" name="Oval 306">
            <a:extLst>
              <a:ext uri="{FF2B5EF4-FFF2-40B4-BE49-F238E27FC236}">
                <a16:creationId xmlns:a16="http://schemas.microsoft.com/office/drawing/2014/main" id="{11E77A3A-7BE7-AC4C-B422-AD985451524F}"/>
              </a:ext>
            </a:extLst>
          </p:cNvPr>
          <p:cNvSpPr>
            <a:spLocks noChangeAspect="1"/>
          </p:cNvSpPr>
          <p:nvPr/>
        </p:nvSpPr>
        <p:spPr>
          <a:xfrm>
            <a:off x="2492023" y="2413025"/>
            <a:ext cx="78427" cy="7842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extLst>
      <p:ext uri="{BB962C8B-B14F-4D97-AF65-F5344CB8AC3E}">
        <p14:creationId xmlns:p14="http://schemas.microsoft.com/office/powerpoint/2010/main" val="633280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273F5FF6-EB04-4677-81D2-F5C0D0836A0B}"/>
              </a:ext>
            </a:extLst>
          </p:cNvPr>
          <p:cNvSpPr txBox="1">
            <a:spLocks/>
          </p:cNvSpPr>
          <p:nvPr/>
        </p:nvSpPr>
        <p:spPr>
          <a:xfrm>
            <a:off x="1614487" y="208793"/>
            <a:ext cx="5915025" cy="745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Study Methods (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E80215-FE45-4529-A33A-615BA4B52C11}"/>
              </a:ext>
            </a:extLst>
          </p:cNvPr>
          <p:cNvSpPr txBox="1"/>
          <p:nvPr/>
        </p:nvSpPr>
        <p:spPr>
          <a:xfrm>
            <a:off x="342899" y="725090"/>
            <a:ext cx="8458200" cy="3647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Blinding was achieved by turning off monitor in procedure room with guidance of measurements by unblinded research staff in control room</a:t>
            </a:r>
          </a:p>
          <a:p>
            <a:endParaRPr lang="en-US" sz="21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Pullback performed manually under continuous fluoroscopy with bookmarks inserted 5 mm distal and proximal to stent for core lab analysis</a:t>
            </a:r>
          </a:p>
          <a:p>
            <a:endParaRPr lang="en-US" sz="21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A final drift check was performed and recorded; if drift exceeded &gt;0.02 units, the wire was re-equalized and all measurements were repeated</a:t>
            </a:r>
          </a:p>
          <a:p>
            <a:endParaRPr lang="en-US" sz="21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All pressure tracings were sent to the physiology and angiography core laboratories at CRF (New York, NY) for centralized independent review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4B761B-C3CF-4924-B1D5-19C9520210E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950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273F5FF6-EB04-4677-81D2-F5C0D0836A0B}"/>
              </a:ext>
            </a:extLst>
          </p:cNvPr>
          <p:cNvSpPr txBox="1">
            <a:spLocks/>
          </p:cNvSpPr>
          <p:nvPr/>
        </p:nvSpPr>
        <p:spPr>
          <a:xfrm>
            <a:off x="1614487" y="168771"/>
            <a:ext cx="5915025" cy="745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Study Methods (I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E80215-FE45-4529-A33A-615BA4B52C11}"/>
              </a:ext>
            </a:extLst>
          </p:cNvPr>
          <p:cNvSpPr txBox="1"/>
          <p:nvPr/>
        </p:nvSpPr>
        <p:spPr>
          <a:xfrm>
            <a:off x="310241" y="755868"/>
            <a:ext cx="8523515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000" dirty="0"/>
              <a:t>Each tracing was assessed for quality, including evaluation of aortic and coronary pressure signal for wave-form distortion and ventricularization</a:t>
            </a:r>
          </a:p>
          <a:p>
            <a:endParaRPr lang="en-US" sz="10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000" dirty="0"/>
              <a:t>Trans-stenotic pressure gradients in post-PCI </a:t>
            </a:r>
            <a:r>
              <a:rPr lang="en-US" sz="2000" dirty="0" err="1"/>
              <a:t>iFR</a:t>
            </a:r>
            <a:r>
              <a:rPr lang="en-US" sz="2000" dirty="0"/>
              <a:t> pullback were categorized according to their location (distal vessel, stented segment or proximal vessel) and classified into focal lesions or diffuse disease</a:t>
            </a:r>
          </a:p>
          <a:p>
            <a:endParaRPr lang="en-US" sz="10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000" dirty="0"/>
              <a:t>Trans-stenotic pressure gradients of ≥0.03 units were categorized as focal lesions when their length was ≤15 mm and as diffuse disease when their length exceeded 15 mm</a:t>
            </a:r>
          </a:p>
          <a:p>
            <a:endParaRPr lang="en-US" sz="10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000" dirty="0"/>
              <a:t>The angiographic core laboratory analyzed all angiograms before and after PCI using standard method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458834-B104-4912-B7A5-4A40AAE8C54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565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273F5FF6-EB04-4677-81D2-F5C0D0836A0B}"/>
              </a:ext>
            </a:extLst>
          </p:cNvPr>
          <p:cNvSpPr txBox="1">
            <a:spLocks/>
          </p:cNvSpPr>
          <p:nvPr/>
        </p:nvSpPr>
        <p:spPr>
          <a:xfrm>
            <a:off x="1440996" y="86329"/>
            <a:ext cx="5915025" cy="745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75" b="1" dirty="0">
                <a:solidFill>
                  <a:srgbClr val="002060"/>
                </a:solidFill>
              </a:rPr>
              <a:t>Baseline Patient Characteristic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C3C9BD-5E59-4B17-84D4-518AFC36BE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292813"/>
              </p:ext>
            </p:extLst>
          </p:nvPr>
        </p:nvGraphicFramePr>
        <p:xfrm>
          <a:off x="2106386" y="563335"/>
          <a:ext cx="4857750" cy="4381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2484">
                  <a:extLst>
                    <a:ext uri="{9D8B030D-6E8A-4147-A177-3AD203B41FA5}">
                      <a16:colId xmlns:a16="http://schemas.microsoft.com/office/drawing/2014/main" val="294859559"/>
                    </a:ext>
                  </a:extLst>
                </a:gridCol>
                <a:gridCol w="2125266">
                  <a:extLst>
                    <a:ext uri="{9D8B030D-6E8A-4147-A177-3AD203B41FA5}">
                      <a16:colId xmlns:a16="http://schemas.microsoft.com/office/drawing/2014/main" val="1617512965"/>
                    </a:ext>
                  </a:extLst>
                </a:gridCol>
              </a:tblGrid>
              <a:tr h="319818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FFC000"/>
                          </a:solidFill>
                          <a:latin typeface="+mn-lt"/>
                        </a:rPr>
                        <a:t>N = 500 Patient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47123288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ge (years)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6.4 ± 9.9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041661462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le 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9 (75.8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788306571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abetes mellitus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9 (33.8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327225730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or PCI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7 (45.4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4065402008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or myocardial infarction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4 (26.8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518869655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ft ventricular ejection fraction (%)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.3 ± 9.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456764898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linical presentation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759064898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Stable angina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2 (42.4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312719040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Silent ischemia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 (5.4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3501525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Unstable angina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5 (31.0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474550370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NSTEMI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5 (17.0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29862929"/>
                  </a:ext>
                </a:extLst>
              </a:tr>
              <a:tr h="338475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Recent STEMI (&gt;7 days)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 (4.2%)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408404793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27035E3-5A6D-44CD-88C5-C4B21D99D75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285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273F5FF6-EB04-4677-81D2-F5C0D0836A0B}"/>
              </a:ext>
            </a:extLst>
          </p:cNvPr>
          <p:cNvSpPr txBox="1">
            <a:spLocks/>
          </p:cNvSpPr>
          <p:nvPr/>
        </p:nvSpPr>
        <p:spPr>
          <a:xfrm>
            <a:off x="1543050" y="97971"/>
            <a:ext cx="5915025" cy="745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75" b="1" dirty="0">
                <a:solidFill>
                  <a:srgbClr val="002060"/>
                </a:solidFill>
              </a:rPr>
              <a:t>Baseline Procedural Characteristic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7C3C9BD-5E59-4B17-84D4-518AFC36BE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8425875"/>
              </p:ext>
            </p:extLst>
          </p:nvPr>
        </p:nvGraphicFramePr>
        <p:xfrm>
          <a:off x="1951263" y="565561"/>
          <a:ext cx="5200651" cy="43983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0407">
                  <a:extLst>
                    <a:ext uri="{9D8B030D-6E8A-4147-A177-3AD203B41FA5}">
                      <a16:colId xmlns:a16="http://schemas.microsoft.com/office/drawing/2014/main" val="294859559"/>
                    </a:ext>
                  </a:extLst>
                </a:gridCol>
                <a:gridCol w="1950244">
                  <a:extLst>
                    <a:ext uri="{9D8B030D-6E8A-4147-A177-3AD203B41FA5}">
                      <a16:colId xmlns:a16="http://schemas.microsoft.com/office/drawing/2014/main" val="1617512965"/>
                    </a:ext>
                  </a:extLst>
                </a:gridCol>
              </a:tblGrid>
              <a:tr h="319310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FFC000"/>
                          </a:solidFill>
                          <a:latin typeface="+mn-lt"/>
                        </a:rPr>
                        <a:t>N = 562 Vessel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47123288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ft anterior descending artery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42 (60.9%)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041661462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ultivessel PCI performed (≥2 vessels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 (12.0%)  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788306571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ifurcation lesion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8/557 (33.8%)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327225730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esion length (m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.6 ± 13.6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065402008"/>
                  </a:ext>
                </a:extLst>
              </a:tr>
              <a:tr h="36171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-PCI diameter stenosis (%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.4 ± 11.1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518869655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st-PCI diameter stenosis (%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.3 ± 15.0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456764898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st-PCI residual stenosis ≥50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/560 (7.0%)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759064898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number of stents used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4 ± 0.8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312719040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stent length (m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.9 ± 19.5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603501525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 device size (m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3 ± 2.2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474550370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imum balloon pressure (at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.8 ± 4.0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29862929"/>
                  </a:ext>
                </a:extLst>
              </a:tr>
              <a:tr h="337936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38505" algn="l"/>
                        </a:tabLs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ost-dilatation performed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4/553 (58.6%)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08404793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A9078E1-7AFB-430F-AB21-C565704B5B1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35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>
            <a:off x="1267878" y="611461"/>
            <a:ext cx="6579230" cy="3844589"/>
            <a:chOff x="1141309" y="659845"/>
            <a:chExt cx="10744253" cy="5827503"/>
          </a:xfrm>
        </p:grpSpPr>
        <p:graphicFrame>
          <p:nvGraphicFramePr>
            <p:cNvPr id="2" name="Chart 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32632252"/>
                </p:ext>
              </p:extLst>
            </p:nvPr>
          </p:nvGraphicFramePr>
          <p:xfrm>
            <a:off x="1779544" y="659845"/>
            <a:ext cx="9343294" cy="56059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正方形/長方形 2"/>
            <p:cNvSpPr/>
            <p:nvPr/>
          </p:nvSpPr>
          <p:spPr>
            <a:xfrm>
              <a:off x="2312377" y="6014809"/>
              <a:ext cx="8596058" cy="2742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013"/>
            </a:p>
          </p:txBody>
        </p:sp>
        <p:sp>
          <p:nvSpPr>
            <p:cNvPr id="3" name="テキスト ボックス 3"/>
            <p:cNvSpPr txBox="1"/>
            <p:nvPr/>
          </p:nvSpPr>
          <p:spPr>
            <a:xfrm>
              <a:off x="3623731" y="6068369"/>
              <a:ext cx="1181860" cy="4189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1125" dirty="0">
                  <a:latin typeface="Arial" panose="020B0604020202020204" pitchFamily="34" charset="0"/>
                  <a:cs typeface="Arial" panose="020B0604020202020204" pitchFamily="34" charset="0"/>
                </a:rPr>
                <a:t>Pre-PCI</a:t>
              </a:r>
              <a:endParaRPr kumimoji="1" lang="ja-JP" altLang="en-US" sz="11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テキスト ボックス 4"/>
            <p:cNvSpPr txBox="1"/>
            <p:nvPr/>
          </p:nvSpPr>
          <p:spPr>
            <a:xfrm>
              <a:off x="9133432" y="6065764"/>
              <a:ext cx="1290484" cy="4189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en-US" altLang="ja-JP" sz="1125" dirty="0">
                  <a:latin typeface="Arial" panose="020B0604020202020204" pitchFamily="34" charset="0"/>
                  <a:cs typeface="Arial" panose="020B0604020202020204" pitchFamily="34" charset="0"/>
                </a:rPr>
                <a:t>Post-PCI</a:t>
              </a:r>
              <a:endParaRPr kumimoji="1" lang="ja-JP" altLang="en-US" sz="11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" name="直線コネクタ 8"/>
            <p:cNvCxnSpPr>
              <a:cxnSpLocks/>
            </p:cNvCxnSpPr>
            <p:nvPr/>
          </p:nvCxnSpPr>
          <p:spPr>
            <a:xfrm>
              <a:off x="2621478" y="1888211"/>
              <a:ext cx="8411294" cy="64708"/>
            </a:xfrm>
            <a:prstGeom prst="line">
              <a:avLst/>
            </a:prstGeom>
            <a:ln w="19050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テキスト ボックス 9"/>
            <p:cNvSpPr txBox="1"/>
            <p:nvPr/>
          </p:nvSpPr>
          <p:spPr>
            <a:xfrm>
              <a:off x="11015930" y="1697197"/>
              <a:ext cx="869632" cy="4665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4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89</a:t>
              </a:r>
              <a:endParaRPr kumimoji="1" lang="ja-JP" alt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3331519" y="2584844"/>
              <a:ext cx="274321" cy="272797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9" name="Oval 8"/>
            <p:cNvSpPr/>
            <p:nvPr/>
          </p:nvSpPr>
          <p:spPr>
            <a:xfrm>
              <a:off x="10246493" y="1553446"/>
              <a:ext cx="259881" cy="272797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806276" y="3816801"/>
              <a:ext cx="1757605" cy="443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0.69 ± 0.22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839383" y="2410108"/>
              <a:ext cx="1757605" cy="443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00" dirty="0">
                  <a:latin typeface="Arial" panose="020B0604020202020204" pitchFamily="34" charset="0"/>
                  <a:cs typeface="Arial" panose="020B0604020202020204" pitchFamily="34" charset="0"/>
                </a:rPr>
                <a:t>0.93 ± 0.07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FF8CD6C-F7EB-4EE2-B193-45B6E2BE4E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74792" y="1714871"/>
              <a:ext cx="7220" cy="1980033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75735E5-97CF-4474-8C13-D1715C91CFFF}"/>
                </a:ext>
              </a:extLst>
            </p:cNvPr>
            <p:cNvCxnSpPr/>
            <p:nvPr/>
          </p:nvCxnSpPr>
          <p:spPr>
            <a:xfrm>
              <a:off x="3353644" y="1716943"/>
              <a:ext cx="259881" cy="0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5839105-B649-416A-8978-534A9903EE45}"/>
                </a:ext>
              </a:extLst>
            </p:cNvPr>
            <p:cNvCxnSpPr/>
            <p:nvPr/>
          </p:nvCxnSpPr>
          <p:spPr>
            <a:xfrm>
              <a:off x="3349559" y="3694904"/>
              <a:ext cx="259881" cy="0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9623DA8-BC13-41B1-8E1A-D2BE715FA6CF}"/>
                </a:ext>
              </a:extLst>
            </p:cNvPr>
            <p:cNvCxnSpPr/>
            <p:nvPr/>
          </p:nvCxnSpPr>
          <p:spPr>
            <a:xfrm>
              <a:off x="10263560" y="1248187"/>
              <a:ext cx="259881" cy="0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D88429D-7127-4D56-9C2C-D00E0009AE2E}"/>
                </a:ext>
              </a:extLst>
            </p:cNvPr>
            <p:cNvCxnSpPr/>
            <p:nvPr/>
          </p:nvCxnSpPr>
          <p:spPr>
            <a:xfrm>
              <a:off x="10258742" y="2128577"/>
              <a:ext cx="259881" cy="0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FF8CD6C-F7EB-4EE2-B193-45B6E2BE4E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378163" y="1233331"/>
              <a:ext cx="6692" cy="871519"/>
            </a:xfrm>
            <a:prstGeom prst="line">
              <a:avLst/>
            </a:prstGeom>
            <a:ln w="508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テキスト ボックス 5"/>
            <p:cNvSpPr txBox="1"/>
            <p:nvPr/>
          </p:nvSpPr>
          <p:spPr>
            <a:xfrm rot="16200000">
              <a:off x="1030788" y="2844610"/>
              <a:ext cx="824182" cy="6031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kumimoji="1" lang="ja-JP" alt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57E94830-EC55-4380-9920-E50D50CD4F7A}"/>
              </a:ext>
            </a:extLst>
          </p:cNvPr>
          <p:cNvSpPr/>
          <p:nvPr/>
        </p:nvSpPr>
        <p:spPr>
          <a:xfrm>
            <a:off x="1657350" y="4118108"/>
            <a:ext cx="5886450" cy="3052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8F4F9E4E-9B50-498C-B5A3-813E174936A7}"/>
              </a:ext>
            </a:extLst>
          </p:cNvPr>
          <p:cNvSpPr txBox="1">
            <a:spLocks/>
          </p:cNvSpPr>
          <p:nvPr/>
        </p:nvSpPr>
        <p:spPr>
          <a:xfrm>
            <a:off x="1743074" y="91437"/>
            <a:ext cx="5915025" cy="74562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Pre- and Post-PCI </a:t>
            </a:r>
            <a:r>
              <a:rPr lang="en-US" sz="2800" b="1" dirty="0" err="1">
                <a:solidFill>
                  <a:srgbClr val="002060"/>
                </a:solidFill>
              </a:rPr>
              <a:t>iFR</a:t>
            </a:r>
            <a:r>
              <a:rPr lang="en-US" sz="2800" b="1" dirty="0">
                <a:solidFill>
                  <a:srgbClr val="002060"/>
                </a:solidFill>
              </a:rPr>
              <a:t> in Individual Vessel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4836A25-EE5E-44B9-A043-7B46971A68A2}"/>
              </a:ext>
            </a:extLst>
          </p:cNvPr>
          <p:cNvSpPr txBox="1"/>
          <p:nvPr/>
        </p:nvSpPr>
        <p:spPr>
          <a:xfrm>
            <a:off x="2842072" y="4140042"/>
            <a:ext cx="1202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-PCI </a:t>
            </a:r>
            <a:r>
              <a:rPr lang="en-US" dirty="0" err="1"/>
              <a:t>iFR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49B217-4FBB-4CD3-90F6-F54ACB6E4D08}"/>
              </a:ext>
            </a:extLst>
          </p:cNvPr>
          <p:cNvSpPr txBox="1"/>
          <p:nvPr/>
        </p:nvSpPr>
        <p:spPr>
          <a:xfrm>
            <a:off x="6007558" y="4124964"/>
            <a:ext cx="1291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st-PCI </a:t>
            </a:r>
            <a:r>
              <a:rPr lang="en-US" dirty="0" err="1"/>
              <a:t>iFR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17810DB-32A2-4A7E-A4CA-70A894E52A33}"/>
              </a:ext>
            </a:extLst>
          </p:cNvPr>
          <p:cNvSpPr txBox="1"/>
          <p:nvPr/>
        </p:nvSpPr>
        <p:spPr>
          <a:xfrm>
            <a:off x="6638245" y="2856077"/>
            <a:ext cx="20792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iFR</a:t>
            </a:r>
            <a:r>
              <a:rPr lang="en-US" sz="1600" dirty="0"/>
              <a:t> increased post-PCI</a:t>
            </a:r>
          </a:p>
          <a:p>
            <a:endParaRPr lang="en-US" sz="800" dirty="0"/>
          </a:p>
          <a:p>
            <a:r>
              <a:rPr lang="en-US" sz="1600" dirty="0" err="1"/>
              <a:t>iFR</a:t>
            </a:r>
            <a:r>
              <a:rPr lang="en-US" sz="1600" dirty="0"/>
              <a:t> decreased post-PCI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631EF78-4EF1-436B-8AE7-9EEDF691582F}"/>
              </a:ext>
            </a:extLst>
          </p:cNvPr>
          <p:cNvCxnSpPr/>
          <p:nvPr/>
        </p:nvCxnSpPr>
        <p:spPr>
          <a:xfrm>
            <a:off x="6007558" y="3069771"/>
            <a:ext cx="549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867052F-37B4-412A-83D6-5A5BAFD18363}"/>
              </a:ext>
            </a:extLst>
          </p:cNvPr>
          <p:cNvCxnSpPr/>
          <p:nvPr/>
        </p:nvCxnSpPr>
        <p:spPr>
          <a:xfrm>
            <a:off x="6032953" y="3408444"/>
            <a:ext cx="5494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C2D47CB6-DD08-428F-835E-57DA7578580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グラフ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7781965"/>
              </p:ext>
            </p:extLst>
          </p:nvPr>
        </p:nvGraphicFramePr>
        <p:xfrm>
          <a:off x="1183223" y="767061"/>
          <a:ext cx="6274851" cy="3764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テキスト ボックス 10"/>
          <p:cNvSpPr txBox="1"/>
          <p:nvPr/>
        </p:nvSpPr>
        <p:spPr>
          <a:xfrm>
            <a:off x="3575633" y="4573408"/>
            <a:ext cx="1928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Number of Vessels</a:t>
            </a:r>
            <a:endParaRPr kumimoji="1" lang="ja-JP" altLang="en-US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テキスト ボックス 5"/>
          <p:cNvSpPr txBox="1"/>
          <p:nvPr/>
        </p:nvSpPr>
        <p:spPr>
          <a:xfrm rot="16200000">
            <a:off x="369292" y="2163276"/>
            <a:ext cx="1095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err="1"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kumimoji="1" lang="en-US" altLang="ja-JP" dirty="0">
                <a:latin typeface="Arial" panose="020B0604020202020204" pitchFamily="34" charset="0"/>
                <a:cs typeface="Arial" panose="020B0604020202020204" pitchFamily="34" charset="0"/>
              </a:rPr>
              <a:t> Gain</a:t>
            </a:r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線コネクタ 6"/>
          <p:cNvCxnSpPr>
            <a:cxnSpLocks/>
          </p:cNvCxnSpPr>
          <p:nvPr/>
        </p:nvCxnSpPr>
        <p:spPr>
          <a:xfrm>
            <a:off x="1743074" y="1571643"/>
            <a:ext cx="5612947" cy="19488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9"/>
          <p:cNvSpPr txBox="1"/>
          <p:nvPr/>
        </p:nvSpPr>
        <p:spPr>
          <a:xfrm>
            <a:off x="7458074" y="1421854"/>
            <a:ext cx="5485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600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0.89</a:t>
            </a:r>
            <a:endParaRPr kumimoji="1" lang="ja-JP" altLang="en-US" sz="1600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1288CF2-D83D-4C14-94D5-4FC244EEFF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996766"/>
              </p:ext>
            </p:extLst>
          </p:nvPr>
        </p:nvGraphicFramePr>
        <p:xfrm>
          <a:off x="5244151" y="2777703"/>
          <a:ext cx="2628900" cy="13358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4615">
                  <a:extLst>
                    <a:ext uri="{9D8B030D-6E8A-4147-A177-3AD203B41FA5}">
                      <a16:colId xmlns:a16="http://schemas.microsoft.com/office/drawing/2014/main" val="3618077522"/>
                    </a:ext>
                  </a:extLst>
                </a:gridCol>
                <a:gridCol w="1454285">
                  <a:extLst>
                    <a:ext uri="{9D8B030D-6E8A-4147-A177-3AD203B41FA5}">
                      <a16:colId xmlns:a16="http://schemas.microsoft.com/office/drawing/2014/main" val="335099900"/>
                    </a:ext>
                  </a:extLst>
                </a:gridCol>
              </a:tblGrid>
              <a:tr h="398546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hange in </a:t>
                      </a:r>
                      <a:r>
                        <a:rPr lang="en-US" sz="1600" dirty="0" err="1"/>
                        <a:t>iFR</a:t>
                      </a:r>
                      <a:r>
                        <a:rPr lang="en-US" sz="1600" dirty="0"/>
                        <a:t>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3950834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600" dirty="0"/>
                        <a:t>Averag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24±0.2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6969435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600" dirty="0"/>
                        <a:t>Minimu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-0.0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530988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600" dirty="0"/>
                        <a:t>Maximu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86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30884631"/>
                  </a:ext>
                </a:extLst>
              </a:tr>
            </a:tbl>
          </a:graphicData>
        </a:graphic>
      </p:graphicFrame>
      <p:sp>
        <p:nvSpPr>
          <p:cNvPr id="11" name="Title 4">
            <a:extLst>
              <a:ext uri="{FF2B5EF4-FFF2-40B4-BE49-F238E27FC236}">
                <a16:creationId xmlns:a16="http://schemas.microsoft.com/office/drawing/2014/main" id="{BB37BF37-14F5-4571-A6C2-C5DCEE9FB1FC}"/>
              </a:ext>
            </a:extLst>
          </p:cNvPr>
          <p:cNvSpPr txBox="1">
            <a:spLocks/>
          </p:cNvSpPr>
          <p:nvPr/>
        </p:nvSpPr>
        <p:spPr>
          <a:xfrm>
            <a:off x="864053" y="334145"/>
            <a:ext cx="7241721" cy="49647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err="1">
                <a:solidFill>
                  <a:srgbClr val="002060"/>
                </a:solidFill>
              </a:rPr>
              <a:t>iFR</a:t>
            </a:r>
            <a:r>
              <a:rPr lang="en-US" sz="2800" b="1" dirty="0">
                <a:solidFill>
                  <a:srgbClr val="002060"/>
                </a:solidFill>
              </a:rPr>
              <a:t> Gain in Individual Pts from Pre- to Post-PCI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5456D3-2A82-4598-81A9-86A6EBD6A2E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329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43074" y="608914"/>
            <a:ext cx="1566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+mj-lt"/>
                <a:cs typeface="Arial" panose="020B0604020202020204" pitchFamily="34" charset="0"/>
              </a:rPr>
              <a:t>Pre Angiogra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73475" y="607211"/>
            <a:ext cx="1699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+mj-lt"/>
                <a:cs typeface="Arial" panose="020B0604020202020204" pitchFamily="34" charset="0"/>
              </a:rPr>
              <a:t>Final Angiogram</a:t>
            </a:r>
          </a:p>
        </p:txBody>
      </p:sp>
      <p:pic>
        <p:nvPicPr>
          <p:cNvPr id="8" name="Pre-Angio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00096" y="997985"/>
            <a:ext cx="3690257" cy="3690257"/>
          </a:xfrm>
          <a:prstGeom prst="rect">
            <a:avLst/>
          </a:prstGeom>
        </p:spPr>
      </p:pic>
      <p:pic>
        <p:nvPicPr>
          <p:cNvPr id="9" name="Final-Angio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678131" y="997985"/>
            <a:ext cx="3690257" cy="36902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856792-920F-41E5-9728-9CA0F3C76A64}"/>
              </a:ext>
            </a:extLst>
          </p:cNvPr>
          <p:cNvSpPr txBox="1"/>
          <p:nvPr/>
        </p:nvSpPr>
        <p:spPr>
          <a:xfrm>
            <a:off x="1508904" y="186884"/>
            <a:ext cx="6338453" cy="5330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3200" b="1" dirty="0">
                <a:solidFill>
                  <a:srgbClr val="002060"/>
                </a:solidFill>
                <a:sym typeface="Helvetica Light"/>
              </a:rPr>
              <a:t>Case Example – Severe LAD Stenosi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B0BCAB-3EBC-44BB-9112-58C269E5743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553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6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666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4132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22" t="6797" b="27647"/>
          <a:stretch/>
        </p:blipFill>
        <p:spPr>
          <a:xfrm>
            <a:off x="5305480" y="2848158"/>
            <a:ext cx="2872346" cy="209868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5" t="6852" r="815" b="21667"/>
          <a:stretch/>
        </p:blipFill>
        <p:spPr>
          <a:xfrm>
            <a:off x="5305480" y="644215"/>
            <a:ext cx="2872346" cy="207183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5314950" y="2848158"/>
            <a:ext cx="2546478" cy="1566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96098" y="2832369"/>
            <a:ext cx="4849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289110" y="2845405"/>
            <a:ext cx="6302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ximal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1" t="13323" r="75135" b="60993"/>
          <a:stretch/>
        </p:blipFill>
        <p:spPr>
          <a:xfrm>
            <a:off x="5451950" y="2848158"/>
            <a:ext cx="484925" cy="48195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15C3E2ED-53FB-49BD-807C-821F7FCF56D7}"/>
              </a:ext>
            </a:extLst>
          </p:cNvPr>
          <p:cNvGrpSpPr/>
          <p:nvPr/>
        </p:nvGrpSpPr>
        <p:grpSpPr>
          <a:xfrm>
            <a:off x="3761292" y="631537"/>
            <a:ext cx="1440890" cy="2082439"/>
            <a:chOff x="4054530" y="733034"/>
            <a:chExt cx="1147652" cy="1882974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5"/>
            <a:srcRect l="35274" t="9678" r="16759" b="11623"/>
            <a:stretch/>
          </p:blipFill>
          <p:spPr>
            <a:xfrm>
              <a:off x="4054530" y="733034"/>
              <a:ext cx="1147652" cy="1882974"/>
            </a:xfrm>
            <a:prstGeom prst="rect">
              <a:avLst/>
            </a:prstGeom>
          </p:spPr>
        </p:pic>
        <p:sp>
          <p:nvSpPr>
            <p:cNvPr id="33" name="Isosceles Triangle 32"/>
            <p:cNvSpPr/>
            <p:nvPr/>
          </p:nvSpPr>
          <p:spPr>
            <a:xfrm rot="3861312">
              <a:off x="4849164" y="2025313"/>
              <a:ext cx="99283" cy="15110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58833C5-A71F-4AE9-87F2-A63F6785D17D}"/>
              </a:ext>
            </a:extLst>
          </p:cNvPr>
          <p:cNvGrpSpPr/>
          <p:nvPr/>
        </p:nvGrpSpPr>
        <p:grpSpPr>
          <a:xfrm>
            <a:off x="1693348" y="620499"/>
            <a:ext cx="1916791" cy="2082439"/>
            <a:chOff x="2301450" y="739594"/>
            <a:chExt cx="1660922" cy="1865376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5"/>
            <a:srcRect l="4992" r="5969"/>
            <a:stretch/>
          </p:blipFill>
          <p:spPr>
            <a:xfrm>
              <a:off x="2301450" y="739594"/>
              <a:ext cx="1660922" cy="1865376"/>
            </a:xfrm>
            <a:prstGeom prst="rect">
              <a:avLst/>
            </a:prstGeom>
          </p:spPr>
        </p:pic>
        <p:cxnSp>
          <p:nvCxnSpPr>
            <p:cNvPr id="24" name="Straight Arrow Connector 23"/>
            <p:cNvCxnSpPr>
              <a:cxnSpLocks/>
            </p:cNvCxnSpPr>
            <p:nvPr/>
          </p:nvCxnSpPr>
          <p:spPr>
            <a:xfrm flipV="1">
              <a:off x="3582419" y="2342666"/>
              <a:ext cx="127901" cy="35531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3146095" y="2300291"/>
              <a:ext cx="545342" cy="1962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75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r>
                <a:rPr lang="en-US" sz="675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0.39</a:t>
              </a:r>
            </a:p>
          </p:txBody>
        </p:sp>
        <p:sp>
          <p:nvSpPr>
            <p:cNvPr id="32" name="Isosceles Triangle 31"/>
            <p:cNvSpPr/>
            <p:nvPr/>
          </p:nvSpPr>
          <p:spPr>
            <a:xfrm rot="3861312">
              <a:off x="3524009" y="2068673"/>
              <a:ext cx="99283" cy="15110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855424" y="973081"/>
              <a:ext cx="1012535" cy="1483022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4E64161-957E-4F99-A740-42E21C99EA85}"/>
              </a:ext>
            </a:extLst>
          </p:cNvPr>
          <p:cNvGrpSpPr/>
          <p:nvPr/>
        </p:nvGrpSpPr>
        <p:grpSpPr>
          <a:xfrm>
            <a:off x="1705453" y="2820923"/>
            <a:ext cx="1925248" cy="2127871"/>
            <a:chOff x="2309613" y="2820924"/>
            <a:chExt cx="1662950" cy="186537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6"/>
            <a:srcRect l="-1" r="10852"/>
            <a:stretch/>
          </p:blipFill>
          <p:spPr>
            <a:xfrm>
              <a:off x="2309613" y="2820924"/>
              <a:ext cx="1662950" cy="1865376"/>
            </a:xfrm>
            <a:prstGeom prst="rect">
              <a:avLst/>
            </a:prstGeom>
          </p:spPr>
        </p:pic>
        <p:sp>
          <p:nvSpPr>
            <p:cNvPr id="20" name="Freeform 19"/>
            <p:cNvSpPr/>
            <p:nvPr/>
          </p:nvSpPr>
          <p:spPr>
            <a:xfrm>
              <a:off x="3287528" y="3745702"/>
              <a:ext cx="223242" cy="591146"/>
            </a:xfrm>
            <a:custGeom>
              <a:avLst/>
              <a:gdLst>
                <a:gd name="connsiteX0" fmla="*/ 0 w 294543"/>
                <a:gd name="connsiteY0" fmla="*/ 0 h 984250"/>
                <a:gd name="connsiteX1" fmla="*/ 63500 w 294543"/>
                <a:gd name="connsiteY1" fmla="*/ 177800 h 984250"/>
                <a:gd name="connsiteX2" fmla="*/ 165100 w 294543"/>
                <a:gd name="connsiteY2" fmla="*/ 311150 h 984250"/>
                <a:gd name="connsiteX3" fmla="*/ 241300 w 294543"/>
                <a:gd name="connsiteY3" fmla="*/ 393700 h 984250"/>
                <a:gd name="connsiteX4" fmla="*/ 254000 w 294543"/>
                <a:gd name="connsiteY4" fmla="*/ 552450 h 984250"/>
                <a:gd name="connsiteX5" fmla="*/ 266700 w 294543"/>
                <a:gd name="connsiteY5" fmla="*/ 742950 h 984250"/>
                <a:gd name="connsiteX6" fmla="*/ 292100 w 294543"/>
                <a:gd name="connsiteY6" fmla="*/ 927100 h 984250"/>
                <a:gd name="connsiteX7" fmla="*/ 292100 w 294543"/>
                <a:gd name="connsiteY7" fmla="*/ 984250 h 984250"/>
                <a:gd name="connsiteX0" fmla="*/ 0 w 399318"/>
                <a:gd name="connsiteY0" fmla="*/ 0 h 1136650"/>
                <a:gd name="connsiteX1" fmla="*/ 168275 w 399318"/>
                <a:gd name="connsiteY1" fmla="*/ 330200 h 1136650"/>
                <a:gd name="connsiteX2" fmla="*/ 269875 w 399318"/>
                <a:gd name="connsiteY2" fmla="*/ 463550 h 1136650"/>
                <a:gd name="connsiteX3" fmla="*/ 346075 w 399318"/>
                <a:gd name="connsiteY3" fmla="*/ 546100 h 1136650"/>
                <a:gd name="connsiteX4" fmla="*/ 358775 w 399318"/>
                <a:gd name="connsiteY4" fmla="*/ 704850 h 1136650"/>
                <a:gd name="connsiteX5" fmla="*/ 371475 w 399318"/>
                <a:gd name="connsiteY5" fmla="*/ 895350 h 1136650"/>
                <a:gd name="connsiteX6" fmla="*/ 396875 w 399318"/>
                <a:gd name="connsiteY6" fmla="*/ 1079500 h 1136650"/>
                <a:gd name="connsiteX7" fmla="*/ 396875 w 399318"/>
                <a:gd name="connsiteY7" fmla="*/ 1136650 h 1136650"/>
                <a:gd name="connsiteX0" fmla="*/ 0 w 399318"/>
                <a:gd name="connsiteY0" fmla="*/ 0 h 1136650"/>
                <a:gd name="connsiteX1" fmla="*/ 168275 w 399318"/>
                <a:gd name="connsiteY1" fmla="*/ 234950 h 1136650"/>
                <a:gd name="connsiteX2" fmla="*/ 269875 w 399318"/>
                <a:gd name="connsiteY2" fmla="*/ 463550 h 1136650"/>
                <a:gd name="connsiteX3" fmla="*/ 346075 w 399318"/>
                <a:gd name="connsiteY3" fmla="*/ 546100 h 1136650"/>
                <a:gd name="connsiteX4" fmla="*/ 358775 w 399318"/>
                <a:gd name="connsiteY4" fmla="*/ 704850 h 1136650"/>
                <a:gd name="connsiteX5" fmla="*/ 371475 w 399318"/>
                <a:gd name="connsiteY5" fmla="*/ 895350 h 1136650"/>
                <a:gd name="connsiteX6" fmla="*/ 396875 w 399318"/>
                <a:gd name="connsiteY6" fmla="*/ 1079500 h 1136650"/>
                <a:gd name="connsiteX7" fmla="*/ 396875 w 399318"/>
                <a:gd name="connsiteY7" fmla="*/ 1136650 h 1136650"/>
                <a:gd name="connsiteX0" fmla="*/ 0 w 399318"/>
                <a:gd name="connsiteY0" fmla="*/ 0 h 1136650"/>
                <a:gd name="connsiteX1" fmla="*/ 168275 w 399318"/>
                <a:gd name="connsiteY1" fmla="*/ 234950 h 1136650"/>
                <a:gd name="connsiteX2" fmla="*/ 250825 w 399318"/>
                <a:gd name="connsiteY2" fmla="*/ 406400 h 1136650"/>
                <a:gd name="connsiteX3" fmla="*/ 346075 w 399318"/>
                <a:gd name="connsiteY3" fmla="*/ 546100 h 1136650"/>
                <a:gd name="connsiteX4" fmla="*/ 358775 w 399318"/>
                <a:gd name="connsiteY4" fmla="*/ 704850 h 1136650"/>
                <a:gd name="connsiteX5" fmla="*/ 371475 w 399318"/>
                <a:gd name="connsiteY5" fmla="*/ 895350 h 1136650"/>
                <a:gd name="connsiteX6" fmla="*/ 396875 w 399318"/>
                <a:gd name="connsiteY6" fmla="*/ 1079500 h 1136650"/>
                <a:gd name="connsiteX7" fmla="*/ 396875 w 399318"/>
                <a:gd name="connsiteY7" fmla="*/ 1136650 h 1136650"/>
                <a:gd name="connsiteX0" fmla="*/ 0 w 396875"/>
                <a:gd name="connsiteY0" fmla="*/ 0 h 1079500"/>
                <a:gd name="connsiteX1" fmla="*/ 168275 w 396875"/>
                <a:gd name="connsiteY1" fmla="*/ 234950 h 1079500"/>
                <a:gd name="connsiteX2" fmla="*/ 250825 w 396875"/>
                <a:gd name="connsiteY2" fmla="*/ 406400 h 1079500"/>
                <a:gd name="connsiteX3" fmla="*/ 346075 w 396875"/>
                <a:gd name="connsiteY3" fmla="*/ 546100 h 1079500"/>
                <a:gd name="connsiteX4" fmla="*/ 358775 w 396875"/>
                <a:gd name="connsiteY4" fmla="*/ 704850 h 1079500"/>
                <a:gd name="connsiteX5" fmla="*/ 371475 w 396875"/>
                <a:gd name="connsiteY5" fmla="*/ 895350 h 1079500"/>
                <a:gd name="connsiteX6" fmla="*/ 396875 w 396875"/>
                <a:gd name="connsiteY6" fmla="*/ 1079500 h 1079500"/>
                <a:gd name="connsiteX0" fmla="*/ 0 w 396875"/>
                <a:gd name="connsiteY0" fmla="*/ 0 h 1050925"/>
                <a:gd name="connsiteX1" fmla="*/ 168275 w 396875"/>
                <a:gd name="connsiteY1" fmla="*/ 234950 h 1050925"/>
                <a:gd name="connsiteX2" fmla="*/ 250825 w 396875"/>
                <a:gd name="connsiteY2" fmla="*/ 406400 h 1050925"/>
                <a:gd name="connsiteX3" fmla="*/ 346075 w 396875"/>
                <a:gd name="connsiteY3" fmla="*/ 546100 h 1050925"/>
                <a:gd name="connsiteX4" fmla="*/ 358775 w 396875"/>
                <a:gd name="connsiteY4" fmla="*/ 704850 h 1050925"/>
                <a:gd name="connsiteX5" fmla="*/ 371475 w 396875"/>
                <a:gd name="connsiteY5" fmla="*/ 895350 h 1050925"/>
                <a:gd name="connsiteX6" fmla="*/ 396875 w 396875"/>
                <a:gd name="connsiteY6" fmla="*/ 1050925 h 1050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6875" h="1050925">
                  <a:moveTo>
                    <a:pt x="0" y="0"/>
                  </a:moveTo>
                  <a:cubicBezTo>
                    <a:pt x="17991" y="62971"/>
                    <a:pt x="126471" y="167217"/>
                    <a:pt x="168275" y="234950"/>
                  </a:cubicBezTo>
                  <a:cubicBezTo>
                    <a:pt x="210079" y="302683"/>
                    <a:pt x="221192" y="354542"/>
                    <a:pt x="250825" y="406400"/>
                  </a:cubicBezTo>
                  <a:cubicBezTo>
                    <a:pt x="280458" y="458258"/>
                    <a:pt x="328083" y="496358"/>
                    <a:pt x="346075" y="546100"/>
                  </a:cubicBezTo>
                  <a:cubicBezTo>
                    <a:pt x="364067" y="595842"/>
                    <a:pt x="354542" y="646642"/>
                    <a:pt x="358775" y="704850"/>
                  </a:cubicBezTo>
                  <a:cubicBezTo>
                    <a:pt x="363008" y="763058"/>
                    <a:pt x="365125" y="837671"/>
                    <a:pt x="371475" y="895350"/>
                  </a:cubicBezTo>
                  <a:cubicBezTo>
                    <a:pt x="377825" y="953029"/>
                    <a:pt x="392642" y="1010708"/>
                    <a:pt x="396875" y="1050925"/>
                  </a:cubicBezTo>
                </a:path>
              </a:pathLst>
            </a:cu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138959" y="3980254"/>
              <a:ext cx="386644" cy="1962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</a:t>
              </a:r>
            </a:p>
          </p:txBody>
        </p:sp>
        <p:cxnSp>
          <p:nvCxnSpPr>
            <p:cNvPr id="22" name="Straight Arrow Connector 21"/>
            <p:cNvCxnSpPr>
              <a:cxnSpLocks/>
            </p:cNvCxnSpPr>
            <p:nvPr/>
          </p:nvCxnSpPr>
          <p:spPr>
            <a:xfrm flipV="1">
              <a:off x="3445750" y="4526056"/>
              <a:ext cx="127901" cy="35531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2980262" y="4488378"/>
              <a:ext cx="545342" cy="1962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75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r>
                <a:rPr lang="en-US" sz="675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0.74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78168" y="2866990"/>
              <a:ext cx="985079" cy="1592537"/>
            </a:xfrm>
            <a:prstGeom prst="rect">
              <a:avLst/>
            </a:pr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cxnSp>
        <p:nvCxnSpPr>
          <p:cNvPr id="36" name="Straight Connector 35"/>
          <p:cNvCxnSpPr>
            <a:cxnSpLocks/>
          </p:cNvCxnSpPr>
          <p:nvPr/>
        </p:nvCxnSpPr>
        <p:spPr>
          <a:xfrm flipH="1" flipV="1">
            <a:off x="6328433" y="3458977"/>
            <a:ext cx="0" cy="3600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>
          <a:xfrm flipH="1" flipV="1">
            <a:off x="7182105" y="3458977"/>
            <a:ext cx="0" cy="3600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337281" y="3547796"/>
            <a:ext cx="835976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nt + 5 mm Reference Segment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651144" y="3472753"/>
            <a:ext cx="257175" cy="1543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cxnSp>
        <p:nvCxnSpPr>
          <p:cNvPr id="38" name="Straight Arrow Connector 37"/>
          <p:cNvCxnSpPr>
            <a:cxnSpLocks/>
          </p:cNvCxnSpPr>
          <p:nvPr/>
        </p:nvCxnSpPr>
        <p:spPr>
          <a:xfrm>
            <a:off x="6328433" y="3395739"/>
            <a:ext cx="853672" cy="0"/>
          </a:xfrm>
          <a:prstGeom prst="straightConnector1">
            <a:avLst/>
          </a:prstGeom>
          <a:ln w="12700">
            <a:solidFill>
              <a:schemeClr val="bg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7537269" y="3507617"/>
            <a:ext cx="4849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</a:t>
            </a:r>
            <a:r>
              <a:rPr lang="en-US" sz="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26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760259A3-E769-4A0B-919A-67326531FA5B}"/>
              </a:ext>
            </a:extLst>
          </p:cNvPr>
          <p:cNvGrpSpPr/>
          <p:nvPr/>
        </p:nvGrpSpPr>
        <p:grpSpPr>
          <a:xfrm>
            <a:off x="3761292" y="2821448"/>
            <a:ext cx="1435381" cy="2125390"/>
            <a:chOff x="4035479" y="2821448"/>
            <a:chExt cx="1161194" cy="1877054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6"/>
            <a:srcRect l="19600" r="25252" b="10854"/>
            <a:stretch/>
          </p:blipFill>
          <p:spPr>
            <a:xfrm>
              <a:off x="4035479" y="2821448"/>
              <a:ext cx="1161194" cy="1877054"/>
            </a:xfrm>
            <a:prstGeom prst="rect">
              <a:avLst/>
            </a:prstGeom>
          </p:spPr>
        </p:pic>
        <p:sp>
          <p:nvSpPr>
            <p:cNvPr id="28" name="Freeform 27"/>
            <p:cNvSpPr/>
            <p:nvPr/>
          </p:nvSpPr>
          <p:spPr>
            <a:xfrm>
              <a:off x="4800879" y="3845124"/>
              <a:ext cx="207169" cy="612577"/>
            </a:xfrm>
            <a:custGeom>
              <a:avLst/>
              <a:gdLst>
                <a:gd name="connsiteX0" fmla="*/ 0 w 294543"/>
                <a:gd name="connsiteY0" fmla="*/ 0 h 984250"/>
                <a:gd name="connsiteX1" fmla="*/ 63500 w 294543"/>
                <a:gd name="connsiteY1" fmla="*/ 177800 h 984250"/>
                <a:gd name="connsiteX2" fmla="*/ 165100 w 294543"/>
                <a:gd name="connsiteY2" fmla="*/ 311150 h 984250"/>
                <a:gd name="connsiteX3" fmla="*/ 241300 w 294543"/>
                <a:gd name="connsiteY3" fmla="*/ 393700 h 984250"/>
                <a:gd name="connsiteX4" fmla="*/ 254000 w 294543"/>
                <a:gd name="connsiteY4" fmla="*/ 552450 h 984250"/>
                <a:gd name="connsiteX5" fmla="*/ 266700 w 294543"/>
                <a:gd name="connsiteY5" fmla="*/ 742950 h 984250"/>
                <a:gd name="connsiteX6" fmla="*/ 292100 w 294543"/>
                <a:gd name="connsiteY6" fmla="*/ 927100 h 984250"/>
                <a:gd name="connsiteX7" fmla="*/ 292100 w 294543"/>
                <a:gd name="connsiteY7" fmla="*/ 984250 h 984250"/>
                <a:gd name="connsiteX0" fmla="*/ 0 w 320819"/>
                <a:gd name="connsiteY0" fmla="*/ 0 h 1060450"/>
                <a:gd name="connsiteX1" fmla="*/ 63500 w 320819"/>
                <a:gd name="connsiteY1" fmla="*/ 177800 h 1060450"/>
                <a:gd name="connsiteX2" fmla="*/ 165100 w 320819"/>
                <a:gd name="connsiteY2" fmla="*/ 311150 h 1060450"/>
                <a:gd name="connsiteX3" fmla="*/ 241300 w 320819"/>
                <a:gd name="connsiteY3" fmla="*/ 393700 h 1060450"/>
                <a:gd name="connsiteX4" fmla="*/ 254000 w 320819"/>
                <a:gd name="connsiteY4" fmla="*/ 552450 h 1060450"/>
                <a:gd name="connsiteX5" fmla="*/ 266700 w 320819"/>
                <a:gd name="connsiteY5" fmla="*/ 742950 h 1060450"/>
                <a:gd name="connsiteX6" fmla="*/ 292100 w 320819"/>
                <a:gd name="connsiteY6" fmla="*/ 927100 h 1060450"/>
                <a:gd name="connsiteX7" fmla="*/ 320675 w 320819"/>
                <a:gd name="connsiteY7" fmla="*/ 1060450 h 1060450"/>
                <a:gd name="connsiteX0" fmla="*/ 0 w 406544"/>
                <a:gd name="connsiteY0" fmla="*/ 0 h 1222375"/>
                <a:gd name="connsiteX1" fmla="*/ 149225 w 406544"/>
                <a:gd name="connsiteY1" fmla="*/ 339725 h 1222375"/>
                <a:gd name="connsiteX2" fmla="*/ 250825 w 406544"/>
                <a:gd name="connsiteY2" fmla="*/ 473075 h 1222375"/>
                <a:gd name="connsiteX3" fmla="*/ 327025 w 406544"/>
                <a:gd name="connsiteY3" fmla="*/ 555625 h 1222375"/>
                <a:gd name="connsiteX4" fmla="*/ 339725 w 406544"/>
                <a:gd name="connsiteY4" fmla="*/ 714375 h 1222375"/>
                <a:gd name="connsiteX5" fmla="*/ 352425 w 406544"/>
                <a:gd name="connsiteY5" fmla="*/ 904875 h 1222375"/>
                <a:gd name="connsiteX6" fmla="*/ 377825 w 406544"/>
                <a:gd name="connsiteY6" fmla="*/ 1089025 h 1222375"/>
                <a:gd name="connsiteX7" fmla="*/ 406400 w 406544"/>
                <a:gd name="connsiteY7" fmla="*/ 1222375 h 1222375"/>
                <a:gd name="connsiteX0" fmla="*/ 0 w 406544"/>
                <a:gd name="connsiteY0" fmla="*/ 0 h 1222375"/>
                <a:gd name="connsiteX1" fmla="*/ 168275 w 406544"/>
                <a:gd name="connsiteY1" fmla="*/ 244475 h 1222375"/>
                <a:gd name="connsiteX2" fmla="*/ 250825 w 406544"/>
                <a:gd name="connsiteY2" fmla="*/ 473075 h 1222375"/>
                <a:gd name="connsiteX3" fmla="*/ 327025 w 406544"/>
                <a:gd name="connsiteY3" fmla="*/ 555625 h 1222375"/>
                <a:gd name="connsiteX4" fmla="*/ 339725 w 406544"/>
                <a:gd name="connsiteY4" fmla="*/ 714375 h 1222375"/>
                <a:gd name="connsiteX5" fmla="*/ 352425 w 406544"/>
                <a:gd name="connsiteY5" fmla="*/ 904875 h 1222375"/>
                <a:gd name="connsiteX6" fmla="*/ 377825 w 406544"/>
                <a:gd name="connsiteY6" fmla="*/ 1089025 h 1222375"/>
                <a:gd name="connsiteX7" fmla="*/ 406400 w 406544"/>
                <a:gd name="connsiteY7" fmla="*/ 1222375 h 1222375"/>
                <a:gd name="connsiteX0" fmla="*/ 0 w 406544"/>
                <a:gd name="connsiteY0" fmla="*/ 0 h 1222375"/>
                <a:gd name="connsiteX1" fmla="*/ 168275 w 406544"/>
                <a:gd name="connsiteY1" fmla="*/ 244475 h 1222375"/>
                <a:gd name="connsiteX2" fmla="*/ 250825 w 406544"/>
                <a:gd name="connsiteY2" fmla="*/ 396875 h 1222375"/>
                <a:gd name="connsiteX3" fmla="*/ 327025 w 406544"/>
                <a:gd name="connsiteY3" fmla="*/ 555625 h 1222375"/>
                <a:gd name="connsiteX4" fmla="*/ 339725 w 406544"/>
                <a:gd name="connsiteY4" fmla="*/ 714375 h 1222375"/>
                <a:gd name="connsiteX5" fmla="*/ 352425 w 406544"/>
                <a:gd name="connsiteY5" fmla="*/ 904875 h 1222375"/>
                <a:gd name="connsiteX6" fmla="*/ 377825 w 406544"/>
                <a:gd name="connsiteY6" fmla="*/ 1089025 h 1222375"/>
                <a:gd name="connsiteX7" fmla="*/ 406400 w 406544"/>
                <a:gd name="connsiteY7" fmla="*/ 1222375 h 1222375"/>
                <a:gd name="connsiteX0" fmla="*/ 0 w 406400"/>
                <a:gd name="connsiteY0" fmla="*/ 0 h 1222375"/>
                <a:gd name="connsiteX1" fmla="*/ 168275 w 406400"/>
                <a:gd name="connsiteY1" fmla="*/ 244475 h 1222375"/>
                <a:gd name="connsiteX2" fmla="*/ 250825 w 406400"/>
                <a:gd name="connsiteY2" fmla="*/ 396875 h 1222375"/>
                <a:gd name="connsiteX3" fmla="*/ 327025 w 406400"/>
                <a:gd name="connsiteY3" fmla="*/ 555625 h 1222375"/>
                <a:gd name="connsiteX4" fmla="*/ 339725 w 406400"/>
                <a:gd name="connsiteY4" fmla="*/ 714375 h 1222375"/>
                <a:gd name="connsiteX5" fmla="*/ 352425 w 406400"/>
                <a:gd name="connsiteY5" fmla="*/ 904875 h 1222375"/>
                <a:gd name="connsiteX6" fmla="*/ 406400 w 406400"/>
                <a:gd name="connsiteY6" fmla="*/ 1222375 h 1222375"/>
                <a:gd name="connsiteX0" fmla="*/ 0 w 396875"/>
                <a:gd name="connsiteY0" fmla="*/ 0 h 1127125"/>
                <a:gd name="connsiteX1" fmla="*/ 168275 w 396875"/>
                <a:gd name="connsiteY1" fmla="*/ 244475 h 1127125"/>
                <a:gd name="connsiteX2" fmla="*/ 250825 w 396875"/>
                <a:gd name="connsiteY2" fmla="*/ 396875 h 1127125"/>
                <a:gd name="connsiteX3" fmla="*/ 327025 w 396875"/>
                <a:gd name="connsiteY3" fmla="*/ 555625 h 1127125"/>
                <a:gd name="connsiteX4" fmla="*/ 339725 w 396875"/>
                <a:gd name="connsiteY4" fmla="*/ 714375 h 1127125"/>
                <a:gd name="connsiteX5" fmla="*/ 352425 w 396875"/>
                <a:gd name="connsiteY5" fmla="*/ 904875 h 1127125"/>
                <a:gd name="connsiteX6" fmla="*/ 396875 w 396875"/>
                <a:gd name="connsiteY6" fmla="*/ 1127125 h 1127125"/>
                <a:gd name="connsiteX0" fmla="*/ 0 w 368300"/>
                <a:gd name="connsiteY0" fmla="*/ 0 h 1089025"/>
                <a:gd name="connsiteX1" fmla="*/ 168275 w 368300"/>
                <a:gd name="connsiteY1" fmla="*/ 244475 h 1089025"/>
                <a:gd name="connsiteX2" fmla="*/ 250825 w 368300"/>
                <a:gd name="connsiteY2" fmla="*/ 396875 h 1089025"/>
                <a:gd name="connsiteX3" fmla="*/ 327025 w 368300"/>
                <a:gd name="connsiteY3" fmla="*/ 555625 h 1089025"/>
                <a:gd name="connsiteX4" fmla="*/ 339725 w 368300"/>
                <a:gd name="connsiteY4" fmla="*/ 714375 h 1089025"/>
                <a:gd name="connsiteX5" fmla="*/ 352425 w 368300"/>
                <a:gd name="connsiteY5" fmla="*/ 904875 h 1089025"/>
                <a:gd name="connsiteX6" fmla="*/ 368300 w 368300"/>
                <a:gd name="connsiteY6" fmla="*/ 1089025 h 108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8300" h="1089025">
                  <a:moveTo>
                    <a:pt x="0" y="0"/>
                  </a:moveTo>
                  <a:cubicBezTo>
                    <a:pt x="17991" y="62971"/>
                    <a:pt x="126471" y="178329"/>
                    <a:pt x="168275" y="244475"/>
                  </a:cubicBezTo>
                  <a:cubicBezTo>
                    <a:pt x="210079" y="310621"/>
                    <a:pt x="224367" y="345017"/>
                    <a:pt x="250825" y="396875"/>
                  </a:cubicBezTo>
                  <a:cubicBezTo>
                    <a:pt x="277283" y="448733"/>
                    <a:pt x="312208" y="502708"/>
                    <a:pt x="327025" y="555625"/>
                  </a:cubicBezTo>
                  <a:cubicBezTo>
                    <a:pt x="341842" y="608542"/>
                    <a:pt x="335492" y="656167"/>
                    <a:pt x="339725" y="714375"/>
                  </a:cubicBezTo>
                  <a:cubicBezTo>
                    <a:pt x="343958" y="772583"/>
                    <a:pt x="347663" y="842433"/>
                    <a:pt x="352425" y="904875"/>
                  </a:cubicBezTo>
                  <a:cubicBezTo>
                    <a:pt x="357187" y="967317"/>
                    <a:pt x="357055" y="1022879"/>
                    <a:pt x="368300" y="1089025"/>
                  </a:cubicBezTo>
                </a:path>
              </a:pathLst>
            </a:custGeom>
            <a:noFill/>
            <a:ln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638969" y="4017646"/>
              <a:ext cx="386644" cy="1962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</a:t>
              </a:r>
            </a:p>
          </p:txBody>
        </p:sp>
        <p:sp>
          <p:nvSpPr>
            <p:cNvPr id="42" name="Rectangle 41"/>
            <p:cNvSpPr/>
            <p:nvPr/>
          </p:nvSpPr>
          <p:spPr>
            <a:xfrm rot="3924366">
              <a:off x="4403197" y="3226336"/>
              <a:ext cx="154305" cy="25718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4" t="13045" r="73849" b="60743"/>
          <a:stretch/>
        </p:blipFill>
        <p:spPr>
          <a:xfrm>
            <a:off x="5419539" y="668088"/>
            <a:ext cx="549746" cy="493972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503547" y="1492068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e-PCI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44850" y="3372784"/>
            <a:ext cx="124264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ost-PCI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Blinded </a:t>
            </a: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hysiology)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 flipV="1">
            <a:off x="1616762" y="2726591"/>
            <a:ext cx="6624890" cy="367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E8B954B4-D292-4239-A82A-3C848EA8C69F}"/>
              </a:ext>
            </a:extLst>
          </p:cNvPr>
          <p:cNvSpPr txBox="1"/>
          <p:nvPr/>
        </p:nvSpPr>
        <p:spPr>
          <a:xfrm>
            <a:off x="2037720" y="77494"/>
            <a:ext cx="5399560" cy="4560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700" b="1" dirty="0">
                <a:solidFill>
                  <a:srgbClr val="002060"/>
                </a:solidFill>
                <a:sym typeface="Helvetica Light"/>
              </a:rPr>
              <a:t>Case Example – Severe LAD Stenosi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76C8493-81C6-4248-A430-7695AA82103C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000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ext Box 2"/>
          <p:cNvSpPr txBox="1">
            <a:spLocks noChangeArrowheads="1"/>
          </p:cNvSpPr>
          <p:nvPr/>
        </p:nvSpPr>
        <p:spPr bwMode="auto">
          <a:xfrm>
            <a:off x="1943100" y="1458516"/>
            <a:ext cx="44577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endParaRPr lang="en-US">
              <a:ea typeface="MS PGothic" pitchFamily="34" charset="-128"/>
              <a:cs typeface="ヒラギノ角ゴ Pro W3"/>
            </a:endParaRPr>
          </a:p>
        </p:txBody>
      </p:sp>
      <p:sp>
        <p:nvSpPr>
          <p:cNvPr id="14338" name="Text Box 3"/>
          <p:cNvSpPr txBox="1">
            <a:spLocks noChangeArrowheads="1"/>
          </p:cNvSpPr>
          <p:nvPr/>
        </p:nvSpPr>
        <p:spPr bwMode="auto">
          <a:xfrm>
            <a:off x="1657350" y="4400550"/>
            <a:ext cx="5657850" cy="177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30000"/>
              </a:spcBef>
              <a:buClr>
                <a:schemeClr val="tx2"/>
              </a:buClr>
              <a:buSzPct val="110000"/>
            </a:pPr>
            <a:endParaRPr lang="en-US" sz="675">
              <a:ea typeface="MS PGothic" pitchFamily="34" charset="-128"/>
              <a:cs typeface="ヒラギノ角ゴ Pro W3"/>
            </a:endParaRPr>
          </a:p>
        </p:txBody>
      </p:sp>
      <p:sp>
        <p:nvSpPr>
          <p:cNvPr id="14339" name="Rectangle 4"/>
          <p:cNvSpPr>
            <a:spLocks noGrp="1" noChangeArrowheads="1"/>
          </p:cNvSpPr>
          <p:nvPr>
            <p:ph type="title"/>
          </p:nvPr>
        </p:nvSpPr>
        <p:spPr>
          <a:xfrm>
            <a:off x="178469" y="83111"/>
            <a:ext cx="8444162" cy="781923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sz="2400" dirty="0">
                <a:solidFill>
                  <a:srgbClr val="002060"/>
                </a:solidFill>
              </a:rPr>
              <a:t>Disclosure Statement of Financial Interest</a:t>
            </a:r>
          </a:p>
        </p:txBody>
      </p:sp>
      <p:sp>
        <p:nvSpPr>
          <p:cNvPr id="14340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1543050" y="2057400"/>
            <a:ext cx="2857500" cy="2024063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endParaRPr lang="en-US" sz="1350" dirty="0"/>
          </a:p>
          <a:p>
            <a:pPr>
              <a:lnSpc>
                <a:spcPct val="80000"/>
              </a:lnSpc>
            </a:pPr>
            <a:r>
              <a:rPr lang="en-US" sz="1350" dirty="0"/>
              <a:t>Institutional Educational Grants</a:t>
            </a:r>
          </a:p>
          <a:p>
            <a:pPr eaLnBrk="1" hangingPunct="1">
              <a:lnSpc>
                <a:spcPct val="80000"/>
              </a:lnSpc>
            </a:pPr>
            <a:endParaRPr lang="en-US" sz="1350" dirty="0"/>
          </a:p>
          <a:p>
            <a:pPr eaLnBrk="1" hangingPunct="1">
              <a:lnSpc>
                <a:spcPct val="80000"/>
              </a:lnSpc>
            </a:pPr>
            <a:endParaRPr lang="en-US" sz="1350" dirty="0"/>
          </a:p>
          <a:p>
            <a:pPr eaLnBrk="1" hangingPunct="1">
              <a:lnSpc>
                <a:spcPct val="80000"/>
              </a:lnSpc>
            </a:pPr>
            <a:r>
              <a:rPr lang="en-US" sz="1350" dirty="0"/>
              <a:t>Consulting Fees/Honoraria</a:t>
            </a:r>
          </a:p>
        </p:txBody>
      </p:sp>
      <p:sp>
        <p:nvSpPr>
          <p:cNvPr id="14341" name="Rectangle 6"/>
          <p:cNvSpPr>
            <a:spLocks noGrp="1" noChangeArrowheads="1"/>
          </p:cNvSpPr>
          <p:nvPr>
            <p:ph type="body" sz="half" idx="2"/>
          </p:nvPr>
        </p:nvSpPr>
        <p:spPr>
          <a:xfrm>
            <a:off x="4686300" y="2223492"/>
            <a:ext cx="2857500" cy="2252663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r>
              <a:rPr lang="en-US" sz="1350" dirty="0"/>
              <a:t>Volcano/Philips</a:t>
            </a:r>
          </a:p>
          <a:p>
            <a:pPr eaLnBrk="1" hangingPunct="1">
              <a:lnSpc>
                <a:spcPct val="80000"/>
              </a:lnSpc>
            </a:pPr>
            <a:r>
              <a:rPr lang="en-US" sz="1350" dirty="0"/>
              <a:t>Abbott Vascular</a:t>
            </a:r>
          </a:p>
          <a:p>
            <a:pPr eaLnBrk="1" hangingPunct="1">
              <a:lnSpc>
                <a:spcPct val="80000"/>
              </a:lnSpc>
            </a:pPr>
            <a:endParaRPr lang="en-US" sz="1350" dirty="0"/>
          </a:p>
          <a:p>
            <a:pPr>
              <a:lnSpc>
                <a:spcPct val="80000"/>
              </a:lnSpc>
            </a:pPr>
            <a:r>
              <a:rPr lang="en-US" sz="1350" dirty="0"/>
              <a:t>Volcano/Philips</a:t>
            </a:r>
          </a:p>
          <a:p>
            <a:pPr>
              <a:lnSpc>
                <a:spcPct val="80000"/>
              </a:lnSpc>
            </a:pPr>
            <a:r>
              <a:rPr lang="en-US" sz="1350" dirty="0"/>
              <a:t>Abbott Vascular</a:t>
            </a:r>
          </a:p>
          <a:p>
            <a:pPr>
              <a:lnSpc>
                <a:spcPct val="80000"/>
              </a:lnSpc>
            </a:pPr>
            <a:r>
              <a:rPr lang="en-US" sz="1350" dirty="0" err="1"/>
              <a:t>Opsens</a:t>
            </a:r>
            <a:endParaRPr lang="en-US" sz="1350" dirty="0"/>
          </a:p>
          <a:p>
            <a:pPr>
              <a:lnSpc>
                <a:spcPct val="80000"/>
              </a:lnSpc>
            </a:pPr>
            <a:r>
              <a:rPr lang="en-US" sz="1350" dirty="0"/>
              <a:t>Boston Scientific</a:t>
            </a:r>
          </a:p>
          <a:p>
            <a:pPr>
              <a:lnSpc>
                <a:spcPct val="80000"/>
              </a:lnSpc>
            </a:pPr>
            <a:r>
              <a:rPr lang="en-US" sz="1350" dirty="0" err="1"/>
              <a:t>Chiesi</a:t>
            </a:r>
            <a:endParaRPr lang="en-US" sz="1350" dirty="0"/>
          </a:p>
          <a:p>
            <a:pPr>
              <a:lnSpc>
                <a:spcPct val="80000"/>
              </a:lnSpc>
            </a:pPr>
            <a:r>
              <a:rPr lang="en-US" sz="1350" dirty="0"/>
              <a:t>Astra Zeneca</a:t>
            </a:r>
          </a:p>
          <a:p>
            <a:pPr>
              <a:lnSpc>
                <a:spcPct val="80000"/>
              </a:lnSpc>
            </a:pPr>
            <a:endParaRPr lang="en-US" sz="1350" dirty="0"/>
          </a:p>
          <a:p>
            <a:pPr>
              <a:lnSpc>
                <a:spcPct val="80000"/>
              </a:lnSpc>
            </a:pPr>
            <a:endParaRPr lang="en-US" sz="1350" dirty="0"/>
          </a:p>
          <a:p>
            <a:pPr eaLnBrk="1" hangingPunct="1">
              <a:lnSpc>
                <a:spcPct val="80000"/>
              </a:lnSpc>
            </a:pPr>
            <a:endParaRPr lang="en-US" sz="1350" dirty="0"/>
          </a:p>
          <a:p>
            <a:pPr marL="0" indent="0">
              <a:lnSpc>
                <a:spcPct val="80000"/>
              </a:lnSpc>
              <a:buNone/>
            </a:pPr>
            <a:endParaRPr lang="en-US" sz="1350" dirty="0"/>
          </a:p>
        </p:txBody>
      </p:sp>
      <p:sp>
        <p:nvSpPr>
          <p:cNvPr id="548871" name="Text Box 7"/>
          <p:cNvSpPr txBox="1">
            <a:spLocks noChangeArrowheads="1"/>
          </p:cNvSpPr>
          <p:nvPr/>
        </p:nvSpPr>
        <p:spPr bwMode="auto">
          <a:xfrm>
            <a:off x="1543050" y="1016794"/>
            <a:ext cx="6115050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en-US" sz="1500" dirty="0">
                <a:ea typeface="ヒラギノ角ゴ Pro W3" pitchFamily="-111" charset="-128"/>
              </a:rPr>
              <a:t>Within the past 12 months, I or my spouse/partner have had a financial interest/arrangement or affiliation with the organization(s) listed below.</a:t>
            </a:r>
          </a:p>
        </p:txBody>
      </p:sp>
      <p:sp>
        <p:nvSpPr>
          <p:cNvPr id="14343" name="Text Box 8"/>
          <p:cNvSpPr txBox="1">
            <a:spLocks noChangeArrowheads="1"/>
          </p:cNvSpPr>
          <p:nvPr/>
        </p:nvSpPr>
        <p:spPr bwMode="auto">
          <a:xfrm>
            <a:off x="1467912" y="1771650"/>
            <a:ext cx="2470676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en-US" sz="1350" dirty="0">
                <a:solidFill>
                  <a:schemeClr val="hlink"/>
                </a:solidFill>
                <a:cs typeface="ヒラギノ角ゴ Pro W3"/>
              </a:rPr>
              <a:t>Affiliation/Financial Relationship</a:t>
            </a:r>
          </a:p>
        </p:txBody>
      </p:sp>
      <p:sp>
        <p:nvSpPr>
          <p:cNvPr id="14344" name="Text Box 9"/>
          <p:cNvSpPr txBox="1">
            <a:spLocks noChangeArrowheads="1"/>
          </p:cNvSpPr>
          <p:nvPr/>
        </p:nvSpPr>
        <p:spPr bwMode="auto">
          <a:xfrm>
            <a:off x="4686300" y="1771650"/>
            <a:ext cx="848309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350">
                <a:solidFill>
                  <a:schemeClr val="hlink"/>
                </a:solidFill>
                <a:cs typeface="ヒラギノ角ゴ Pro W3"/>
              </a:rPr>
              <a:t>Compan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3764C90-240F-4637-8C3C-2E8C799400A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3274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36908923"/>
              </p:ext>
            </p:extLst>
          </p:nvPr>
        </p:nvGraphicFramePr>
        <p:xfrm>
          <a:off x="1134833" y="1636740"/>
          <a:ext cx="3248277" cy="2796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テキスト ボックス 29"/>
          <p:cNvSpPr txBox="1"/>
          <p:nvPr/>
        </p:nvSpPr>
        <p:spPr>
          <a:xfrm>
            <a:off x="2979962" y="2560720"/>
            <a:ext cx="947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kumimoji="1" lang="en-US" altLang="ja-JP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</a:p>
          <a:p>
            <a:pPr algn="ctr"/>
            <a:r>
              <a:rPr kumimoji="1" lang="en-US" altLang="ja-JP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PCI ≤0.89  </a:t>
            </a:r>
            <a:endParaRPr kumimoji="1" lang="ja-JP" alt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Left Brace 25"/>
          <p:cNvSpPr/>
          <p:nvPr/>
        </p:nvSpPr>
        <p:spPr>
          <a:xfrm rot="10800000">
            <a:off x="4281263" y="2141382"/>
            <a:ext cx="296693" cy="1543563"/>
          </a:xfrm>
          <a:prstGeom prst="leftBrace">
            <a:avLst>
              <a:gd name="adj1" fmla="val 52694"/>
              <a:gd name="adj2" fmla="val 50000"/>
            </a:avLst>
          </a:prstGeom>
          <a:noFill/>
          <a:ln w="2857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937482" y="898075"/>
            <a:ext cx="2514599" cy="7386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black"/>
                </a:solidFill>
              </a:rPr>
              <a:t>24% Residual Ischemia </a:t>
            </a:r>
          </a:p>
          <a:p>
            <a:pPr algn="ctr" defTabSz="685800">
              <a:defRPr/>
            </a:pPr>
            <a:r>
              <a:rPr lang="en-US" sz="1400" b="1" kern="0" dirty="0">
                <a:solidFill>
                  <a:prstClr val="black"/>
                </a:solidFill>
              </a:rPr>
              <a:t>(112 patients with Post PCI iFR≤0.89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36913" y="898074"/>
            <a:ext cx="2514599" cy="7386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400" b="1" kern="0" dirty="0">
                <a:solidFill>
                  <a:prstClr val="black"/>
                </a:solidFill>
              </a:rPr>
              <a:t>467 Patients with Angiographically Successful PCI </a:t>
            </a:r>
          </a:p>
          <a:p>
            <a:pPr algn="ctr" defTabSz="685800">
              <a:defRPr/>
            </a:pPr>
            <a:r>
              <a:rPr lang="en-US" sz="1400" b="1" kern="0" dirty="0">
                <a:solidFill>
                  <a:prstClr val="black"/>
                </a:solidFill>
              </a:rPr>
              <a:t>and qualified </a:t>
            </a:r>
            <a:r>
              <a:rPr lang="en-US" sz="1400" b="1" kern="0" dirty="0" err="1">
                <a:solidFill>
                  <a:prstClr val="black"/>
                </a:solidFill>
              </a:rPr>
              <a:t>iFR</a:t>
            </a:r>
            <a:r>
              <a:rPr lang="en-US" sz="1400" b="1" kern="0" dirty="0">
                <a:solidFill>
                  <a:prstClr val="black"/>
                </a:solidFill>
              </a:rPr>
              <a:t> pullbacks</a:t>
            </a: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2958668141"/>
              </p:ext>
            </p:extLst>
          </p:nvPr>
        </p:nvGraphicFramePr>
        <p:xfrm>
          <a:off x="4383110" y="1448915"/>
          <a:ext cx="3612485" cy="286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445663" y="4091182"/>
            <a:ext cx="3429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Focal defined as step-up of ≥0.03 units in ≤15 mm segment</a:t>
            </a:r>
          </a:p>
          <a:p>
            <a:pPr algn="ctr"/>
            <a:r>
              <a:rPr lang="en-US" sz="1050" dirty="0"/>
              <a:t>Diffuse defined as &gt;15 mm seg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6D5C80-A092-4EBF-852D-42AD78138360}"/>
              </a:ext>
            </a:extLst>
          </p:cNvPr>
          <p:cNvSpPr txBox="1"/>
          <p:nvPr/>
        </p:nvSpPr>
        <p:spPr>
          <a:xfrm>
            <a:off x="1828424" y="146183"/>
            <a:ext cx="5675354" cy="5330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3200" b="1" dirty="0">
                <a:solidFill>
                  <a:srgbClr val="002060"/>
                </a:solidFill>
                <a:sym typeface="Helvetica Light"/>
              </a:rPr>
              <a:t>Primary Study Endpoin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B7778A8-94CE-40D7-9F8E-523A50D2D63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5496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roup 117"/>
          <p:cNvGrpSpPr/>
          <p:nvPr/>
        </p:nvGrpSpPr>
        <p:grpSpPr>
          <a:xfrm>
            <a:off x="1022320" y="992076"/>
            <a:ext cx="3562226" cy="2045163"/>
            <a:chOff x="1426081" y="584509"/>
            <a:chExt cx="5443793" cy="328321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/>
            <a:srcRect l="28066" t="7165" r="7195" b="33245"/>
            <a:stretch/>
          </p:blipFill>
          <p:spPr>
            <a:xfrm>
              <a:off x="1426081" y="617982"/>
              <a:ext cx="5258173" cy="3249745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 rotWithShape="1">
            <a:blip r:embed="rId2"/>
            <a:srcRect l="5699" t="13627" r="77179" b="61201"/>
            <a:stretch/>
          </p:blipFill>
          <p:spPr>
            <a:xfrm>
              <a:off x="1914510" y="617982"/>
              <a:ext cx="776314" cy="766318"/>
            </a:xfrm>
            <a:prstGeom prst="rect">
              <a:avLst/>
            </a:prstGeom>
          </p:spPr>
        </p:pic>
        <p:cxnSp>
          <p:nvCxnSpPr>
            <p:cNvPr id="92" name="Straight Connector 91"/>
            <p:cNvCxnSpPr/>
            <p:nvPr/>
          </p:nvCxnSpPr>
          <p:spPr>
            <a:xfrm flipH="1" flipV="1">
              <a:off x="3646821" y="1397827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 flipH="1" flipV="1">
              <a:off x="5629354" y="1417815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/>
            <p:cNvSpPr txBox="1"/>
            <p:nvPr/>
          </p:nvSpPr>
          <p:spPr>
            <a:xfrm>
              <a:off x="3656345" y="2050864"/>
              <a:ext cx="1963482" cy="53347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Reference Segment</a:t>
              </a:r>
            </a:p>
          </p:txBody>
        </p:sp>
        <p:cxnSp>
          <p:nvCxnSpPr>
            <p:cNvPr id="95" name="Straight Arrow Connector 94"/>
            <p:cNvCxnSpPr/>
            <p:nvPr/>
          </p:nvCxnSpPr>
          <p:spPr>
            <a:xfrm>
              <a:off x="3646821" y="1929847"/>
              <a:ext cx="1973008" cy="0"/>
            </a:xfrm>
            <a:prstGeom prst="straightConnector1">
              <a:avLst/>
            </a:prstGeom>
            <a:ln w="19050">
              <a:solidFill>
                <a:schemeClr val="bg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TextBox 95"/>
            <p:cNvSpPr txBox="1"/>
            <p:nvPr/>
          </p:nvSpPr>
          <p:spPr>
            <a:xfrm>
              <a:off x="2632765" y="633003"/>
              <a:ext cx="781411" cy="3797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al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5840532" y="584509"/>
              <a:ext cx="1029342" cy="3797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ximal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4936758" y="1026983"/>
              <a:ext cx="798510" cy="3797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</a:t>
              </a:r>
              <a:r>
                <a:rPr lang="en-US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05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300934" y="1345780"/>
              <a:ext cx="1285822" cy="3488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p-up</a:t>
              </a:r>
            </a:p>
          </p:txBody>
        </p:sp>
        <p:cxnSp>
          <p:nvCxnSpPr>
            <p:cNvPr id="100" name="Straight Arrow Connector 99"/>
            <p:cNvCxnSpPr/>
            <p:nvPr/>
          </p:nvCxnSpPr>
          <p:spPr>
            <a:xfrm flipV="1">
              <a:off x="4862881" y="982092"/>
              <a:ext cx="0" cy="333619"/>
            </a:xfrm>
            <a:prstGeom prst="straightConnector1">
              <a:avLst/>
            </a:prstGeom>
            <a:ln w="15875">
              <a:solidFill>
                <a:srgbClr val="FFFF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Group 112"/>
          <p:cNvGrpSpPr/>
          <p:nvPr/>
        </p:nvGrpSpPr>
        <p:grpSpPr>
          <a:xfrm>
            <a:off x="702131" y="2939140"/>
            <a:ext cx="5235900" cy="2051918"/>
            <a:chOff x="626030" y="3737887"/>
            <a:chExt cx="7898465" cy="3008687"/>
          </a:xfrm>
        </p:grpSpPr>
        <p:grpSp>
          <p:nvGrpSpPr>
            <p:cNvPr id="12" name="Group 11"/>
            <p:cNvGrpSpPr/>
            <p:nvPr/>
          </p:nvGrpSpPr>
          <p:grpSpPr>
            <a:xfrm>
              <a:off x="712048" y="4282771"/>
              <a:ext cx="7760811" cy="1387623"/>
              <a:chOff x="1549850" y="1247011"/>
              <a:chExt cx="6470519" cy="1043646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1549850" y="1247011"/>
                <a:ext cx="6441853" cy="333145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430529"/>
                  <a:gd name="connsiteY0" fmla="*/ 142210 h 172234"/>
                  <a:gd name="connsiteX1" fmla="*/ 1260389 w 7430529"/>
                  <a:gd name="connsiteY1" fmla="*/ 166923 h 172234"/>
                  <a:gd name="connsiteX2" fmla="*/ 2265405 w 7430529"/>
                  <a:gd name="connsiteY2" fmla="*/ 51594 h 172234"/>
                  <a:gd name="connsiteX3" fmla="*/ 3525794 w 7430529"/>
                  <a:gd name="connsiteY3" fmla="*/ 2167 h 172234"/>
                  <a:gd name="connsiteX4" fmla="*/ 4926227 w 7430529"/>
                  <a:gd name="connsiteY4" fmla="*/ 117496 h 172234"/>
                  <a:gd name="connsiteX5" fmla="*/ 5791200 w 7430529"/>
                  <a:gd name="connsiteY5" fmla="*/ 125734 h 172234"/>
                  <a:gd name="connsiteX6" fmla="*/ 7430529 w 7430529"/>
                  <a:gd name="connsiteY6" fmla="*/ 133971 h 172234"/>
                  <a:gd name="connsiteX0" fmla="*/ 0 w 8138983"/>
                  <a:gd name="connsiteY0" fmla="*/ 166924 h 181598"/>
                  <a:gd name="connsiteX1" fmla="*/ 1968843 w 8138983"/>
                  <a:gd name="connsiteY1" fmla="*/ 166923 h 181598"/>
                  <a:gd name="connsiteX2" fmla="*/ 2973859 w 8138983"/>
                  <a:gd name="connsiteY2" fmla="*/ 51594 h 181598"/>
                  <a:gd name="connsiteX3" fmla="*/ 4234248 w 8138983"/>
                  <a:gd name="connsiteY3" fmla="*/ 2167 h 181598"/>
                  <a:gd name="connsiteX4" fmla="*/ 5634681 w 8138983"/>
                  <a:gd name="connsiteY4" fmla="*/ 117496 h 181598"/>
                  <a:gd name="connsiteX5" fmla="*/ 6499654 w 8138983"/>
                  <a:gd name="connsiteY5" fmla="*/ 125734 h 181598"/>
                  <a:gd name="connsiteX6" fmla="*/ 8138983 w 8138983"/>
                  <a:gd name="connsiteY6" fmla="*/ 133971 h 181598"/>
                  <a:gd name="connsiteX0" fmla="*/ 0 w 8138983"/>
                  <a:gd name="connsiteY0" fmla="*/ 164926 h 177145"/>
                  <a:gd name="connsiteX1" fmla="*/ 1968843 w 8138983"/>
                  <a:gd name="connsiteY1" fmla="*/ 164925 h 177145"/>
                  <a:gd name="connsiteX2" fmla="*/ 2931914 w 8138983"/>
                  <a:gd name="connsiteY2" fmla="*/ 91541 h 177145"/>
                  <a:gd name="connsiteX3" fmla="*/ 4234248 w 8138983"/>
                  <a:gd name="connsiteY3" fmla="*/ 169 h 177145"/>
                  <a:gd name="connsiteX4" fmla="*/ 5634681 w 8138983"/>
                  <a:gd name="connsiteY4" fmla="*/ 115498 h 177145"/>
                  <a:gd name="connsiteX5" fmla="*/ 6499654 w 8138983"/>
                  <a:gd name="connsiteY5" fmla="*/ 123736 h 177145"/>
                  <a:gd name="connsiteX6" fmla="*/ 8138983 w 8138983"/>
                  <a:gd name="connsiteY6" fmla="*/ 131973 h 177145"/>
                  <a:gd name="connsiteX0" fmla="*/ 0 w 8155761"/>
                  <a:gd name="connsiteY0" fmla="*/ 290760 h 293103"/>
                  <a:gd name="connsiteX1" fmla="*/ 1985621 w 8155761"/>
                  <a:gd name="connsiteY1" fmla="*/ 164925 h 293103"/>
                  <a:gd name="connsiteX2" fmla="*/ 2948692 w 8155761"/>
                  <a:gd name="connsiteY2" fmla="*/ 91541 h 293103"/>
                  <a:gd name="connsiteX3" fmla="*/ 4251026 w 8155761"/>
                  <a:gd name="connsiteY3" fmla="*/ 169 h 293103"/>
                  <a:gd name="connsiteX4" fmla="*/ 5651459 w 8155761"/>
                  <a:gd name="connsiteY4" fmla="*/ 115498 h 293103"/>
                  <a:gd name="connsiteX5" fmla="*/ 6516432 w 8155761"/>
                  <a:gd name="connsiteY5" fmla="*/ 123736 h 293103"/>
                  <a:gd name="connsiteX6" fmla="*/ 8155761 w 8155761"/>
                  <a:gd name="connsiteY6" fmla="*/ 131973 h 293103"/>
                  <a:gd name="connsiteX0" fmla="*/ 0 w 8155761"/>
                  <a:gd name="connsiteY0" fmla="*/ 290770 h 290770"/>
                  <a:gd name="connsiteX1" fmla="*/ 1994010 w 8155761"/>
                  <a:gd name="connsiteY1" fmla="*/ 190102 h 290770"/>
                  <a:gd name="connsiteX2" fmla="*/ 2948692 w 8155761"/>
                  <a:gd name="connsiteY2" fmla="*/ 91551 h 290770"/>
                  <a:gd name="connsiteX3" fmla="*/ 4251026 w 8155761"/>
                  <a:gd name="connsiteY3" fmla="*/ 179 h 290770"/>
                  <a:gd name="connsiteX4" fmla="*/ 5651459 w 8155761"/>
                  <a:gd name="connsiteY4" fmla="*/ 115508 h 290770"/>
                  <a:gd name="connsiteX5" fmla="*/ 6516432 w 8155761"/>
                  <a:gd name="connsiteY5" fmla="*/ 123746 h 290770"/>
                  <a:gd name="connsiteX6" fmla="*/ 8155761 w 8155761"/>
                  <a:gd name="connsiteY6" fmla="*/ 131983 h 290770"/>
                  <a:gd name="connsiteX0" fmla="*/ 0 w 8155761"/>
                  <a:gd name="connsiteY0" fmla="*/ 202941 h 202941"/>
                  <a:gd name="connsiteX1" fmla="*/ 1994010 w 8155761"/>
                  <a:gd name="connsiteY1" fmla="*/ 102273 h 202941"/>
                  <a:gd name="connsiteX2" fmla="*/ 2948692 w 8155761"/>
                  <a:gd name="connsiteY2" fmla="*/ 3722 h 202941"/>
                  <a:gd name="connsiteX3" fmla="*/ 4318137 w 8155761"/>
                  <a:gd name="connsiteY3" fmla="*/ 21407 h 202941"/>
                  <a:gd name="connsiteX4" fmla="*/ 5651459 w 8155761"/>
                  <a:gd name="connsiteY4" fmla="*/ 27679 h 202941"/>
                  <a:gd name="connsiteX5" fmla="*/ 6516432 w 8155761"/>
                  <a:gd name="connsiteY5" fmla="*/ 35917 h 202941"/>
                  <a:gd name="connsiteX6" fmla="*/ 8155761 w 8155761"/>
                  <a:gd name="connsiteY6" fmla="*/ 44154 h 202941"/>
                  <a:gd name="connsiteX0" fmla="*/ 0 w 8155761"/>
                  <a:gd name="connsiteY0" fmla="*/ 242374 h 242374"/>
                  <a:gd name="connsiteX1" fmla="*/ 1994010 w 8155761"/>
                  <a:gd name="connsiteY1" fmla="*/ 141706 h 242374"/>
                  <a:gd name="connsiteX2" fmla="*/ 2948692 w 8155761"/>
                  <a:gd name="connsiteY2" fmla="*/ 43155 h 242374"/>
                  <a:gd name="connsiteX3" fmla="*/ 4318137 w 8155761"/>
                  <a:gd name="connsiteY3" fmla="*/ 60840 h 242374"/>
                  <a:gd name="connsiteX4" fmla="*/ 5735349 w 8155761"/>
                  <a:gd name="connsiteY4" fmla="*/ 0 h 242374"/>
                  <a:gd name="connsiteX5" fmla="*/ 6516432 w 8155761"/>
                  <a:gd name="connsiteY5" fmla="*/ 75350 h 242374"/>
                  <a:gd name="connsiteX6" fmla="*/ 8155761 w 8155761"/>
                  <a:gd name="connsiteY6" fmla="*/ 83587 h 242374"/>
                  <a:gd name="connsiteX0" fmla="*/ 0 w 8155761"/>
                  <a:gd name="connsiteY0" fmla="*/ 259303 h 259303"/>
                  <a:gd name="connsiteX1" fmla="*/ 1994010 w 8155761"/>
                  <a:gd name="connsiteY1" fmla="*/ 158635 h 259303"/>
                  <a:gd name="connsiteX2" fmla="*/ 2948692 w 8155761"/>
                  <a:gd name="connsiteY2" fmla="*/ 60084 h 259303"/>
                  <a:gd name="connsiteX3" fmla="*/ 4318137 w 8155761"/>
                  <a:gd name="connsiteY3" fmla="*/ 77769 h 259303"/>
                  <a:gd name="connsiteX4" fmla="*/ 5735349 w 8155761"/>
                  <a:gd name="connsiteY4" fmla="*/ 16929 h 259303"/>
                  <a:gd name="connsiteX5" fmla="*/ 6474487 w 8155761"/>
                  <a:gd name="connsiteY5" fmla="*/ 0 h 259303"/>
                  <a:gd name="connsiteX6" fmla="*/ 8155761 w 8155761"/>
                  <a:gd name="connsiteY6" fmla="*/ 100516 h 259303"/>
                  <a:gd name="connsiteX0" fmla="*/ 0 w 7895703"/>
                  <a:gd name="connsiteY0" fmla="*/ 259303 h 259303"/>
                  <a:gd name="connsiteX1" fmla="*/ 1994010 w 7895703"/>
                  <a:gd name="connsiteY1" fmla="*/ 158635 h 259303"/>
                  <a:gd name="connsiteX2" fmla="*/ 2948692 w 7895703"/>
                  <a:gd name="connsiteY2" fmla="*/ 60084 h 259303"/>
                  <a:gd name="connsiteX3" fmla="*/ 4318137 w 7895703"/>
                  <a:gd name="connsiteY3" fmla="*/ 77769 h 259303"/>
                  <a:gd name="connsiteX4" fmla="*/ 5735349 w 7895703"/>
                  <a:gd name="connsiteY4" fmla="*/ 16929 h 259303"/>
                  <a:gd name="connsiteX5" fmla="*/ 6474487 w 7895703"/>
                  <a:gd name="connsiteY5" fmla="*/ 0 h 259303"/>
                  <a:gd name="connsiteX6" fmla="*/ 7895703 w 7895703"/>
                  <a:gd name="connsiteY6" fmla="*/ 58571 h 259303"/>
                  <a:gd name="connsiteX0" fmla="*/ 0 w 6474487"/>
                  <a:gd name="connsiteY0" fmla="*/ 259303 h 259303"/>
                  <a:gd name="connsiteX1" fmla="*/ 1994010 w 6474487"/>
                  <a:gd name="connsiteY1" fmla="*/ 158635 h 259303"/>
                  <a:gd name="connsiteX2" fmla="*/ 2948692 w 6474487"/>
                  <a:gd name="connsiteY2" fmla="*/ 60084 h 259303"/>
                  <a:gd name="connsiteX3" fmla="*/ 4318137 w 6474487"/>
                  <a:gd name="connsiteY3" fmla="*/ 77769 h 259303"/>
                  <a:gd name="connsiteX4" fmla="*/ 5735349 w 6474487"/>
                  <a:gd name="connsiteY4" fmla="*/ 16929 h 259303"/>
                  <a:gd name="connsiteX5" fmla="*/ 6474487 w 6474487"/>
                  <a:gd name="connsiteY5" fmla="*/ 0 h 259303"/>
                  <a:gd name="connsiteX0" fmla="*/ 0 w 6508043"/>
                  <a:gd name="connsiteY0" fmla="*/ 326415 h 326415"/>
                  <a:gd name="connsiteX1" fmla="*/ 1994010 w 6508043"/>
                  <a:gd name="connsiteY1" fmla="*/ 225747 h 326415"/>
                  <a:gd name="connsiteX2" fmla="*/ 2948692 w 6508043"/>
                  <a:gd name="connsiteY2" fmla="*/ 127196 h 326415"/>
                  <a:gd name="connsiteX3" fmla="*/ 4318137 w 6508043"/>
                  <a:gd name="connsiteY3" fmla="*/ 144881 h 326415"/>
                  <a:gd name="connsiteX4" fmla="*/ 5735349 w 6508043"/>
                  <a:gd name="connsiteY4" fmla="*/ 84041 h 326415"/>
                  <a:gd name="connsiteX5" fmla="*/ 6508043 w 6508043"/>
                  <a:gd name="connsiteY5" fmla="*/ 0 h 326415"/>
                  <a:gd name="connsiteX0" fmla="*/ 0 w 6508043"/>
                  <a:gd name="connsiteY0" fmla="*/ 335879 h 335879"/>
                  <a:gd name="connsiteX1" fmla="*/ 1994010 w 6508043"/>
                  <a:gd name="connsiteY1" fmla="*/ 235211 h 335879"/>
                  <a:gd name="connsiteX2" fmla="*/ 2948692 w 6508043"/>
                  <a:gd name="connsiteY2" fmla="*/ 136660 h 335879"/>
                  <a:gd name="connsiteX3" fmla="*/ 4318137 w 6508043"/>
                  <a:gd name="connsiteY3" fmla="*/ 154345 h 335879"/>
                  <a:gd name="connsiteX4" fmla="*/ 5894740 w 6508043"/>
                  <a:gd name="connsiteY4" fmla="*/ 9615 h 335879"/>
                  <a:gd name="connsiteX5" fmla="*/ 6508043 w 6508043"/>
                  <a:gd name="connsiteY5" fmla="*/ 9464 h 33587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18137 w 6759713"/>
                  <a:gd name="connsiteY3" fmla="*/ 19521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06747 w 6759713"/>
                  <a:gd name="connsiteY2" fmla="*/ 127196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62461 w 5920814"/>
                  <a:gd name="connsiteY3" fmla="*/ 111325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47452 w 5920814"/>
                  <a:gd name="connsiteY4" fmla="*/ 16930 h 343193"/>
                  <a:gd name="connsiteX5" fmla="*/ 5920814 w 5920814"/>
                  <a:gd name="connsiteY5" fmla="*/ 0 h 343193"/>
                  <a:gd name="connsiteX0" fmla="*/ 0 w 6029871"/>
                  <a:gd name="connsiteY0" fmla="*/ 343193 h 343193"/>
                  <a:gd name="connsiteX1" fmla="*/ 1155111 w 6029871"/>
                  <a:gd name="connsiteY1" fmla="*/ 276081 h 343193"/>
                  <a:gd name="connsiteX2" fmla="*/ 2302740 w 6029871"/>
                  <a:gd name="connsiteY2" fmla="*/ 169141 h 343193"/>
                  <a:gd name="connsiteX3" fmla="*/ 3563129 w 6029871"/>
                  <a:gd name="connsiteY3" fmla="*/ 94547 h 343193"/>
                  <a:gd name="connsiteX4" fmla="*/ 5047452 w 6029871"/>
                  <a:gd name="connsiteY4" fmla="*/ 16930 h 343193"/>
                  <a:gd name="connsiteX5" fmla="*/ 6029871 w 6029871"/>
                  <a:gd name="connsiteY5" fmla="*/ 0 h 343193"/>
                  <a:gd name="connsiteX0" fmla="*/ 0 w 6441853"/>
                  <a:gd name="connsiteY0" fmla="*/ 333148 h 333148"/>
                  <a:gd name="connsiteX1" fmla="*/ 1155111 w 6441853"/>
                  <a:gd name="connsiteY1" fmla="*/ 266036 h 333148"/>
                  <a:gd name="connsiteX2" fmla="*/ 2302740 w 6441853"/>
                  <a:gd name="connsiteY2" fmla="*/ 159096 h 333148"/>
                  <a:gd name="connsiteX3" fmla="*/ 3563129 w 6441853"/>
                  <a:gd name="connsiteY3" fmla="*/ 84502 h 333148"/>
                  <a:gd name="connsiteX4" fmla="*/ 5047452 w 6441853"/>
                  <a:gd name="connsiteY4" fmla="*/ 6885 h 333148"/>
                  <a:gd name="connsiteX5" fmla="*/ 6441853 w 6441853"/>
                  <a:gd name="connsiteY5" fmla="*/ 3 h 333148"/>
                  <a:gd name="connsiteX0" fmla="*/ 0 w 6441853"/>
                  <a:gd name="connsiteY0" fmla="*/ 333145 h 333145"/>
                  <a:gd name="connsiteX1" fmla="*/ 1155111 w 6441853"/>
                  <a:gd name="connsiteY1" fmla="*/ 266033 h 333145"/>
                  <a:gd name="connsiteX2" fmla="*/ 2302740 w 6441853"/>
                  <a:gd name="connsiteY2" fmla="*/ 159093 h 333145"/>
                  <a:gd name="connsiteX3" fmla="*/ 3563129 w 6441853"/>
                  <a:gd name="connsiteY3" fmla="*/ 84499 h 333145"/>
                  <a:gd name="connsiteX4" fmla="*/ 5018683 w 6441853"/>
                  <a:gd name="connsiteY4" fmla="*/ 19858 h 333145"/>
                  <a:gd name="connsiteX5" fmla="*/ 6441853 w 6441853"/>
                  <a:gd name="connsiteY5" fmla="*/ 0 h 333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41853" h="333145">
                    <a:moveTo>
                      <a:pt x="0" y="333145"/>
                    </a:moveTo>
                    <a:lnTo>
                      <a:pt x="1155111" y="266033"/>
                    </a:lnTo>
                    <a:cubicBezTo>
                      <a:pt x="1538901" y="237024"/>
                      <a:pt x="1901404" y="189349"/>
                      <a:pt x="2302740" y="159093"/>
                    </a:cubicBezTo>
                    <a:cubicBezTo>
                      <a:pt x="2704076" y="128837"/>
                      <a:pt x="3110472" y="107705"/>
                      <a:pt x="3563129" y="84499"/>
                    </a:cubicBezTo>
                    <a:lnTo>
                      <a:pt x="5018683" y="19858"/>
                    </a:lnTo>
                    <a:cubicBezTo>
                      <a:pt x="5498470" y="5775"/>
                      <a:pt x="6195474" y="5643"/>
                      <a:pt x="6441853" y="0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  <p:sp>
            <p:nvSpPr>
              <p:cNvPr id="14" name="Freeform 13"/>
              <p:cNvSpPr/>
              <p:nvPr/>
            </p:nvSpPr>
            <p:spPr>
              <a:xfrm rot="10800000">
                <a:off x="1629375" y="2137694"/>
                <a:ext cx="6390994" cy="152963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603523"/>
                  <a:gd name="connsiteY0" fmla="*/ 109259 h 168194"/>
                  <a:gd name="connsiteX1" fmla="*/ 1935891 w 7603523"/>
                  <a:gd name="connsiteY1" fmla="*/ 166923 h 168194"/>
                  <a:gd name="connsiteX2" fmla="*/ 2940907 w 7603523"/>
                  <a:gd name="connsiteY2" fmla="*/ 51594 h 168194"/>
                  <a:gd name="connsiteX3" fmla="*/ 4201296 w 7603523"/>
                  <a:gd name="connsiteY3" fmla="*/ 2167 h 168194"/>
                  <a:gd name="connsiteX4" fmla="*/ 5601729 w 7603523"/>
                  <a:gd name="connsiteY4" fmla="*/ 117496 h 168194"/>
                  <a:gd name="connsiteX5" fmla="*/ 6466702 w 7603523"/>
                  <a:gd name="connsiteY5" fmla="*/ 125734 h 168194"/>
                  <a:gd name="connsiteX6" fmla="*/ 7603523 w 7603523"/>
                  <a:gd name="connsiteY6" fmla="*/ 117496 h 168194"/>
                  <a:gd name="connsiteX0" fmla="*/ 0 w 8270788"/>
                  <a:gd name="connsiteY0" fmla="*/ 109259 h 168194"/>
                  <a:gd name="connsiteX1" fmla="*/ 1935891 w 8270788"/>
                  <a:gd name="connsiteY1" fmla="*/ 166923 h 168194"/>
                  <a:gd name="connsiteX2" fmla="*/ 2940907 w 8270788"/>
                  <a:gd name="connsiteY2" fmla="*/ 51594 h 168194"/>
                  <a:gd name="connsiteX3" fmla="*/ 4201296 w 8270788"/>
                  <a:gd name="connsiteY3" fmla="*/ 2167 h 168194"/>
                  <a:gd name="connsiteX4" fmla="*/ 5601729 w 8270788"/>
                  <a:gd name="connsiteY4" fmla="*/ 117496 h 168194"/>
                  <a:gd name="connsiteX5" fmla="*/ 6466702 w 8270788"/>
                  <a:gd name="connsiteY5" fmla="*/ 125734 h 168194"/>
                  <a:gd name="connsiteX6" fmla="*/ 8270788 w 8270788"/>
                  <a:gd name="connsiteY6" fmla="*/ 109258 h 168194"/>
                  <a:gd name="connsiteX0" fmla="*/ 0 w 8270788"/>
                  <a:gd name="connsiteY0" fmla="*/ 107179 h 166114"/>
                  <a:gd name="connsiteX1" fmla="*/ 1935891 w 8270788"/>
                  <a:gd name="connsiteY1" fmla="*/ 164843 h 166114"/>
                  <a:gd name="connsiteX2" fmla="*/ 2940907 w 8270788"/>
                  <a:gd name="connsiteY2" fmla="*/ 49514 h 166114"/>
                  <a:gd name="connsiteX3" fmla="*/ 4201296 w 8270788"/>
                  <a:gd name="connsiteY3" fmla="*/ 87 h 166114"/>
                  <a:gd name="connsiteX4" fmla="*/ 5400393 w 8270788"/>
                  <a:gd name="connsiteY4" fmla="*/ 39916 h 166114"/>
                  <a:gd name="connsiteX5" fmla="*/ 6466702 w 8270788"/>
                  <a:gd name="connsiteY5" fmla="*/ 123654 h 166114"/>
                  <a:gd name="connsiteX6" fmla="*/ 8270788 w 8270788"/>
                  <a:gd name="connsiteY6" fmla="*/ 107178 h 166114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466702 w 8270788"/>
                  <a:gd name="connsiteY5" fmla="*/ 98400 h 140860"/>
                  <a:gd name="connsiteX6" fmla="*/ 8270788 w 8270788"/>
                  <a:gd name="connsiteY6" fmla="*/ 81924 h 140860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273755 w 8270788"/>
                  <a:gd name="connsiteY5" fmla="*/ 56455 h 140860"/>
                  <a:gd name="connsiteX6" fmla="*/ 8270788 w 8270788"/>
                  <a:gd name="connsiteY6" fmla="*/ 81924 h 140860"/>
                  <a:gd name="connsiteX0" fmla="*/ 0 w 7423500"/>
                  <a:gd name="connsiteY0" fmla="*/ 81925 h 140860"/>
                  <a:gd name="connsiteX1" fmla="*/ 1935891 w 7423500"/>
                  <a:gd name="connsiteY1" fmla="*/ 139589 h 140860"/>
                  <a:gd name="connsiteX2" fmla="*/ 2940907 w 7423500"/>
                  <a:gd name="connsiteY2" fmla="*/ 24260 h 140860"/>
                  <a:gd name="connsiteX3" fmla="*/ 4159351 w 7423500"/>
                  <a:gd name="connsiteY3" fmla="*/ 0 h 140860"/>
                  <a:gd name="connsiteX4" fmla="*/ 5400393 w 7423500"/>
                  <a:gd name="connsiteY4" fmla="*/ 14662 h 140860"/>
                  <a:gd name="connsiteX5" fmla="*/ 6273755 w 7423500"/>
                  <a:gd name="connsiteY5" fmla="*/ 56455 h 140860"/>
                  <a:gd name="connsiteX6" fmla="*/ 7423500 w 7423500"/>
                  <a:gd name="connsiteY6" fmla="*/ 31591 h 140860"/>
                  <a:gd name="connsiteX0" fmla="*/ 0 w 6358098"/>
                  <a:gd name="connsiteY0" fmla="*/ 190981 h 196030"/>
                  <a:gd name="connsiteX1" fmla="*/ 870489 w 6358098"/>
                  <a:gd name="connsiteY1" fmla="*/ 139589 h 196030"/>
                  <a:gd name="connsiteX2" fmla="*/ 1875505 w 6358098"/>
                  <a:gd name="connsiteY2" fmla="*/ 24260 h 196030"/>
                  <a:gd name="connsiteX3" fmla="*/ 3093949 w 6358098"/>
                  <a:gd name="connsiteY3" fmla="*/ 0 h 196030"/>
                  <a:gd name="connsiteX4" fmla="*/ 4334991 w 6358098"/>
                  <a:gd name="connsiteY4" fmla="*/ 14662 h 196030"/>
                  <a:gd name="connsiteX5" fmla="*/ 5208353 w 6358098"/>
                  <a:gd name="connsiteY5" fmla="*/ 56455 h 196030"/>
                  <a:gd name="connsiteX6" fmla="*/ 6358098 w 6358098"/>
                  <a:gd name="connsiteY6" fmla="*/ 31591 h 196030"/>
                  <a:gd name="connsiteX0" fmla="*/ 0 w 6358098"/>
                  <a:gd name="connsiteY0" fmla="*/ 190981 h 193533"/>
                  <a:gd name="connsiteX1" fmla="*/ 987935 w 6358098"/>
                  <a:gd name="connsiteY1" fmla="*/ 80867 h 193533"/>
                  <a:gd name="connsiteX2" fmla="*/ 1875505 w 6358098"/>
                  <a:gd name="connsiteY2" fmla="*/ 24260 h 193533"/>
                  <a:gd name="connsiteX3" fmla="*/ 3093949 w 6358098"/>
                  <a:gd name="connsiteY3" fmla="*/ 0 h 193533"/>
                  <a:gd name="connsiteX4" fmla="*/ 4334991 w 6358098"/>
                  <a:gd name="connsiteY4" fmla="*/ 14662 h 193533"/>
                  <a:gd name="connsiteX5" fmla="*/ 5208353 w 6358098"/>
                  <a:gd name="connsiteY5" fmla="*/ 56455 h 193533"/>
                  <a:gd name="connsiteX6" fmla="*/ 6358098 w 6358098"/>
                  <a:gd name="connsiteY6" fmla="*/ 31591 h 193533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98629 w 6148374"/>
                  <a:gd name="connsiteY5" fmla="*/ 56455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5938818 w 6148374"/>
                  <a:gd name="connsiteY6" fmla="*/ 24625 h 160779"/>
                  <a:gd name="connsiteX7" fmla="*/ 6148374 w 6148374"/>
                  <a:gd name="connsiteY7" fmla="*/ 31591 h 160779"/>
                  <a:gd name="connsiteX0" fmla="*/ 0 w 6148374"/>
                  <a:gd name="connsiteY0" fmla="*/ 157425 h 162750"/>
                  <a:gd name="connsiteX1" fmla="*/ 828545 w 6148374"/>
                  <a:gd name="connsiteY1" fmla="*/ 114422 h 162750"/>
                  <a:gd name="connsiteX2" fmla="*/ 1665781 w 6148374"/>
                  <a:gd name="connsiteY2" fmla="*/ 24260 h 162750"/>
                  <a:gd name="connsiteX3" fmla="*/ 2884225 w 6148374"/>
                  <a:gd name="connsiteY3" fmla="*/ 0 h 162750"/>
                  <a:gd name="connsiteX4" fmla="*/ 4125267 w 6148374"/>
                  <a:gd name="connsiteY4" fmla="*/ 14662 h 162750"/>
                  <a:gd name="connsiteX5" fmla="*/ 4939906 w 6148374"/>
                  <a:gd name="connsiteY5" fmla="*/ 14510 h 162750"/>
                  <a:gd name="connsiteX6" fmla="*/ 5938818 w 6148374"/>
                  <a:gd name="connsiteY6" fmla="*/ 24625 h 162750"/>
                  <a:gd name="connsiteX7" fmla="*/ 6148374 w 6148374"/>
                  <a:gd name="connsiteY7" fmla="*/ 31591 h 162750"/>
                  <a:gd name="connsiteX0" fmla="*/ 0 w 6148374"/>
                  <a:gd name="connsiteY0" fmla="*/ 157425 h 157425"/>
                  <a:gd name="connsiteX1" fmla="*/ 828545 w 6148374"/>
                  <a:gd name="connsiteY1" fmla="*/ 114422 h 157425"/>
                  <a:gd name="connsiteX2" fmla="*/ 1749670 w 6148374"/>
                  <a:gd name="connsiteY2" fmla="*/ 66205 h 157425"/>
                  <a:gd name="connsiteX3" fmla="*/ 2884225 w 6148374"/>
                  <a:gd name="connsiteY3" fmla="*/ 0 h 157425"/>
                  <a:gd name="connsiteX4" fmla="*/ 4125267 w 6148374"/>
                  <a:gd name="connsiteY4" fmla="*/ 14662 h 157425"/>
                  <a:gd name="connsiteX5" fmla="*/ 4939906 w 6148374"/>
                  <a:gd name="connsiteY5" fmla="*/ 14510 h 157425"/>
                  <a:gd name="connsiteX6" fmla="*/ 5938818 w 6148374"/>
                  <a:gd name="connsiteY6" fmla="*/ 24625 h 157425"/>
                  <a:gd name="connsiteX7" fmla="*/ 6148374 w 6148374"/>
                  <a:gd name="connsiteY7" fmla="*/ 31591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38818 w 5938818"/>
                  <a:gd name="connsiteY6" fmla="*/ 24625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25174 w 5938818"/>
                  <a:gd name="connsiteY6" fmla="*/ 40665 h 157425"/>
                  <a:gd name="connsiteX7" fmla="*/ 5938818 w 5938818"/>
                  <a:gd name="connsiteY7" fmla="*/ 24625 h 157425"/>
                  <a:gd name="connsiteX0" fmla="*/ 0 w 6360849"/>
                  <a:gd name="connsiteY0" fmla="*/ 157425 h 157425"/>
                  <a:gd name="connsiteX1" fmla="*/ 1250576 w 6360849"/>
                  <a:gd name="connsiteY1" fmla="*/ 114422 h 157425"/>
                  <a:gd name="connsiteX2" fmla="*/ 2171701 w 6360849"/>
                  <a:gd name="connsiteY2" fmla="*/ 66205 h 157425"/>
                  <a:gd name="connsiteX3" fmla="*/ 3306256 w 6360849"/>
                  <a:gd name="connsiteY3" fmla="*/ 0 h 157425"/>
                  <a:gd name="connsiteX4" fmla="*/ 4547298 w 6360849"/>
                  <a:gd name="connsiteY4" fmla="*/ 14662 h 157425"/>
                  <a:gd name="connsiteX5" fmla="*/ 5361937 w 6360849"/>
                  <a:gd name="connsiteY5" fmla="*/ 14510 h 157425"/>
                  <a:gd name="connsiteX6" fmla="*/ 6347205 w 6360849"/>
                  <a:gd name="connsiteY6" fmla="*/ 40665 h 157425"/>
                  <a:gd name="connsiteX7" fmla="*/ 6360849 w 6360849"/>
                  <a:gd name="connsiteY7" fmla="*/ 24625 h 157425"/>
                  <a:gd name="connsiteX0" fmla="*/ 0 w 6390994"/>
                  <a:gd name="connsiteY0" fmla="*/ 167473 h 167473"/>
                  <a:gd name="connsiteX1" fmla="*/ 1280721 w 6390994"/>
                  <a:gd name="connsiteY1" fmla="*/ 114422 h 167473"/>
                  <a:gd name="connsiteX2" fmla="*/ 2201846 w 6390994"/>
                  <a:gd name="connsiteY2" fmla="*/ 66205 h 167473"/>
                  <a:gd name="connsiteX3" fmla="*/ 3336401 w 6390994"/>
                  <a:gd name="connsiteY3" fmla="*/ 0 h 167473"/>
                  <a:gd name="connsiteX4" fmla="*/ 4577443 w 6390994"/>
                  <a:gd name="connsiteY4" fmla="*/ 14662 h 167473"/>
                  <a:gd name="connsiteX5" fmla="*/ 5392082 w 6390994"/>
                  <a:gd name="connsiteY5" fmla="*/ 14510 h 167473"/>
                  <a:gd name="connsiteX6" fmla="*/ 6377350 w 6390994"/>
                  <a:gd name="connsiteY6" fmla="*/ 40665 h 167473"/>
                  <a:gd name="connsiteX7" fmla="*/ 6390994 w 6390994"/>
                  <a:gd name="connsiteY7" fmla="*/ 24625 h 167473"/>
                  <a:gd name="connsiteX0" fmla="*/ 0 w 6390994"/>
                  <a:gd name="connsiteY0" fmla="*/ 152963 h 152963"/>
                  <a:gd name="connsiteX1" fmla="*/ 1280721 w 6390994"/>
                  <a:gd name="connsiteY1" fmla="*/ 99912 h 152963"/>
                  <a:gd name="connsiteX2" fmla="*/ 2201846 w 6390994"/>
                  <a:gd name="connsiteY2" fmla="*/ 51695 h 152963"/>
                  <a:gd name="connsiteX3" fmla="*/ 3312577 w 6390994"/>
                  <a:gd name="connsiteY3" fmla="*/ 14145 h 152963"/>
                  <a:gd name="connsiteX4" fmla="*/ 4577443 w 6390994"/>
                  <a:gd name="connsiteY4" fmla="*/ 152 h 152963"/>
                  <a:gd name="connsiteX5" fmla="*/ 5392082 w 6390994"/>
                  <a:gd name="connsiteY5" fmla="*/ 0 h 152963"/>
                  <a:gd name="connsiteX6" fmla="*/ 6377350 w 6390994"/>
                  <a:gd name="connsiteY6" fmla="*/ 26155 h 152963"/>
                  <a:gd name="connsiteX7" fmla="*/ 6390994 w 6390994"/>
                  <a:gd name="connsiteY7" fmla="*/ 10115 h 152963"/>
                  <a:gd name="connsiteX0" fmla="*/ 0 w 6390994"/>
                  <a:gd name="connsiteY0" fmla="*/ 152963 h 152963"/>
                  <a:gd name="connsiteX1" fmla="*/ 1280721 w 6390994"/>
                  <a:gd name="connsiteY1" fmla="*/ 99912 h 152963"/>
                  <a:gd name="connsiteX2" fmla="*/ 2201846 w 6390994"/>
                  <a:gd name="connsiteY2" fmla="*/ 51695 h 152963"/>
                  <a:gd name="connsiteX3" fmla="*/ 3319769 w 6390994"/>
                  <a:gd name="connsiteY3" fmla="*/ 27120 h 152963"/>
                  <a:gd name="connsiteX4" fmla="*/ 4577443 w 6390994"/>
                  <a:gd name="connsiteY4" fmla="*/ 152 h 152963"/>
                  <a:gd name="connsiteX5" fmla="*/ 5392082 w 6390994"/>
                  <a:gd name="connsiteY5" fmla="*/ 0 h 152963"/>
                  <a:gd name="connsiteX6" fmla="*/ 6377350 w 6390994"/>
                  <a:gd name="connsiteY6" fmla="*/ 26155 h 152963"/>
                  <a:gd name="connsiteX7" fmla="*/ 6390994 w 6390994"/>
                  <a:gd name="connsiteY7" fmla="*/ 10115 h 152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90994" h="152963">
                    <a:moveTo>
                      <a:pt x="0" y="152963"/>
                    </a:moveTo>
                    <a:lnTo>
                      <a:pt x="1280721" y="99912"/>
                    </a:lnTo>
                    <a:lnTo>
                      <a:pt x="2201846" y="51695"/>
                    </a:lnTo>
                    <a:cubicBezTo>
                      <a:pt x="2544459" y="32625"/>
                      <a:pt x="2923836" y="35710"/>
                      <a:pt x="3319769" y="27120"/>
                    </a:cubicBezTo>
                    <a:lnTo>
                      <a:pt x="4577443" y="152"/>
                    </a:lnTo>
                    <a:lnTo>
                      <a:pt x="5392082" y="0"/>
                    </a:lnTo>
                    <a:cubicBezTo>
                      <a:pt x="5703757" y="2019"/>
                      <a:pt x="6065675" y="24136"/>
                      <a:pt x="6377350" y="26155"/>
                    </a:cubicBezTo>
                    <a:lnTo>
                      <a:pt x="6390994" y="10115"/>
                    </a:ln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/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2701948" y="4563141"/>
              <a:ext cx="265398" cy="1126547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565321" y="4354516"/>
              <a:ext cx="265398" cy="1265424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2970727" y="4376043"/>
              <a:ext cx="2595957" cy="198971"/>
            </a:xfrm>
            <a:custGeom>
              <a:avLst/>
              <a:gdLst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57013 w 2164360"/>
                <a:gd name="connsiteY2" fmla="*/ 75501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14506 h 125835"/>
                <a:gd name="connsiteX4" fmla="*/ 2164360 w 2164360"/>
                <a:gd name="connsiteY4" fmla="*/ 0 h 125835"/>
                <a:gd name="connsiteX0" fmla="*/ 0 w 2164360"/>
                <a:gd name="connsiteY0" fmla="*/ 149648 h 149648"/>
                <a:gd name="connsiteX1" fmla="*/ 520118 w 2164360"/>
                <a:gd name="connsiteY1" fmla="*/ 107703 h 149648"/>
                <a:gd name="connsiteX2" fmla="*/ 1077110 w 2164360"/>
                <a:gd name="connsiteY2" fmla="*/ 69169 h 149648"/>
                <a:gd name="connsiteX3" fmla="*/ 1661020 w 2164360"/>
                <a:gd name="connsiteY3" fmla="*/ 38319 h 149648"/>
                <a:gd name="connsiteX4" fmla="*/ 2164360 w 2164360"/>
                <a:gd name="connsiteY4" fmla="*/ 0 h 1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360" h="149648">
                  <a:moveTo>
                    <a:pt x="0" y="149648"/>
                  </a:moveTo>
                  <a:cubicBezTo>
                    <a:pt x="171974" y="132870"/>
                    <a:pt x="340600" y="121116"/>
                    <a:pt x="520118" y="107703"/>
                  </a:cubicBezTo>
                  <a:lnTo>
                    <a:pt x="1077110" y="69169"/>
                  </a:lnTo>
                  <a:lnTo>
                    <a:pt x="1661020" y="38319"/>
                  </a:lnTo>
                  <a:cubicBezTo>
                    <a:pt x="1842228" y="26791"/>
                    <a:pt x="1996580" y="11185"/>
                    <a:pt x="2164360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986953" y="5347121"/>
              <a:ext cx="2587646" cy="312026"/>
            </a:xfrm>
            <a:custGeom>
              <a:avLst/>
              <a:gdLst>
                <a:gd name="connsiteX0" fmla="*/ 6628 w 2129043"/>
                <a:gd name="connsiteY0" fmla="*/ 58723 h 75814"/>
                <a:gd name="connsiteX1" fmla="*/ 73740 w 2129043"/>
                <a:gd name="connsiteY1" fmla="*/ 58723 h 75814"/>
                <a:gd name="connsiteX2" fmla="*/ 803582 w 2129043"/>
                <a:gd name="connsiteY2" fmla="*/ 75501 h 75814"/>
                <a:gd name="connsiteX3" fmla="*/ 1390812 w 2129043"/>
                <a:gd name="connsiteY3" fmla="*/ 41945 h 75814"/>
                <a:gd name="connsiteX4" fmla="*/ 1801872 w 2129043"/>
                <a:gd name="connsiteY4" fmla="*/ 41945 h 75814"/>
                <a:gd name="connsiteX5" fmla="*/ 2129043 w 2129043"/>
                <a:gd name="connsiteY5" fmla="*/ 0 h 75814"/>
                <a:gd name="connsiteX0" fmla="*/ 6628 w 2129043"/>
                <a:gd name="connsiteY0" fmla="*/ 58723 h 75512"/>
                <a:gd name="connsiteX1" fmla="*/ 73740 w 2129043"/>
                <a:gd name="connsiteY1" fmla="*/ 58723 h 75512"/>
                <a:gd name="connsiteX2" fmla="*/ 803582 w 2129043"/>
                <a:gd name="connsiteY2" fmla="*/ 75501 h 75512"/>
                <a:gd name="connsiteX3" fmla="*/ 1305087 w 2129043"/>
                <a:gd name="connsiteY3" fmla="*/ 60995 h 75512"/>
                <a:gd name="connsiteX4" fmla="*/ 1801872 w 2129043"/>
                <a:gd name="connsiteY4" fmla="*/ 41945 h 75512"/>
                <a:gd name="connsiteX5" fmla="*/ 2129043 w 2129043"/>
                <a:gd name="connsiteY5" fmla="*/ 0 h 75512"/>
                <a:gd name="connsiteX0" fmla="*/ 6628 w 2129043"/>
                <a:gd name="connsiteY0" fmla="*/ 44436 h 61225"/>
                <a:gd name="connsiteX1" fmla="*/ 73740 w 2129043"/>
                <a:gd name="connsiteY1" fmla="*/ 44436 h 61225"/>
                <a:gd name="connsiteX2" fmla="*/ 803582 w 2129043"/>
                <a:gd name="connsiteY2" fmla="*/ 61214 h 61225"/>
                <a:gd name="connsiteX3" fmla="*/ 1305087 w 2129043"/>
                <a:gd name="connsiteY3" fmla="*/ 46708 h 61225"/>
                <a:gd name="connsiteX4" fmla="*/ 1801872 w 2129043"/>
                <a:gd name="connsiteY4" fmla="*/ 27658 h 61225"/>
                <a:gd name="connsiteX5" fmla="*/ 2129043 w 2129043"/>
                <a:gd name="connsiteY5" fmla="*/ 0 h 61225"/>
                <a:gd name="connsiteX0" fmla="*/ 6628 w 2129043"/>
                <a:gd name="connsiteY0" fmla="*/ 84055 h 100834"/>
                <a:gd name="connsiteX1" fmla="*/ 73740 w 2129043"/>
                <a:gd name="connsiteY1" fmla="*/ 84055 h 100834"/>
                <a:gd name="connsiteX2" fmla="*/ 803582 w 2129043"/>
                <a:gd name="connsiteY2" fmla="*/ 100833 h 100834"/>
                <a:gd name="connsiteX3" fmla="*/ 1336852 w 2129043"/>
                <a:gd name="connsiteY3" fmla="*/ 360 h 100834"/>
                <a:gd name="connsiteX4" fmla="*/ 1801872 w 2129043"/>
                <a:gd name="connsiteY4" fmla="*/ 67277 h 100834"/>
                <a:gd name="connsiteX5" fmla="*/ 2129043 w 2129043"/>
                <a:gd name="connsiteY5" fmla="*/ 39619 h 100834"/>
                <a:gd name="connsiteX0" fmla="*/ 6628 w 2129043"/>
                <a:gd name="connsiteY0" fmla="*/ 84055 h 84055"/>
                <a:gd name="connsiteX1" fmla="*/ 73740 w 2129043"/>
                <a:gd name="connsiteY1" fmla="*/ 84055 h 84055"/>
                <a:gd name="connsiteX2" fmla="*/ 795641 w 2129043"/>
                <a:gd name="connsiteY2" fmla="*/ 539 h 84055"/>
                <a:gd name="connsiteX3" fmla="*/ 1336852 w 2129043"/>
                <a:gd name="connsiteY3" fmla="*/ 360 h 84055"/>
                <a:gd name="connsiteX4" fmla="*/ 1801872 w 2129043"/>
                <a:gd name="connsiteY4" fmla="*/ 67277 h 84055"/>
                <a:gd name="connsiteX5" fmla="*/ 2129043 w 2129043"/>
                <a:gd name="connsiteY5" fmla="*/ 39619 h 84055"/>
                <a:gd name="connsiteX0" fmla="*/ 6628 w 2129043"/>
                <a:gd name="connsiteY0" fmla="*/ 141219 h 141219"/>
                <a:gd name="connsiteX1" fmla="*/ 73740 w 2129043"/>
                <a:gd name="connsiteY1" fmla="*/ 141219 h 141219"/>
                <a:gd name="connsiteX2" fmla="*/ 795641 w 2129043"/>
                <a:gd name="connsiteY2" fmla="*/ 57703 h 141219"/>
                <a:gd name="connsiteX3" fmla="*/ 1328911 w 2129043"/>
                <a:gd name="connsiteY3" fmla="*/ 214 h 141219"/>
                <a:gd name="connsiteX4" fmla="*/ 1801872 w 2129043"/>
                <a:gd name="connsiteY4" fmla="*/ 124441 h 141219"/>
                <a:gd name="connsiteX5" fmla="*/ 2129043 w 2129043"/>
                <a:gd name="connsiteY5" fmla="*/ 96783 h 141219"/>
                <a:gd name="connsiteX0" fmla="*/ 6628 w 2129043"/>
                <a:gd name="connsiteY0" fmla="*/ 141219 h 141219"/>
                <a:gd name="connsiteX1" fmla="*/ 73740 w 2129043"/>
                <a:gd name="connsiteY1" fmla="*/ 141219 h 141219"/>
                <a:gd name="connsiteX2" fmla="*/ 811524 w 2129043"/>
                <a:gd name="connsiteY2" fmla="*/ 43376 h 141219"/>
                <a:gd name="connsiteX3" fmla="*/ 1328911 w 2129043"/>
                <a:gd name="connsiteY3" fmla="*/ 214 h 141219"/>
                <a:gd name="connsiteX4" fmla="*/ 1801872 w 2129043"/>
                <a:gd name="connsiteY4" fmla="*/ 124441 h 141219"/>
                <a:gd name="connsiteX5" fmla="*/ 2129043 w 2129043"/>
                <a:gd name="connsiteY5" fmla="*/ 96783 h 141219"/>
                <a:gd name="connsiteX0" fmla="*/ 6628 w 2129043"/>
                <a:gd name="connsiteY0" fmla="*/ 141219 h 141219"/>
                <a:gd name="connsiteX1" fmla="*/ 73740 w 2129043"/>
                <a:gd name="connsiteY1" fmla="*/ 141219 h 141219"/>
                <a:gd name="connsiteX2" fmla="*/ 811524 w 2129043"/>
                <a:gd name="connsiteY2" fmla="*/ 43376 h 141219"/>
                <a:gd name="connsiteX3" fmla="*/ 1328911 w 2129043"/>
                <a:gd name="connsiteY3" fmla="*/ 214 h 141219"/>
                <a:gd name="connsiteX4" fmla="*/ 1801872 w 2129043"/>
                <a:gd name="connsiteY4" fmla="*/ 124441 h 141219"/>
                <a:gd name="connsiteX5" fmla="*/ 2129043 w 2129043"/>
                <a:gd name="connsiteY5" fmla="*/ 96783 h 141219"/>
                <a:gd name="connsiteX0" fmla="*/ 6628 w 2129043"/>
                <a:gd name="connsiteY0" fmla="*/ 141337 h 141337"/>
                <a:gd name="connsiteX1" fmla="*/ 73740 w 2129043"/>
                <a:gd name="connsiteY1" fmla="*/ 141337 h 141337"/>
                <a:gd name="connsiteX2" fmla="*/ 811524 w 2129043"/>
                <a:gd name="connsiteY2" fmla="*/ 43494 h 141337"/>
                <a:gd name="connsiteX3" fmla="*/ 1328911 w 2129043"/>
                <a:gd name="connsiteY3" fmla="*/ 332 h 141337"/>
                <a:gd name="connsiteX4" fmla="*/ 1801872 w 2129043"/>
                <a:gd name="connsiteY4" fmla="*/ 74412 h 141337"/>
                <a:gd name="connsiteX5" fmla="*/ 2129043 w 2129043"/>
                <a:gd name="connsiteY5" fmla="*/ 96901 h 141337"/>
                <a:gd name="connsiteX0" fmla="*/ 6628 w 2129043"/>
                <a:gd name="connsiteY0" fmla="*/ 141486 h 141486"/>
                <a:gd name="connsiteX1" fmla="*/ 73740 w 2129043"/>
                <a:gd name="connsiteY1" fmla="*/ 141486 h 141486"/>
                <a:gd name="connsiteX2" fmla="*/ 811524 w 2129043"/>
                <a:gd name="connsiteY2" fmla="*/ 43643 h 141486"/>
                <a:gd name="connsiteX3" fmla="*/ 1328911 w 2129043"/>
                <a:gd name="connsiteY3" fmla="*/ 481 h 141486"/>
                <a:gd name="connsiteX4" fmla="*/ 1801872 w 2129043"/>
                <a:gd name="connsiteY4" fmla="*/ 74561 h 141486"/>
                <a:gd name="connsiteX5" fmla="*/ 2129043 w 2129043"/>
                <a:gd name="connsiteY5" fmla="*/ 97050 h 141486"/>
                <a:gd name="connsiteX0" fmla="*/ 6628 w 2129043"/>
                <a:gd name="connsiteY0" fmla="*/ 162855 h 162855"/>
                <a:gd name="connsiteX1" fmla="*/ 73740 w 2129043"/>
                <a:gd name="connsiteY1" fmla="*/ 162855 h 162855"/>
                <a:gd name="connsiteX2" fmla="*/ 811524 w 2129043"/>
                <a:gd name="connsiteY2" fmla="*/ 65012 h 162855"/>
                <a:gd name="connsiteX3" fmla="*/ 1289204 w 2129043"/>
                <a:gd name="connsiteY3" fmla="*/ 359 h 162855"/>
                <a:gd name="connsiteX4" fmla="*/ 1801872 w 2129043"/>
                <a:gd name="connsiteY4" fmla="*/ 95930 h 162855"/>
                <a:gd name="connsiteX5" fmla="*/ 2129043 w 2129043"/>
                <a:gd name="connsiteY5" fmla="*/ 118419 h 162855"/>
                <a:gd name="connsiteX0" fmla="*/ 6628 w 2129043"/>
                <a:gd name="connsiteY0" fmla="*/ 162855 h 162855"/>
                <a:gd name="connsiteX1" fmla="*/ 73740 w 2129043"/>
                <a:gd name="connsiteY1" fmla="*/ 162855 h 162855"/>
                <a:gd name="connsiteX2" fmla="*/ 803583 w 2129043"/>
                <a:gd name="connsiteY2" fmla="*/ 43521 h 162855"/>
                <a:gd name="connsiteX3" fmla="*/ 1289204 w 2129043"/>
                <a:gd name="connsiteY3" fmla="*/ 359 h 162855"/>
                <a:gd name="connsiteX4" fmla="*/ 1801872 w 2129043"/>
                <a:gd name="connsiteY4" fmla="*/ 95930 h 162855"/>
                <a:gd name="connsiteX5" fmla="*/ 2129043 w 2129043"/>
                <a:gd name="connsiteY5" fmla="*/ 118419 h 162855"/>
                <a:gd name="connsiteX0" fmla="*/ 3251 w 2125666"/>
                <a:gd name="connsiteY0" fmla="*/ 162855 h 162855"/>
                <a:gd name="connsiteX1" fmla="*/ 197426 w 2125666"/>
                <a:gd name="connsiteY1" fmla="*/ 119872 h 162855"/>
                <a:gd name="connsiteX2" fmla="*/ 800206 w 2125666"/>
                <a:gd name="connsiteY2" fmla="*/ 43521 h 162855"/>
                <a:gd name="connsiteX3" fmla="*/ 1285827 w 2125666"/>
                <a:gd name="connsiteY3" fmla="*/ 359 h 162855"/>
                <a:gd name="connsiteX4" fmla="*/ 1798495 w 2125666"/>
                <a:gd name="connsiteY4" fmla="*/ 95930 h 162855"/>
                <a:gd name="connsiteX5" fmla="*/ 2125666 w 2125666"/>
                <a:gd name="connsiteY5" fmla="*/ 118419 h 162855"/>
                <a:gd name="connsiteX0" fmla="*/ 3251 w 2125666"/>
                <a:gd name="connsiteY0" fmla="*/ 162855 h 162855"/>
                <a:gd name="connsiteX1" fmla="*/ 197426 w 2125666"/>
                <a:gd name="connsiteY1" fmla="*/ 119872 h 162855"/>
                <a:gd name="connsiteX2" fmla="*/ 800206 w 2125666"/>
                <a:gd name="connsiteY2" fmla="*/ 43521 h 162855"/>
                <a:gd name="connsiteX3" fmla="*/ 1293768 w 2125666"/>
                <a:gd name="connsiteY3" fmla="*/ 359 h 162855"/>
                <a:gd name="connsiteX4" fmla="*/ 1798495 w 2125666"/>
                <a:gd name="connsiteY4" fmla="*/ 95930 h 162855"/>
                <a:gd name="connsiteX5" fmla="*/ 2125666 w 2125666"/>
                <a:gd name="connsiteY5" fmla="*/ 118419 h 162855"/>
                <a:gd name="connsiteX0" fmla="*/ 3251 w 2125666"/>
                <a:gd name="connsiteY0" fmla="*/ 162855 h 162855"/>
                <a:gd name="connsiteX1" fmla="*/ 197426 w 2125666"/>
                <a:gd name="connsiteY1" fmla="*/ 119872 h 162855"/>
                <a:gd name="connsiteX2" fmla="*/ 800206 w 2125666"/>
                <a:gd name="connsiteY2" fmla="*/ 43521 h 162855"/>
                <a:gd name="connsiteX3" fmla="*/ 1293768 w 2125666"/>
                <a:gd name="connsiteY3" fmla="*/ 359 h 162855"/>
                <a:gd name="connsiteX4" fmla="*/ 1798495 w 2125666"/>
                <a:gd name="connsiteY4" fmla="*/ 95930 h 162855"/>
                <a:gd name="connsiteX5" fmla="*/ 2125666 w 2125666"/>
                <a:gd name="connsiteY5" fmla="*/ 118419 h 162855"/>
                <a:gd name="connsiteX0" fmla="*/ 3251 w 2125666"/>
                <a:gd name="connsiteY0" fmla="*/ 163224 h 163224"/>
                <a:gd name="connsiteX1" fmla="*/ 197426 w 2125666"/>
                <a:gd name="connsiteY1" fmla="*/ 120241 h 163224"/>
                <a:gd name="connsiteX2" fmla="*/ 800206 w 2125666"/>
                <a:gd name="connsiteY2" fmla="*/ 43890 h 163224"/>
                <a:gd name="connsiteX3" fmla="*/ 1293768 w 2125666"/>
                <a:gd name="connsiteY3" fmla="*/ 728 h 163224"/>
                <a:gd name="connsiteX4" fmla="*/ 1798495 w 2125666"/>
                <a:gd name="connsiteY4" fmla="*/ 53316 h 163224"/>
                <a:gd name="connsiteX5" fmla="*/ 2125666 w 2125666"/>
                <a:gd name="connsiteY5" fmla="*/ 118788 h 163224"/>
                <a:gd name="connsiteX0" fmla="*/ 3251 w 2133607"/>
                <a:gd name="connsiteY0" fmla="*/ 163224 h 163224"/>
                <a:gd name="connsiteX1" fmla="*/ 197426 w 2133607"/>
                <a:gd name="connsiteY1" fmla="*/ 120241 h 163224"/>
                <a:gd name="connsiteX2" fmla="*/ 800206 w 2133607"/>
                <a:gd name="connsiteY2" fmla="*/ 43890 h 163224"/>
                <a:gd name="connsiteX3" fmla="*/ 1293768 w 2133607"/>
                <a:gd name="connsiteY3" fmla="*/ 728 h 163224"/>
                <a:gd name="connsiteX4" fmla="*/ 1798495 w 2133607"/>
                <a:gd name="connsiteY4" fmla="*/ 53316 h 163224"/>
                <a:gd name="connsiteX5" fmla="*/ 2133607 w 2133607"/>
                <a:gd name="connsiteY5" fmla="*/ 118788 h 163224"/>
                <a:gd name="connsiteX0" fmla="*/ 3251 w 2133607"/>
                <a:gd name="connsiteY0" fmla="*/ 163372 h 163372"/>
                <a:gd name="connsiteX1" fmla="*/ 197426 w 2133607"/>
                <a:gd name="connsiteY1" fmla="*/ 120389 h 163372"/>
                <a:gd name="connsiteX2" fmla="*/ 800206 w 2133607"/>
                <a:gd name="connsiteY2" fmla="*/ 44038 h 163372"/>
                <a:gd name="connsiteX3" fmla="*/ 1293768 w 2133607"/>
                <a:gd name="connsiteY3" fmla="*/ 876 h 163372"/>
                <a:gd name="connsiteX4" fmla="*/ 1782612 w 2133607"/>
                <a:gd name="connsiteY4" fmla="*/ 46300 h 163372"/>
                <a:gd name="connsiteX5" fmla="*/ 2133607 w 2133607"/>
                <a:gd name="connsiteY5" fmla="*/ 118936 h 163372"/>
                <a:gd name="connsiteX0" fmla="*/ 3251 w 2133607"/>
                <a:gd name="connsiteY0" fmla="*/ 163372 h 163372"/>
                <a:gd name="connsiteX1" fmla="*/ 197426 w 2133607"/>
                <a:gd name="connsiteY1" fmla="*/ 120389 h 163372"/>
                <a:gd name="connsiteX2" fmla="*/ 800206 w 2133607"/>
                <a:gd name="connsiteY2" fmla="*/ 44038 h 163372"/>
                <a:gd name="connsiteX3" fmla="*/ 1293768 w 2133607"/>
                <a:gd name="connsiteY3" fmla="*/ 876 h 163372"/>
                <a:gd name="connsiteX4" fmla="*/ 1782612 w 2133607"/>
                <a:gd name="connsiteY4" fmla="*/ 46300 h 163372"/>
                <a:gd name="connsiteX5" fmla="*/ 2133607 w 2133607"/>
                <a:gd name="connsiteY5" fmla="*/ 118936 h 163372"/>
                <a:gd name="connsiteX0" fmla="*/ 3251 w 2157431"/>
                <a:gd name="connsiteY0" fmla="*/ 163372 h 163372"/>
                <a:gd name="connsiteX1" fmla="*/ 197426 w 2157431"/>
                <a:gd name="connsiteY1" fmla="*/ 120389 h 163372"/>
                <a:gd name="connsiteX2" fmla="*/ 800206 w 2157431"/>
                <a:gd name="connsiteY2" fmla="*/ 44038 h 163372"/>
                <a:gd name="connsiteX3" fmla="*/ 1293768 w 2157431"/>
                <a:gd name="connsiteY3" fmla="*/ 876 h 163372"/>
                <a:gd name="connsiteX4" fmla="*/ 1782612 w 2157431"/>
                <a:gd name="connsiteY4" fmla="*/ 46300 h 163372"/>
                <a:gd name="connsiteX5" fmla="*/ 2157431 w 2157431"/>
                <a:gd name="connsiteY5" fmla="*/ 90281 h 163372"/>
                <a:gd name="connsiteX0" fmla="*/ 3251 w 2157431"/>
                <a:gd name="connsiteY0" fmla="*/ 163372 h 163372"/>
                <a:gd name="connsiteX1" fmla="*/ 197426 w 2157431"/>
                <a:gd name="connsiteY1" fmla="*/ 120389 h 163372"/>
                <a:gd name="connsiteX2" fmla="*/ 800206 w 2157431"/>
                <a:gd name="connsiteY2" fmla="*/ 44038 h 163372"/>
                <a:gd name="connsiteX3" fmla="*/ 1293768 w 2157431"/>
                <a:gd name="connsiteY3" fmla="*/ 876 h 163372"/>
                <a:gd name="connsiteX4" fmla="*/ 1782612 w 2157431"/>
                <a:gd name="connsiteY4" fmla="*/ 46300 h 163372"/>
                <a:gd name="connsiteX5" fmla="*/ 2157431 w 2157431"/>
                <a:gd name="connsiteY5" fmla="*/ 90281 h 163372"/>
                <a:gd name="connsiteX0" fmla="*/ 3251 w 2157431"/>
                <a:gd name="connsiteY0" fmla="*/ 234420 h 234420"/>
                <a:gd name="connsiteX1" fmla="*/ 197426 w 2157431"/>
                <a:gd name="connsiteY1" fmla="*/ 191437 h 234420"/>
                <a:gd name="connsiteX2" fmla="*/ 800206 w 2157431"/>
                <a:gd name="connsiteY2" fmla="*/ 115086 h 234420"/>
                <a:gd name="connsiteX3" fmla="*/ 1293768 w 2157431"/>
                <a:gd name="connsiteY3" fmla="*/ 286 h 234420"/>
                <a:gd name="connsiteX4" fmla="*/ 1782612 w 2157431"/>
                <a:gd name="connsiteY4" fmla="*/ 117348 h 234420"/>
                <a:gd name="connsiteX5" fmla="*/ 2157431 w 2157431"/>
                <a:gd name="connsiteY5" fmla="*/ 161329 h 234420"/>
                <a:gd name="connsiteX0" fmla="*/ 3251 w 2157431"/>
                <a:gd name="connsiteY0" fmla="*/ 234420 h 234420"/>
                <a:gd name="connsiteX1" fmla="*/ 197426 w 2157431"/>
                <a:gd name="connsiteY1" fmla="*/ 191437 h 234420"/>
                <a:gd name="connsiteX2" fmla="*/ 816089 w 2157431"/>
                <a:gd name="connsiteY2" fmla="*/ 93595 h 234420"/>
                <a:gd name="connsiteX3" fmla="*/ 1293768 w 2157431"/>
                <a:gd name="connsiteY3" fmla="*/ 286 h 234420"/>
                <a:gd name="connsiteX4" fmla="*/ 1782612 w 2157431"/>
                <a:gd name="connsiteY4" fmla="*/ 117348 h 234420"/>
                <a:gd name="connsiteX5" fmla="*/ 2157431 w 2157431"/>
                <a:gd name="connsiteY5" fmla="*/ 161329 h 234420"/>
                <a:gd name="connsiteX0" fmla="*/ 3251 w 2157431"/>
                <a:gd name="connsiteY0" fmla="*/ 234677 h 234677"/>
                <a:gd name="connsiteX1" fmla="*/ 197426 w 2157431"/>
                <a:gd name="connsiteY1" fmla="*/ 191694 h 234677"/>
                <a:gd name="connsiteX2" fmla="*/ 816089 w 2157431"/>
                <a:gd name="connsiteY2" fmla="*/ 93852 h 234677"/>
                <a:gd name="connsiteX3" fmla="*/ 1293768 w 2157431"/>
                <a:gd name="connsiteY3" fmla="*/ 543 h 234677"/>
                <a:gd name="connsiteX4" fmla="*/ 1703198 w 2157431"/>
                <a:gd name="connsiteY4" fmla="*/ 67458 h 234677"/>
                <a:gd name="connsiteX5" fmla="*/ 2157431 w 2157431"/>
                <a:gd name="connsiteY5" fmla="*/ 161586 h 234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7431" h="234677">
                  <a:moveTo>
                    <a:pt x="3251" y="234677"/>
                  </a:moveTo>
                  <a:cubicBezTo>
                    <a:pt x="-29606" y="233279"/>
                    <a:pt x="197426" y="191694"/>
                    <a:pt x="197426" y="191694"/>
                  </a:cubicBezTo>
                  <a:lnTo>
                    <a:pt x="816089" y="93852"/>
                  </a:lnTo>
                  <a:cubicBezTo>
                    <a:pt x="1013372" y="58412"/>
                    <a:pt x="1127386" y="6136"/>
                    <a:pt x="1293768" y="543"/>
                  </a:cubicBezTo>
                  <a:cubicBezTo>
                    <a:pt x="1459363" y="-5807"/>
                    <a:pt x="1513779" y="45153"/>
                    <a:pt x="1703198" y="67458"/>
                  </a:cubicBezTo>
                  <a:cubicBezTo>
                    <a:pt x="1848465" y="95492"/>
                    <a:pt x="2047423" y="150408"/>
                    <a:pt x="2157431" y="161586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27" name="Straight Connector 26"/>
            <p:cNvCxnSpPr>
              <a:stCxn id="24" idx="1"/>
              <a:endCxn id="14" idx="4"/>
            </p:cNvCxnSpPr>
            <p:nvPr/>
          </p:nvCxnSpPr>
          <p:spPr>
            <a:xfrm flipH="1">
              <a:off x="2982624" y="4519244"/>
              <a:ext cx="611938" cy="11509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3594562" y="4467167"/>
              <a:ext cx="536164" cy="106543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4130725" y="4465490"/>
              <a:ext cx="497210" cy="93822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endCxn id="25" idx="3"/>
            </p:cNvCxnSpPr>
            <p:nvPr/>
          </p:nvCxnSpPr>
          <p:spPr>
            <a:xfrm flipH="1">
              <a:off x="4538712" y="4401805"/>
              <a:ext cx="503938" cy="94603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24" idx="4"/>
              <a:endCxn id="25" idx="4"/>
            </p:cNvCxnSpPr>
            <p:nvPr/>
          </p:nvCxnSpPr>
          <p:spPr>
            <a:xfrm flipH="1">
              <a:off x="5029787" y="4376043"/>
              <a:ext cx="536897" cy="106077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3017759" y="4575014"/>
              <a:ext cx="576803" cy="95758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3575849" y="4526710"/>
              <a:ext cx="554876" cy="91010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endCxn id="25" idx="3"/>
            </p:cNvCxnSpPr>
            <p:nvPr/>
          </p:nvCxnSpPr>
          <p:spPr>
            <a:xfrm>
              <a:off x="4142146" y="4469637"/>
              <a:ext cx="396566" cy="878206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endCxn id="25" idx="4"/>
            </p:cNvCxnSpPr>
            <p:nvPr/>
          </p:nvCxnSpPr>
          <p:spPr>
            <a:xfrm>
              <a:off x="4616927" y="4457677"/>
              <a:ext cx="412860" cy="979136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063492" y="4412292"/>
              <a:ext cx="368921" cy="112872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reeform 41"/>
            <p:cNvSpPr/>
            <p:nvPr/>
          </p:nvSpPr>
          <p:spPr>
            <a:xfrm>
              <a:off x="848525" y="5526317"/>
              <a:ext cx="2116777" cy="129221"/>
            </a:xfrm>
            <a:custGeom>
              <a:avLst/>
              <a:gdLst>
                <a:gd name="connsiteX0" fmla="*/ 0 w 1698172"/>
                <a:gd name="connsiteY0" fmla="*/ 50566 h 60614"/>
                <a:gd name="connsiteX1" fmla="*/ 311499 w 1698172"/>
                <a:gd name="connsiteY1" fmla="*/ 20421 h 60614"/>
                <a:gd name="connsiteX2" fmla="*/ 663191 w 1698172"/>
                <a:gd name="connsiteY2" fmla="*/ 324 h 60614"/>
                <a:gd name="connsiteX3" fmla="*/ 914400 w 1698172"/>
                <a:gd name="connsiteY3" fmla="*/ 10372 h 60614"/>
                <a:gd name="connsiteX4" fmla="*/ 1286189 w 1698172"/>
                <a:gd name="connsiteY4" fmla="*/ 40517 h 60614"/>
                <a:gd name="connsiteX5" fmla="*/ 1698172 w 1698172"/>
                <a:gd name="connsiteY5" fmla="*/ 60614 h 60614"/>
                <a:gd name="connsiteX0" fmla="*/ 0 w 1698172"/>
                <a:gd name="connsiteY0" fmla="*/ 50530 h 60578"/>
                <a:gd name="connsiteX1" fmla="*/ 311499 w 1698172"/>
                <a:gd name="connsiteY1" fmla="*/ 20385 h 60578"/>
                <a:gd name="connsiteX2" fmla="*/ 663191 w 1698172"/>
                <a:gd name="connsiteY2" fmla="*/ 288 h 60578"/>
                <a:gd name="connsiteX3" fmla="*/ 914400 w 1698172"/>
                <a:gd name="connsiteY3" fmla="*/ 10336 h 60578"/>
                <a:gd name="connsiteX4" fmla="*/ 1376624 w 1698172"/>
                <a:gd name="connsiteY4" fmla="*/ 34929 h 60578"/>
                <a:gd name="connsiteX5" fmla="*/ 1698172 w 1698172"/>
                <a:gd name="connsiteY5" fmla="*/ 60578 h 60578"/>
                <a:gd name="connsiteX0" fmla="*/ 0 w 1698172"/>
                <a:gd name="connsiteY0" fmla="*/ 50500 h 60548"/>
                <a:gd name="connsiteX1" fmla="*/ 311499 w 1698172"/>
                <a:gd name="connsiteY1" fmla="*/ 20355 h 60548"/>
                <a:gd name="connsiteX2" fmla="*/ 663191 w 1698172"/>
                <a:gd name="connsiteY2" fmla="*/ 258 h 60548"/>
                <a:gd name="connsiteX3" fmla="*/ 914400 w 1698172"/>
                <a:gd name="connsiteY3" fmla="*/ 10306 h 60548"/>
                <a:gd name="connsiteX4" fmla="*/ 1436914 w 1698172"/>
                <a:gd name="connsiteY4" fmla="*/ 29346 h 60548"/>
                <a:gd name="connsiteX5" fmla="*/ 1698172 w 1698172"/>
                <a:gd name="connsiteY5" fmla="*/ 60548 h 60548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0360 h 60408"/>
                <a:gd name="connsiteX1" fmla="*/ 311499 w 1698172"/>
                <a:gd name="connsiteY1" fmla="*/ 20215 h 60408"/>
                <a:gd name="connsiteX2" fmla="*/ 663191 w 1698172"/>
                <a:gd name="connsiteY2" fmla="*/ 118 h 60408"/>
                <a:gd name="connsiteX3" fmla="*/ 1436914 w 1698172"/>
                <a:gd name="connsiteY3" fmla="*/ 29206 h 60408"/>
                <a:gd name="connsiteX4" fmla="*/ 1698172 w 1698172"/>
                <a:gd name="connsiteY4" fmla="*/ 60408 h 60408"/>
                <a:gd name="connsiteX0" fmla="*/ 0 w 1698172"/>
                <a:gd name="connsiteY0" fmla="*/ 32033 h 42081"/>
                <a:gd name="connsiteX1" fmla="*/ 311499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2033 h 42081"/>
                <a:gd name="connsiteX1" fmla="*/ 271306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8904 h 48952"/>
                <a:gd name="connsiteX1" fmla="*/ 271306 w 1698172"/>
                <a:gd name="connsiteY1" fmla="*/ 8759 h 48952"/>
                <a:gd name="connsiteX2" fmla="*/ 918168 w 1698172"/>
                <a:gd name="connsiteY2" fmla="*/ 345 h 48952"/>
                <a:gd name="connsiteX3" fmla="*/ 1436914 w 1698172"/>
                <a:gd name="connsiteY3" fmla="*/ 17750 h 48952"/>
                <a:gd name="connsiteX4" fmla="*/ 1698172 w 1698172"/>
                <a:gd name="connsiteY4" fmla="*/ 48952 h 48952"/>
                <a:gd name="connsiteX0" fmla="*/ 0 w 1698172"/>
                <a:gd name="connsiteY0" fmla="*/ 38559 h 48607"/>
                <a:gd name="connsiteX1" fmla="*/ 271306 w 1698172"/>
                <a:gd name="connsiteY1" fmla="*/ 8414 h 48607"/>
                <a:gd name="connsiteX2" fmla="*/ 918168 w 1698172"/>
                <a:gd name="connsiteY2" fmla="*/ 0 h 48607"/>
                <a:gd name="connsiteX3" fmla="*/ 1408339 w 1698172"/>
                <a:gd name="connsiteY3" fmla="*/ 1616 h 48607"/>
                <a:gd name="connsiteX4" fmla="*/ 1698172 w 1698172"/>
                <a:gd name="connsiteY4" fmla="*/ 48607 h 48607"/>
                <a:gd name="connsiteX0" fmla="*/ 0 w 1698172"/>
                <a:gd name="connsiteY0" fmla="*/ 54348 h 64396"/>
                <a:gd name="connsiteX1" fmla="*/ 271306 w 1698172"/>
                <a:gd name="connsiteY1" fmla="*/ 24203 h 64396"/>
                <a:gd name="connsiteX2" fmla="*/ 927693 w 1698172"/>
                <a:gd name="connsiteY2" fmla="*/ 0 h 64396"/>
                <a:gd name="connsiteX3" fmla="*/ 1408339 w 1698172"/>
                <a:gd name="connsiteY3" fmla="*/ 17405 h 64396"/>
                <a:gd name="connsiteX4" fmla="*/ 1698172 w 1698172"/>
                <a:gd name="connsiteY4" fmla="*/ 64396 h 64396"/>
                <a:gd name="connsiteX0" fmla="*/ 0 w 1698172"/>
                <a:gd name="connsiteY0" fmla="*/ 44945 h 54993"/>
                <a:gd name="connsiteX1" fmla="*/ 271306 w 1698172"/>
                <a:gd name="connsiteY1" fmla="*/ 14800 h 54993"/>
                <a:gd name="connsiteX2" fmla="*/ 870543 w 1698172"/>
                <a:gd name="connsiteY2" fmla="*/ 0 h 54993"/>
                <a:gd name="connsiteX3" fmla="*/ 1408339 w 1698172"/>
                <a:gd name="connsiteY3" fmla="*/ 8002 h 54993"/>
                <a:gd name="connsiteX4" fmla="*/ 1698172 w 1698172"/>
                <a:gd name="connsiteY4" fmla="*/ 54993 h 54993"/>
                <a:gd name="connsiteX0" fmla="*/ 0 w 1698172"/>
                <a:gd name="connsiteY0" fmla="*/ 45462 h 55510"/>
                <a:gd name="connsiteX1" fmla="*/ 271306 w 1698172"/>
                <a:gd name="connsiteY1" fmla="*/ 15317 h 55510"/>
                <a:gd name="connsiteX2" fmla="*/ 870543 w 1698172"/>
                <a:gd name="connsiteY2" fmla="*/ 517 h 55510"/>
                <a:gd name="connsiteX3" fmla="*/ 1408339 w 1698172"/>
                <a:gd name="connsiteY3" fmla="*/ 8519 h 55510"/>
                <a:gd name="connsiteX4" fmla="*/ 1698172 w 1698172"/>
                <a:gd name="connsiteY4" fmla="*/ 55510 h 5551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64847"/>
                <a:gd name="connsiteY0" fmla="*/ 35817 h 42434"/>
                <a:gd name="connsiteX1" fmla="*/ 280831 w 1764847"/>
                <a:gd name="connsiteY1" fmla="*/ 15075 h 42434"/>
                <a:gd name="connsiteX2" fmla="*/ 880068 w 1764847"/>
                <a:gd name="connsiteY2" fmla="*/ 275 h 42434"/>
                <a:gd name="connsiteX3" fmla="*/ 1417864 w 1764847"/>
                <a:gd name="connsiteY3" fmla="*/ 8277 h 42434"/>
                <a:gd name="connsiteX4" fmla="*/ 1764847 w 1764847"/>
                <a:gd name="connsiteY4" fmla="*/ 41164 h 42434"/>
                <a:gd name="connsiteX0" fmla="*/ 0 w 1764847"/>
                <a:gd name="connsiteY0" fmla="*/ 63988 h 70011"/>
                <a:gd name="connsiteX1" fmla="*/ 280831 w 1764847"/>
                <a:gd name="connsiteY1" fmla="*/ 43246 h 70011"/>
                <a:gd name="connsiteX2" fmla="*/ 880068 w 1764847"/>
                <a:gd name="connsiteY2" fmla="*/ 28446 h 70011"/>
                <a:gd name="connsiteX3" fmla="*/ 1386099 w 1764847"/>
                <a:gd name="connsiteY3" fmla="*/ 1088 h 70011"/>
                <a:gd name="connsiteX4" fmla="*/ 1764847 w 1764847"/>
                <a:gd name="connsiteY4" fmla="*/ 69335 h 70011"/>
                <a:gd name="connsiteX0" fmla="*/ 0 w 1764847"/>
                <a:gd name="connsiteY0" fmla="*/ 65252 h 71275"/>
                <a:gd name="connsiteX1" fmla="*/ 280831 w 1764847"/>
                <a:gd name="connsiteY1" fmla="*/ 44510 h 71275"/>
                <a:gd name="connsiteX2" fmla="*/ 895951 w 1764847"/>
                <a:gd name="connsiteY2" fmla="*/ 12030 h 71275"/>
                <a:gd name="connsiteX3" fmla="*/ 1386099 w 1764847"/>
                <a:gd name="connsiteY3" fmla="*/ 2352 h 71275"/>
                <a:gd name="connsiteX4" fmla="*/ 1764847 w 1764847"/>
                <a:gd name="connsiteY4" fmla="*/ 70599 h 71275"/>
                <a:gd name="connsiteX0" fmla="*/ 0 w 1764847"/>
                <a:gd name="connsiteY0" fmla="*/ 53222 h 59509"/>
                <a:gd name="connsiteX1" fmla="*/ 280831 w 1764847"/>
                <a:gd name="connsiteY1" fmla="*/ 32480 h 59509"/>
                <a:gd name="connsiteX2" fmla="*/ 895951 w 1764847"/>
                <a:gd name="connsiteY2" fmla="*/ 0 h 59509"/>
                <a:gd name="connsiteX3" fmla="*/ 1394041 w 1764847"/>
                <a:gd name="connsiteY3" fmla="*/ 11538 h 59509"/>
                <a:gd name="connsiteX4" fmla="*/ 1764847 w 1764847"/>
                <a:gd name="connsiteY4" fmla="*/ 58569 h 59509"/>
                <a:gd name="connsiteX0" fmla="*/ 0 w 1764847"/>
                <a:gd name="connsiteY0" fmla="*/ 41684 h 47971"/>
                <a:gd name="connsiteX1" fmla="*/ 280831 w 1764847"/>
                <a:gd name="connsiteY1" fmla="*/ 20942 h 47971"/>
                <a:gd name="connsiteX2" fmla="*/ 895951 w 1764847"/>
                <a:gd name="connsiteY2" fmla="*/ 13214 h 47971"/>
                <a:gd name="connsiteX3" fmla="*/ 1394041 w 1764847"/>
                <a:gd name="connsiteY3" fmla="*/ 0 h 47971"/>
                <a:gd name="connsiteX4" fmla="*/ 1764847 w 1764847"/>
                <a:gd name="connsiteY4" fmla="*/ 47031 h 4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847" h="47971">
                  <a:moveTo>
                    <a:pt x="0" y="41684"/>
                  </a:moveTo>
                  <a:cubicBezTo>
                    <a:pt x="100483" y="30798"/>
                    <a:pt x="131506" y="25687"/>
                    <a:pt x="280831" y="20942"/>
                  </a:cubicBezTo>
                  <a:cubicBezTo>
                    <a:pt x="430156" y="16197"/>
                    <a:pt x="710416" y="16704"/>
                    <a:pt x="895951" y="13214"/>
                  </a:cubicBezTo>
                  <a:lnTo>
                    <a:pt x="1394041" y="0"/>
                  </a:lnTo>
                  <a:cubicBezTo>
                    <a:pt x="1541504" y="6815"/>
                    <a:pt x="1624170" y="55274"/>
                    <a:pt x="1764847" y="47031"/>
                  </a:cubicBezTo>
                </a:path>
              </a:pathLst>
            </a:custGeom>
            <a:solidFill>
              <a:schemeClr val="bg1">
                <a:lumMod val="65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799690" y="4530784"/>
              <a:ext cx="2229640" cy="243726"/>
            </a:xfrm>
            <a:custGeom>
              <a:avLst/>
              <a:gdLst>
                <a:gd name="connsiteX0" fmla="*/ 0 w 1858946"/>
                <a:gd name="connsiteY0" fmla="*/ 120580 h 141257"/>
                <a:gd name="connsiteX1" fmla="*/ 522515 w 1858946"/>
                <a:gd name="connsiteY1" fmla="*/ 140677 h 141257"/>
                <a:gd name="connsiteX2" fmla="*/ 1034981 w 1858946"/>
                <a:gd name="connsiteY2" fmla="*/ 100483 h 141257"/>
                <a:gd name="connsiteX3" fmla="*/ 1597688 w 1858946"/>
                <a:gd name="connsiteY3" fmla="*/ 60290 h 141257"/>
                <a:gd name="connsiteX4" fmla="*/ 1858946 w 1858946"/>
                <a:gd name="connsiteY4" fmla="*/ 0 h 141257"/>
                <a:gd name="connsiteX0" fmla="*/ 0 w 1858946"/>
                <a:gd name="connsiteY0" fmla="*/ 120580 h 140953"/>
                <a:gd name="connsiteX1" fmla="*/ 522515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0953"/>
                <a:gd name="connsiteX1" fmla="*/ 474890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8946" h="140953">
                  <a:moveTo>
                    <a:pt x="0" y="120580"/>
                  </a:moveTo>
                  <a:cubicBezTo>
                    <a:pt x="175009" y="132303"/>
                    <a:pt x="303981" y="142806"/>
                    <a:pt x="474890" y="140677"/>
                  </a:cubicBezTo>
                  <a:cubicBezTo>
                    <a:pt x="645799" y="138548"/>
                    <a:pt x="838323" y="121205"/>
                    <a:pt x="1025456" y="107807"/>
                  </a:cubicBezTo>
                  <a:cubicBezTo>
                    <a:pt x="1212589" y="94409"/>
                    <a:pt x="1458773" y="78258"/>
                    <a:pt x="1597688" y="60290"/>
                  </a:cubicBezTo>
                  <a:cubicBezTo>
                    <a:pt x="1736603" y="42322"/>
                    <a:pt x="1796981" y="21771"/>
                    <a:pt x="1858946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5584375" y="5400995"/>
              <a:ext cx="2916609" cy="215444"/>
            </a:xfrm>
            <a:custGeom>
              <a:avLst/>
              <a:gdLst>
                <a:gd name="connsiteX0" fmla="*/ 0 w 1999622"/>
                <a:gd name="connsiteY0" fmla="*/ 222955 h 222955"/>
                <a:gd name="connsiteX1" fmla="*/ 261257 w 1999622"/>
                <a:gd name="connsiteY1" fmla="*/ 202858 h 222955"/>
                <a:gd name="connsiteX2" fmla="*/ 562708 w 1999622"/>
                <a:gd name="connsiteY2" fmla="*/ 152617 h 222955"/>
                <a:gd name="connsiteX3" fmla="*/ 924448 w 1999622"/>
                <a:gd name="connsiteY3" fmla="*/ 102375 h 222955"/>
                <a:gd name="connsiteX4" fmla="*/ 1205802 w 1999622"/>
                <a:gd name="connsiteY4" fmla="*/ 11940 h 222955"/>
                <a:gd name="connsiteX5" fmla="*/ 1557495 w 1999622"/>
                <a:gd name="connsiteY5" fmla="*/ 11940 h 222955"/>
                <a:gd name="connsiteX6" fmla="*/ 1899139 w 1999622"/>
                <a:gd name="connsiteY6" fmla="*/ 112423 h 222955"/>
                <a:gd name="connsiteX7" fmla="*/ 1999622 w 1999622"/>
                <a:gd name="connsiteY7" fmla="*/ 142568 h 222955"/>
                <a:gd name="connsiteX0" fmla="*/ 0 w 2431701"/>
                <a:gd name="connsiteY0" fmla="*/ 222955 h 222955"/>
                <a:gd name="connsiteX1" fmla="*/ 261257 w 2431701"/>
                <a:gd name="connsiteY1" fmla="*/ 202858 h 222955"/>
                <a:gd name="connsiteX2" fmla="*/ 562708 w 2431701"/>
                <a:gd name="connsiteY2" fmla="*/ 152617 h 222955"/>
                <a:gd name="connsiteX3" fmla="*/ 924448 w 2431701"/>
                <a:gd name="connsiteY3" fmla="*/ 102375 h 222955"/>
                <a:gd name="connsiteX4" fmla="*/ 1205802 w 2431701"/>
                <a:gd name="connsiteY4" fmla="*/ 11940 h 222955"/>
                <a:gd name="connsiteX5" fmla="*/ 1557495 w 2431701"/>
                <a:gd name="connsiteY5" fmla="*/ 11940 h 222955"/>
                <a:gd name="connsiteX6" fmla="*/ 1899139 w 2431701"/>
                <a:gd name="connsiteY6" fmla="*/ 112423 h 222955"/>
                <a:gd name="connsiteX7" fmla="*/ 2431701 w 2431701"/>
                <a:gd name="connsiteY7" fmla="*/ 142568 h 222955"/>
                <a:gd name="connsiteX0" fmla="*/ 0 w 2431701"/>
                <a:gd name="connsiteY0" fmla="*/ 220976 h 220976"/>
                <a:gd name="connsiteX1" fmla="*/ 261257 w 2431701"/>
                <a:gd name="connsiteY1" fmla="*/ 200879 h 220976"/>
                <a:gd name="connsiteX2" fmla="*/ 562708 w 2431701"/>
                <a:gd name="connsiteY2" fmla="*/ 150638 h 220976"/>
                <a:gd name="connsiteX3" fmla="*/ 924448 w 2431701"/>
                <a:gd name="connsiteY3" fmla="*/ 100396 h 220976"/>
                <a:gd name="connsiteX4" fmla="*/ 1205802 w 2431701"/>
                <a:gd name="connsiteY4" fmla="*/ 9961 h 220976"/>
                <a:gd name="connsiteX5" fmla="*/ 1557495 w 2431701"/>
                <a:gd name="connsiteY5" fmla="*/ 9961 h 220976"/>
                <a:gd name="connsiteX6" fmla="*/ 1949381 w 2431701"/>
                <a:gd name="connsiteY6" fmla="*/ 78120 h 220976"/>
                <a:gd name="connsiteX7" fmla="*/ 2431701 w 2431701"/>
                <a:gd name="connsiteY7" fmla="*/ 140589 h 220976"/>
                <a:gd name="connsiteX0" fmla="*/ 0 w 2431701"/>
                <a:gd name="connsiteY0" fmla="*/ 223477 h 223477"/>
                <a:gd name="connsiteX1" fmla="*/ 261257 w 2431701"/>
                <a:gd name="connsiteY1" fmla="*/ 20338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  <a:gd name="connsiteX0" fmla="*/ 0 w 2431701"/>
                <a:gd name="connsiteY0" fmla="*/ 211110 h 211110"/>
                <a:gd name="connsiteX1" fmla="*/ 261257 w 2431701"/>
                <a:gd name="connsiteY1" fmla="*/ 191013 h 211110"/>
                <a:gd name="connsiteX2" fmla="*/ 562708 w 2431701"/>
                <a:gd name="connsiteY2" fmla="*/ 140772 h 211110"/>
                <a:gd name="connsiteX3" fmla="*/ 924448 w 2431701"/>
                <a:gd name="connsiteY3" fmla="*/ 90530 h 211110"/>
                <a:gd name="connsiteX4" fmla="*/ 1557495 w 2431701"/>
                <a:gd name="connsiteY4" fmla="*/ 95 h 211110"/>
                <a:gd name="connsiteX5" fmla="*/ 1949381 w 2431701"/>
                <a:gd name="connsiteY5" fmla="*/ 108658 h 211110"/>
                <a:gd name="connsiteX6" fmla="*/ 2431701 w 2431701"/>
                <a:gd name="connsiteY6" fmla="*/ 130723 h 211110"/>
                <a:gd name="connsiteX0" fmla="*/ 0 w 2431701"/>
                <a:gd name="connsiteY0" fmla="*/ 120580 h 120580"/>
                <a:gd name="connsiteX1" fmla="*/ 261257 w 2431701"/>
                <a:gd name="connsiteY1" fmla="*/ 100483 h 120580"/>
                <a:gd name="connsiteX2" fmla="*/ 562708 w 2431701"/>
                <a:gd name="connsiteY2" fmla="*/ 50242 h 120580"/>
                <a:gd name="connsiteX3" fmla="*/ 924448 w 2431701"/>
                <a:gd name="connsiteY3" fmla="*/ 0 h 120580"/>
                <a:gd name="connsiteX4" fmla="*/ 1949381 w 2431701"/>
                <a:gd name="connsiteY4" fmla="*/ 18128 h 120580"/>
                <a:gd name="connsiteX5" fmla="*/ 2431701 w 2431701"/>
                <a:gd name="connsiteY5" fmla="*/ 40193 h 120580"/>
                <a:gd name="connsiteX0" fmla="*/ 0 w 2431701"/>
                <a:gd name="connsiteY0" fmla="*/ 126341 h 126341"/>
                <a:gd name="connsiteX1" fmla="*/ 261257 w 2431701"/>
                <a:gd name="connsiteY1" fmla="*/ 106244 h 126341"/>
                <a:gd name="connsiteX2" fmla="*/ 562708 w 2431701"/>
                <a:gd name="connsiteY2" fmla="*/ 56003 h 126341"/>
                <a:gd name="connsiteX3" fmla="*/ 1488287 w 2431701"/>
                <a:gd name="connsiteY3" fmla="*/ 0 h 126341"/>
                <a:gd name="connsiteX4" fmla="*/ 1949381 w 2431701"/>
                <a:gd name="connsiteY4" fmla="*/ 23889 h 126341"/>
                <a:gd name="connsiteX5" fmla="*/ 2431701 w 2431701"/>
                <a:gd name="connsiteY5" fmla="*/ 45954 h 126341"/>
                <a:gd name="connsiteX0" fmla="*/ 0 w 2431701"/>
                <a:gd name="connsiteY0" fmla="*/ 129095 h 129095"/>
                <a:gd name="connsiteX1" fmla="*/ 261257 w 2431701"/>
                <a:gd name="connsiteY1" fmla="*/ 108998 h 129095"/>
                <a:gd name="connsiteX2" fmla="*/ 562708 w 2431701"/>
                <a:gd name="connsiteY2" fmla="*/ 58757 h 129095"/>
                <a:gd name="connsiteX3" fmla="*/ 1488287 w 2431701"/>
                <a:gd name="connsiteY3" fmla="*/ 2754 h 129095"/>
                <a:gd name="connsiteX4" fmla="*/ 2100267 w 2431701"/>
                <a:gd name="connsiteY4" fmla="*/ 9360 h 129095"/>
                <a:gd name="connsiteX5" fmla="*/ 2431701 w 2431701"/>
                <a:gd name="connsiteY5" fmla="*/ 48708 h 129095"/>
                <a:gd name="connsiteX0" fmla="*/ 0 w 2431701"/>
                <a:gd name="connsiteY0" fmla="*/ 130310 h 130310"/>
                <a:gd name="connsiteX1" fmla="*/ 261257 w 2431701"/>
                <a:gd name="connsiteY1" fmla="*/ 110213 h 130310"/>
                <a:gd name="connsiteX2" fmla="*/ 570649 w 2431701"/>
                <a:gd name="connsiteY2" fmla="*/ 77255 h 130310"/>
                <a:gd name="connsiteX3" fmla="*/ 1488287 w 2431701"/>
                <a:gd name="connsiteY3" fmla="*/ 3969 h 130310"/>
                <a:gd name="connsiteX4" fmla="*/ 2100267 w 2431701"/>
                <a:gd name="connsiteY4" fmla="*/ 10575 h 130310"/>
                <a:gd name="connsiteX5" fmla="*/ 2431701 w 2431701"/>
                <a:gd name="connsiteY5" fmla="*/ 49923 h 13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1701" h="130310">
                  <a:moveTo>
                    <a:pt x="0" y="130310"/>
                  </a:moveTo>
                  <a:cubicBezTo>
                    <a:pt x="83736" y="126123"/>
                    <a:pt x="166149" y="119055"/>
                    <a:pt x="261257" y="110213"/>
                  </a:cubicBezTo>
                  <a:cubicBezTo>
                    <a:pt x="356365" y="101371"/>
                    <a:pt x="366144" y="94962"/>
                    <a:pt x="570649" y="77255"/>
                  </a:cubicBezTo>
                  <a:cubicBezTo>
                    <a:pt x="775154" y="59548"/>
                    <a:pt x="1233351" y="15082"/>
                    <a:pt x="1488287" y="3969"/>
                  </a:cubicBezTo>
                  <a:cubicBezTo>
                    <a:pt x="1743223" y="-7144"/>
                    <a:pt x="1896274" y="8373"/>
                    <a:pt x="2100267" y="10575"/>
                  </a:cubicBezTo>
                  <a:cubicBezTo>
                    <a:pt x="2245968" y="32346"/>
                    <a:pt x="2254180" y="39875"/>
                    <a:pt x="2431701" y="49923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5596429" y="4257566"/>
              <a:ext cx="2808140" cy="130192"/>
            </a:xfrm>
            <a:custGeom>
              <a:avLst/>
              <a:gdLst>
                <a:gd name="connsiteX0" fmla="*/ 0 w 1979525"/>
                <a:gd name="connsiteY0" fmla="*/ 80387 h 161890"/>
                <a:gd name="connsiteX1" fmla="*/ 291402 w 1979525"/>
                <a:gd name="connsiteY1" fmla="*/ 100484 h 161890"/>
                <a:gd name="connsiteX2" fmla="*/ 572756 w 1979525"/>
                <a:gd name="connsiteY2" fmla="*/ 100484 h 161890"/>
                <a:gd name="connsiteX3" fmla="*/ 854110 w 1979525"/>
                <a:gd name="connsiteY3" fmla="*/ 100484 h 161890"/>
                <a:gd name="connsiteX4" fmla="*/ 1135464 w 1979525"/>
                <a:gd name="connsiteY4" fmla="*/ 150726 h 161890"/>
                <a:gd name="connsiteX5" fmla="*/ 1436914 w 1979525"/>
                <a:gd name="connsiteY5" fmla="*/ 150726 h 161890"/>
                <a:gd name="connsiteX6" fmla="*/ 1688123 w 1979525"/>
                <a:gd name="connsiteY6" fmla="*/ 150726 h 161890"/>
                <a:gd name="connsiteX7" fmla="*/ 1979525 w 1979525"/>
                <a:gd name="connsiteY7" fmla="*/ 0 h 161890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54110 w 1979525"/>
                <a:gd name="connsiteY3" fmla="*/ 100484 h 221064"/>
                <a:gd name="connsiteX4" fmla="*/ 1135464 w 1979525"/>
                <a:gd name="connsiteY4" fmla="*/ 150726 h 221064"/>
                <a:gd name="connsiteX5" fmla="*/ 1436914 w 1979525"/>
                <a:gd name="connsiteY5" fmla="*/ 221064 h 221064"/>
                <a:gd name="connsiteX6" fmla="*/ 1688123 w 1979525"/>
                <a:gd name="connsiteY6" fmla="*/ 150726 h 221064"/>
                <a:gd name="connsiteX7" fmla="*/ 1979525 w 1979525"/>
                <a:gd name="connsiteY7" fmla="*/ 0 h 221064"/>
                <a:gd name="connsiteX0" fmla="*/ 0 w 1979525"/>
                <a:gd name="connsiteY0" fmla="*/ 80387 h 221297"/>
                <a:gd name="connsiteX1" fmla="*/ 291402 w 1979525"/>
                <a:gd name="connsiteY1" fmla="*/ 100484 h 221297"/>
                <a:gd name="connsiteX2" fmla="*/ 572756 w 1979525"/>
                <a:gd name="connsiteY2" fmla="*/ 100484 h 221297"/>
                <a:gd name="connsiteX3" fmla="*/ 854110 w 1979525"/>
                <a:gd name="connsiteY3" fmla="*/ 100484 h 221297"/>
                <a:gd name="connsiteX4" fmla="*/ 1095271 w 1979525"/>
                <a:gd name="connsiteY4" fmla="*/ 170823 h 221297"/>
                <a:gd name="connsiteX5" fmla="*/ 1436914 w 1979525"/>
                <a:gd name="connsiteY5" fmla="*/ 221064 h 221297"/>
                <a:gd name="connsiteX6" fmla="*/ 1688123 w 1979525"/>
                <a:gd name="connsiteY6" fmla="*/ 150726 h 221297"/>
                <a:gd name="connsiteX7" fmla="*/ 1979525 w 1979525"/>
                <a:gd name="connsiteY7" fmla="*/ 0 h 221297"/>
                <a:gd name="connsiteX0" fmla="*/ 0 w 1979525"/>
                <a:gd name="connsiteY0" fmla="*/ 80387 h 221261"/>
                <a:gd name="connsiteX1" fmla="*/ 291402 w 1979525"/>
                <a:gd name="connsiteY1" fmla="*/ 100484 h 221261"/>
                <a:gd name="connsiteX2" fmla="*/ 572756 w 1979525"/>
                <a:gd name="connsiteY2" fmla="*/ 100484 h 221261"/>
                <a:gd name="connsiteX3" fmla="*/ 813916 w 1979525"/>
                <a:gd name="connsiteY3" fmla="*/ 140678 h 221261"/>
                <a:gd name="connsiteX4" fmla="*/ 1095271 w 1979525"/>
                <a:gd name="connsiteY4" fmla="*/ 170823 h 221261"/>
                <a:gd name="connsiteX5" fmla="*/ 1436914 w 1979525"/>
                <a:gd name="connsiteY5" fmla="*/ 221064 h 221261"/>
                <a:gd name="connsiteX6" fmla="*/ 1688123 w 1979525"/>
                <a:gd name="connsiteY6" fmla="*/ 150726 h 221261"/>
                <a:gd name="connsiteX7" fmla="*/ 1979525 w 1979525"/>
                <a:gd name="connsiteY7" fmla="*/ 0 h 221261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13916 w 1979525"/>
                <a:gd name="connsiteY3" fmla="*/ 140678 h 221064"/>
                <a:gd name="connsiteX4" fmla="*/ 1095271 w 1979525"/>
                <a:gd name="connsiteY4" fmla="*/ 170823 h 221064"/>
                <a:gd name="connsiteX5" fmla="*/ 1436914 w 1979525"/>
                <a:gd name="connsiteY5" fmla="*/ 221064 h 221064"/>
                <a:gd name="connsiteX6" fmla="*/ 1748414 w 1979525"/>
                <a:gd name="connsiteY6" fmla="*/ 170823 h 221064"/>
                <a:gd name="connsiteX7" fmla="*/ 1979525 w 1979525"/>
                <a:gd name="connsiteY7" fmla="*/ 0 h 221064"/>
                <a:gd name="connsiteX0" fmla="*/ 0 w 1979525"/>
                <a:gd name="connsiteY0" fmla="*/ 80387 h 221480"/>
                <a:gd name="connsiteX1" fmla="*/ 291402 w 1979525"/>
                <a:gd name="connsiteY1" fmla="*/ 100484 h 221480"/>
                <a:gd name="connsiteX2" fmla="*/ 572756 w 1979525"/>
                <a:gd name="connsiteY2" fmla="*/ 100484 h 221480"/>
                <a:gd name="connsiteX3" fmla="*/ 813916 w 1979525"/>
                <a:gd name="connsiteY3" fmla="*/ 140678 h 221480"/>
                <a:gd name="connsiteX4" fmla="*/ 1095271 w 1979525"/>
                <a:gd name="connsiteY4" fmla="*/ 170823 h 221480"/>
                <a:gd name="connsiteX5" fmla="*/ 1436914 w 1979525"/>
                <a:gd name="connsiteY5" fmla="*/ 221064 h 221480"/>
                <a:gd name="connsiteX6" fmla="*/ 1738366 w 1979525"/>
                <a:gd name="connsiteY6" fmla="*/ 140678 h 221480"/>
                <a:gd name="connsiteX7" fmla="*/ 1979525 w 1979525"/>
                <a:gd name="connsiteY7" fmla="*/ 0 h 221480"/>
                <a:gd name="connsiteX0" fmla="*/ 0 w 2351314"/>
                <a:gd name="connsiteY0" fmla="*/ 62471 h 203564"/>
                <a:gd name="connsiteX1" fmla="*/ 291402 w 2351314"/>
                <a:gd name="connsiteY1" fmla="*/ 82568 h 203564"/>
                <a:gd name="connsiteX2" fmla="*/ 572756 w 2351314"/>
                <a:gd name="connsiteY2" fmla="*/ 82568 h 203564"/>
                <a:gd name="connsiteX3" fmla="*/ 813916 w 2351314"/>
                <a:gd name="connsiteY3" fmla="*/ 122762 h 203564"/>
                <a:gd name="connsiteX4" fmla="*/ 1095271 w 2351314"/>
                <a:gd name="connsiteY4" fmla="*/ 152907 h 203564"/>
                <a:gd name="connsiteX5" fmla="*/ 1436914 w 2351314"/>
                <a:gd name="connsiteY5" fmla="*/ 203148 h 203564"/>
                <a:gd name="connsiteX6" fmla="*/ 1738366 w 2351314"/>
                <a:gd name="connsiteY6" fmla="*/ 122762 h 203564"/>
                <a:gd name="connsiteX7" fmla="*/ 2351314 w 2351314"/>
                <a:gd name="connsiteY7" fmla="*/ 0 h 203564"/>
                <a:gd name="connsiteX0" fmla="*/ 0 w 2351314"/>
                <a:gd name="connsiteY0" fmla="*/ 62471 h 205155"/>
                <a:gd name="connsiteX1" fmla="*/ 291402 w 2351314"/>
                <a:gd name="connsiteY1" fmla="*/ 82568 h 205155"/>
                <a:gd name="connsiteX2" fmla="*/ 572756 w 2351314"/>
                <a:gd name="connsiteY2" fmla="*/ 82568 h 205155"/>
                <a:gd name="connsiteX3" fmla="*/ 813916 w 2351314"/>
                <a:gd name="connsiteY3" fmla="*/ 122762 h 205155"/>
                <a:gd name="connsiteX4" fmla="*/ 1095271 w 2351314"/>
                <a:gd name="connsiteY4" fmla="*/ 152907 h 205155"/>
                <a:gd name="connsiteX5" fmla="*/ 1436914 w 2351314"/>
                <a:gd name="connsiteY5" fmla="*/ 203148 h 205155"/>
                <a:gd name="connsiteX6" fmla="*/ 1818752 w 2351314"/>
                <a:gd name="connsiteY6" fmla="*/ 77974 h 205155"/>
                <a:gd name="connsiteX7" fmla="*/ 2351314 w 2351314"/>
                <a:gd name="connsiteY7" fmla="*/ 0 h 205155"/>
                <a:gd name="connsiteX0" fmla="*/ 0 w 2381459"/>
                <a:gd name="connsiteY0" fmla="*/ 24785 h 167469"/>
                <a:gd name="connsiteX1" fmla="*/ 291402 w 2381459"/>
                <a:gd name="connsiteY1" fmla="*/ 44882 h 167469"/>
                <a:gd name="connsiteX2" fmla="*/ 572756 w 2381459"/>
                <a:gd name="connsiteY2" fmla="*/ 44882 h 167469"/>
                <a:gd name="connsiteX3" fmla="*/ 813916 w 2381459"/>
                <a:gd name="connsiteY3" fmla="*/ 85076 h 167469"/>
                <a:gd name="connsiteX4" fmla="*/ 1095271 w 2381459"/>
                <a:gd name="connsiteY4" fmla="*/ 115221 h 167469"/>
                <a:gd name="connsiteX5" fmla="*/ 1436914 w 2381459"/>
                <a:gd name="connsiteY5" fmla="*/ 165462 h 167469"/>
                <a:gd name="connsiteX6" fmla="*/ 1818752 w 2381459"/>
                <a:gd name="connsiteY6" fmla="*/ 40288 h 167469"/>
                <a:gd name="connsiteX7" fmla="*/ 2381459 w 2381459"/>
                <a:gd name="connsiteY7" fmla="*/ 0 h 167469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41266"/>
                <a:gd name="connsiteY0" fmla="*/ 45261 h 166844"/>
                <a:gd name="connsiteX1" fmla="*/ 251209 w 2341266"/>
                <a:gd name="connsiteY1" fmla="*/ 44882 h 166844"/>
                <a:gd name="connsiteX2" fmla="*/ 532563 w 2341266"/>
                <a:gd name="connsiteY2" fmla="*/ 44882 h 166844"/>
                <a:gd name="connsiteX3" fmla="*/ 773723 w 2341266"/>
                <a:gd name="connsiteY3" fmla="*/ 85076 h 166844"/>
                <a:gd name="connsiteX4" fmla="*/ 1055078 w 2341266"/>
                <a:gd name="connsiteY4" fmla="*/ 115221 h 166844"/>
                <a:gd name="connsiteX5" fmla="*/ 1396721 w 2341266"/>
                <a:gd name="connsiteY5" fmla="*/ 165462 h 166844"/>
                <a:gd name="connsiteX6" fmla="*/ 1778559 w 2341266"/>
                <a:gd name="connsiteY6" fmla="*/ 55363 h 166844"/>
                <a:gd name="connsiteX7" fmla="*/ 2341266 w 2341266"/>
                <a:gd name="connsiteY7" fmla="*/ 0 h 166844"/>
                <a:gd name="connsiteX0" fmla="*/ 0 w 2341266"/>
                <a:gd name="connsiteY0" fmla="*/ 45261 h 115899"/>
                <a:gd name="connsiteX1" fmla="*/ 251209 w 2341266"/>
                <a:gd name="connsiteY1" fmla="*/ 44882 h 115899"/>
                <a:gd name="connsiteX2" fmla="*/ 532563 w 2341266"/>
                <a:gd name="connsiteY2" fmla="*/ 44882 h 115899"/>
                <a:gd name="connsiteX3" fmla="*/ 773723 w 2341266"/>
                <a:gd name="connsiteY3" fmla="*/ 85076 h 115899"/>
                <a:gd name="connsiteX4" fmla="*/ 1055078 w 2341266"/>
                <a:gd name="connsiteY4" fmla="*/ 115221 h 115899"/>
                <a:gd name="connsiteX5" fmla="*/ 1778559 w 2341266"/>
                <a:gd name="connsiteY5" fmla="*/ 55363 h 115899"/>
                <a:gd name="connsiteX6" fmla="*/ 2341266 w 2341266"/>
                <a:gd name="connsiteY6" fmla="*/ 0 h 115899"/>
                <a:gd name="connsiteX0" fmla="*/ 0 w 2341266"/>
                <a:gd name="connsiteY0" fmla="*/ 45261 h 85198"/>
                <a:gd name="connsiteX1" fmla="*/ 251209 w 2341266"/>
                <a:gd name="connsiteY1" fmla="*/ 44882 h 85198"/>
                <a:gd name="connsiteX2" fmla="*/ 532563 w 2341266"/>
                <a:gd name="connsiteY2" fmla="*/ 44882 h 85198"/>
                <a:gd name="connsiteX3" fmla="*/ 773723 w 2341266"/>
                <a:gd name="connsiteY3" fmla="*/ 85076 h 85198"/>
                <a:gd name="connsiteX4" fmla="*/ 1778559 w 2341266"/>
                <a:gd name="connsiteY4" fmla="*/ 55363 h 85198"/>
                <a:gd name="connsiteX5" fmla="*/ 2341266 w 2341266"/>
                <a:gd name="connsiteY5" fmla="*/ 0 h 85198"/>
                <a:gd name="connsiteX0" fmla="*/ 0 w 2341266"/>
                <a:gd name="connsiteY0" fmla="*/ 45261 h 61009"/>
                <a:gd name="connsiteX1" fmla="*/ 251209 w 2341266"/>
                <a:gd name="connsiteY1" fmla="*/ 44882 h 61009"/>
                <a:gd name="connsiteX2" fmla="*/ 532563 w 2341266"/>
                <a:gd name="connsiteY2" fmla="*/ 44882 h 61009"/>
                <a:gd name="connsiteX3" fmla="*/ 1139027 w 2341266"/>
                <a:gd name="connsiteY3" fmla="*/ 51013 h 61009"/>
                <a:gd name="connsiteX4" fmla="*/ 1778559 w 2341266"/>
                <a:gd name="connsiteY4" fmla="*/ 55363 h 61009"/>
                <a:gd name="connsiteX5" fmla="*/ 2341266 w 2341266"/>
                <a:gd name="connsiteY5" fmla="*/ 0 h 61009"/>
                <a:gd name="connsiteX0" fmla="*/ 0 w 2341266"/>
                <a:gd name="connsiteY0" fmla="*/ 45261 h 64042"/>
                <a:gd name="connsiteX1" fmla="*/ 251209 w 2341266"/>
                <a:gd name="connsiteY1" fmla="*/ 44882 h 64042"/>
                <a:gd name="connsiteX2" fmla="*/ 532563 w 2341266"/>
                <a:gd name="connsiteY2" fmla="*/ 44882 h 64042"/>
                <a:gd name="connsiteX3" fmla="*/ 1075495 w 2341266"/>
                <a:gd name="connsiteY3" fmla="*/ 60745 h 64042"/>
                <a:gd name="connsiteX4" fmla="*/ 1778559 w 2341266"/>
                <a:gd name="connsiteY4" fmla="*/ 55363 h 64042"/>
                <a:gd name="connsiteX5" fmla="*/ 2341266 w 2341266"/>
                <a:gd name="connsiteY5" fmla="*/ 0 h 64042"/>
                <a:gd name="connsiteX0" fmla="*/ 0 w 2341266"/>
                <a:gd name="connsiteY0" fmla="*/ 45261 h 60753"/>
                <a:gd name="connsiteX1" fmla="*/ 251209 w 2341266"/>
                <a:gd name="connsiteY1" fmla="*/ 44882 h 60753"/>
                <a:gd name="connsiteX2" fmla="*/ 532563 w 2341266"/>
                <a:gd name="connsiteY2" fmla="*/ 44882 h 60753"/>
                <a:gd name="connsiteX3" fmla="*/ 1075495 w 2341266"/>
                <a:gd name="connsiteY3" fmla="*/ 60745 h 60753"/>
                <a:gd name="connsiteX4" fmla="*/ 1778559 w 2341266"/>
                <a:gd name="connsiteY4" fmla="*/ 45631 h 60753"/>
                <a:gd name="connsiteX5" fmla="*/ 2341266 w 2341266"/>
                <a:gd name="connsiteY5" fmla="*/ 0 h 60753"/>
                <a:gd name="connsiteX0" fmla="*/ 0 w 2341266"/>
                <a:gd name="connsiteY0" fmla="*/ 45261 h 66491"/>
                <a:gd name="connsiteX1" fmla="*/ 251209 w 2341266"/>
                <a:gd name="connsiteY1" fmla="*/ 44882 h 66491"/>
                <a:gd name="connsiteX2" fmla="*/ 516680 w 2341266"/>
                <a:gd name="connsiteY2" fmla="*/ 64347 h 66491"/>
                <a:gd name="connsiteX3" fmla="*/ 1075495 w 2341266"/>
                <a:gd name="connsiteY3" fmla="*/ 60745 h 66491"/>
                <a:gd name="connsiteX4" fmla="*/ 1778559 w 2341266"/>
                <a:gd name="connsiteY4" fmla="*/ 45631 h 66491"/>
                <a:gd name="connsiteX5" fmla="*/ 2341266 w 2341266"/>
                <a:gd name="connsiteY5" fmla="*/ 0 h 66491"/>
                <a:gd name="connsiteX0" fmla="*/ 0 w 2341266"/>
                <a:gd name="connsiteY0" fmla="*/ 45261 h 65340"/>
                <a:gd name="connsiteX1" fmla="*/ 251209 w 2341266"/>
                <a:gd name="connsiteY1" fmla="*/ 44882 h 65340"/>
                <a:gd name="connsiteX2" fmla="*/ 516680 w 2341266"/>
                <a:gd name="connsiteY2" fmla="*/ 64347 h 65340"/>
                <a:gd name="connsiteX3" fmla="*/ 1131085 w 2341266"/>
                <a:gd name="connsiteY3" fmla="*/ 60745 h 65340"/>
                <a:gd name="connsiteX4" fmla="*/ 1778559 w 2341266"/>
                <a:gd name="connsiteY4" fmla="*/ 45631 h 65340"/>
                <a:gd name="connsiteX5" fmla="*/ 2341266 w 2341266"/>
                <a:gd name="connsiteY5" fmla="*/ 0 h 65340"/>
                <a:gd name="connsiteX0" fmla="*/ 0 w 2341266"/>
                <a:gd name="connsiteY0" fmla="*/ 45261 h 66512"/>
                <a:gd name="connsiteX1" fmla="*/ 251209 w 2341266"/>
                <a:gd name="connsiteY1" fmla="*/ 44882 h 66512"/>
                <a:gd name="connsiteX2" fmla="*/ 516680 w 2341266"/>
                <a:gd name="connsiteY2" fmla="*/ 64347 h 66512"/>
                <a:gd name="connsiteX3" fmla="*/ 1131085 w 2341266"/>
                <a:gd name="connsiteY3" fmla="*/ 60745 h 66512"/>
                <a:gd name="connsiteX4" fmla="*/ 1786500 w 2341266"/>
                <a:gd name="connsiteY4" fmla="*/ 60229 h 66512"/>
                <a:gd name="connsiteX5" fmla="*/ 2341266 w 2341266"/>
                <a:gd name="connsiteY5" fmla="*/ 0 h 6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1266" h="66512">
                  <a:moveTo>
                    <a:pt x="0" y="45261"/>
                  </a:moveTo>
                  <a:cubicBezTo>
                    <a:pt x="97971" y="53634"/>
                    <a:pt x="165096" y="41701"/>
                    <a:pt x="251209" y="44882"/>
                  </a:cubicBezTo>
                  <a:cubicBezTo>
                    <a:pt x="337322" y="48063"/>
                    <a:pt x="370034" y="61703"/>
                    <a:pt x="516680" y="64347"/>
                  </a:cubicBezTo>
                  <a:cubicBezTo>
                    <a:pt x="663326" y="66991"/>
                    <a:pt x="919448" y="61431"/>
                    <a:pt x="1131085" y="60745"/>
                  </a:cubicBezTo>
                  <a:cubicBezTo>
                    <a:pt x="1342722" y="60059"/>
                    <a:pt x="1525243" y="74408"/>
                    <a:pt x="1786500" y="60229"/>
                  </a:cubicBezTo>
                  <a:cubicBezTo>
                    <a:pt x="1943924" y="32652"/>
                    <a:pt x="2240782" y="62802"/>
                    <a:pt x="2341266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 flipV="1">
              <a:off x="2702090" y="5707137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>
            <a:xfrm flipV="1">
              <a:off x="5838632" y="5707137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2687726" y="6154072"/>
              <a:ext cx="3153108" cy="5925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</a:t>
              </a:r>
            </a:p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 Segment</a:t>
              </a:r>
            </a:p>
          </p:txBody>
        </p:sp>
        <p:cxnSp>
          <p:nvCxnSpPr>
            <p:cNvPr id="65" name="Straight Arrow Connector 64"/>
            <p:cNvCxnSpPr/>
            <p:nvPr/>
          </p:nvCxnSpPr>
          <p:spPr>
            <a:xfrm flipH="1" flipV="1">
              <a:off x="4574018" y="5670193"/>
              <a:ext cx="1244" cy="279703"/>
            </a:xfrm>
            <a:prstGeom prst="straightConnector1">
              <a:avLst/>
            </a:prstGeom>
            <a:ln w="158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/>
            <p:cNvSpPr txBox="1"/>
            <p:nvPr/>
          </p:nvSpPr>
          <p:spPr>
            <a:xfrm>
              <a:off x="3053495" y="4681639"/>
              <a:ext cx="2544569" cy="496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nosis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66599" y="6193826"/>
              <a:ext cx="375299" cy="338464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705576" y="6193826"/>
              <a:ext cx="375299" cy="338464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626030" y="4139919"/>
              <a:ext cx="660409" cy="4909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89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5658595" y="3847123"/>
              <a:ext cx="634846" cy="810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98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7864040" y="3737887"/>
              <a:ext cx="660455" cy="90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0.99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348638" y="4080349"/>
              <a:ext cx="587307" cy="10263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92</a:t>
              </a:r>
            </a:p>
          </p:txBody>
        </p:sp>
        <p:cxnSp>
          <p:nvCxnSpPr>
            <p:cNvPr id="86" name="Straight Arrow Connector 85"/>
            <p:cNvCxnSpPr/>
            <p:nvPr/>
          </p:nvCxnSpPr>
          <p:spPr>
            <a:xfrm flipV="1">
              <a:off x="1248869" y="4351192"/>
              <a:ext cx="1059160" cy="7373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/>
            <p:cNvCxnSpPr/>
            <p:nvPr/>
          </p:nvCxnSpPr>
          <p:spPr>
            <a:xfrm flipV="1">
              <a:off x="3036998" y="4088883"/>
              <a:ext cx="1632577" cy="24265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/>
            <p:nvPr/>
          </p:nvCxnSpPr>
          <p:spPr>
            <a:xfrm flipV="1">
              <a:off x="6293442" y="4047784"/>
              <a:ext cx="1617489" cy="4189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Freeform 100"/>
            <p:cNvSpPr/>
            <p:nvPr/>
          </p:nvSpPr>
          <p:spPr>
            <a:xfrm>
              <a:off x="2910711" y="5372083"/>
              <a:ext cx="3070805" cy="288363"/>
            </a:xfrm>
            <a:custGeom>
              <a:avLst/>
              <a:gdLst>
                <a:gd name="connsiteX0" fmla="*/ 0 w 1999622"/>
                <a:gd name="connsiteY0" fmla="*/ 222955 h 222955"/>
                <a:gd name="connsiteX1" fmla="*/ 261257 w 1999622"/>
                <a:gd name="connsiteY1" fmla="*/ 202858 h 222955"/>
                <a:gd name="connsiteX2" fmla="*/ 562708 w 1999622"/>
                <a:gd name="connsiteY2" fmla="*/ 152617 h 222955"/>
                <a:gd name="connsiteX3" fmla="*/ 924448 w 1999622"/>
                <a:gd name="connsiteY3" fmla="*/ 102375 h 222955"/>
                <a:gd name="connsiteX4" fmla="*/ 1205802 w 1999622"/>
                <a:gd name="connsiteY4" fmla="*/ 11940 h 222955"/>
                <a:gd name="connsiteX5" fmla="*/ 1557495 w 1999622"/>
                <a:gd name="connsiteY5" fmla="*/ 11940 h 222955"/>
                <a:gd name="connsiteX6" fmla="*/ 1899139 w 1999622"/>
                <a:gd name="connsiteY6" fmla="*/ 112423 h 222955"/>
                <a:gd name="connsiteX7" fmla="*/ 1999622 w 1999622"/>
                <a:gd name="connsiteY7" fmla="*/ 142568 h 222955"/>
                <a:gd name="connsiteX0" fmla="*/ 0 w 2431701"/>
                <a:gd name="connsiteY0" fmla="*/ 222955 h 222955"/>
                <a:gd name="connsiteX1" fmla="*/ 261257 w 2431701"/>
                <a:gd name="connsiteY1" fmla="*/ 202858 h 222955"/>
                <a:gd name="connsiteX2" fmla="*/ 562708 w 2431701"/>
                <a:gd name="connsiteY2" fmla="*/ 152617 h 222955"/>
                <a:gd name="connsiteX3" fmla="*/ 924448 w 2431701"/>
                <a:gd name="connsiteY3" fmla="*/ 102375 h 222955"/>
                <a:gd name="connsiteX4" fmla="*/ 1205802 w 2431701"/>
                <a:gd name="connsiteY4" fmla="*/ 11940 h 222955"/>
                <a:gd name="connsiteX5" fmla="*/ 1557495 w 2431701"/>
                <a:gd name="connsiteY5" fmla="*/ 11940 h 222955"/>
                <a:gd name="connsiteX6" fmla="*/ 1899139 w 2431701"/>
                <a:gd name="connsiteY6" fmla="*/ 112423 h 222955"/>
                <a:gd name="connsiteX7" fmla="*/ 2431701 w 2431701"/>
                <a:gd name="connsiteY7" fmla="*/ 142568 h 222955"/>
                <a:gd name="connsiteX0" fmla="*/ 0 w 2431701"/>
                <a:gd name="connsiteY0" fmla="*/ 220976 h 220976"/>
                <a:gd name="connsiteX1" fmla="*/ 261257 w 2431701"/>
                <a:gd name="connsiteY1" fmla="*/ 200879 h 220976"/>
                <a:gd name="connsiteX2" fmla="*/ 562708 w 2431701"/>
                <a:gd name="connsiteY2" fmla="*/ 150638 h 220976"/>
                <a:gd name="connsiteX3" fmla="*/ 924448 w 2431701"/>
                <a:gd name="connsiteY3" fmla="*/ 100396 h 220976"/>
                <a:gd name="connsiteX4" fmla="*/ 1205802 w 2431701"/>
                <a:gd name="connsiteY4" fmla="*/ 9961 h 220976"/>
                <a:gd name="connsiteX5" fmla="*/ 1557495 w 2431701"/>
                <a:gd name="connsiteY5" fmla="*/ 9961 h 220976"/>
                <a:gd name="connsiteX6" fmla="*/ 1949381 w 2431701"/>
                <a:gd name="connsiteY6" fmla="*/ 78120 h 220976"/>
                <a:gd name="connsiteX7" fmla="*/ 2431701 w 2431701"/>
                <a:gd name="connsiteY7" fmla="*/ 140589 h 220976"/>
                <a:gd name="connsiteX0" fmla="*/ 0 w 2431701"/>
                <a:gd name="connsiteY0" fmla="*/ 223477 h 223477"/>
                <a:gd name="connsiteX1" fmla="*/ 261257 w 2431701"/>
                <a:gd name="connsiteY1" fmla="*/ 20338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  <a:gd name="connsiteX0" fmla="*/ 0 w 2431701"/>
                <a:gd name="connsiteY0" fmla="*/ 223477 h 223477"/>
                <a:gd name="connsiteX1" fmla="*/ 261257 w 2431701"/>
                <a:gd name="connsiteY1" fmla="*/ 15635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  <a:gd name="connsiteX0" fmla="*/ 0 w 2431701"/>
                <a:gd name="connsiteY0" fmla="*/ 184285 h 184285"/>
                <a:gd name="connsiteX1" fmla="*/ 261257 w 2431701"/>
                <a:gd name="connsiteY1" fmla="*/ 156350 h 184285"/>
                <a:gd name="connsiteX2" fmla="*/ 562708 w 2431701"/>
                <a:gd name="connsiteY2" fmla="*/ 153139 h 184285"/>
                <a:gd name="connsiteX3" fmla="*/ 924448 w 2431701"/>
                <a:gd name="connsiteY3" fmla="*/ 102897 h 184285"/>
                <a:gd name="connsiteX4" fmla="*/ 1205802 w 2431701"/>
                <a:gd name="connsiteY4" fmla="*/ 12462 h 184285"/>
                <a:gd name="connsiteX5" fmla="*/ 1557495 w 2431701"/>
                <a:gd name="connsiteY5" fmla="*/ 12462 h 184285"/>
                <a:gd name="connsiteX6" fmla="*/ 1949381 w 2431701"/>
                <a:gd name="connsiteY6" fmla="*/ 121025 h 184285"/>
                <a:gd name="connsiteX7" fmla="*/ 2431701 w 2431701"/>
                <a:gd name="connsiteY7" fmla="*/ 143090 h 184285"/>
                <a:gd name="connsiteX0" fmla="*/ 0 w 2431701"/>
                <a:gd name="connsiteY0" fmla="*/ 184285 h 184285"/>
                <a:gd name="connsiteX1" fmla="*/ 261257 w 2431701"/>
                <a:gd name="connsiteY1" fmla="*/ 156350 h 184285"/>
                <a:gd name="connsiteX2" fmla="*/ 562708 w 2431701"/>
                <a:gd name="connsiteY2" fmla="*/ 106109 h 184285"/>
                <a:gd name="connsiteX3" fmla="*/ 924448 w 2431701"/>
                <a:gd name="connsiteY3" fmla="*/ 102897 h 184285"/>
                <a:gd name="connsiteX4" fmla="*/ 1205802 w 2431701"/>
                <a:gd name="connsiteY4" fmla="*/ 12462 h 184285"/>
                <a:gd name="connsiteX5" fmla="*/ 1557495 w 2431701"/>
                <a:gd name="connsiteY5" fmla="*/ 12462 h 184285"/>
                <a:gd name="connsiteX6" fmla="*/ 1949381 w 2431701"/>
                <a:gd name="connsiteY6" fmla="*/ 121025 h 184285"/>
                <a:gd name="connsiteX7" fmla="*/ 2431701 w 2431701"/>
                <a:gd name="connsiteY7" fmla="*/ 143090 h 184285"/>
                <a:gd name="connsiteX0" fmla="*/ 0 w 2431701"/>
                <a:gd name="connsiteY0" fmla="*/ 181724 h 181724"/>
                <a:gd name="connsiteX1" fmla="*/ 261257 w 2431701"/>
                <a:gd name="connsiteY1" fmla="*/ 153789 h 181724"/>
                <a:gd name="connsiteX2" fmla="*/ 562708 w 2431701"/>
                <a:gd name="connsiteY2" fmla="*/ 103548 h 181724"/>
                <a:gd name="connsiteX3" fmla="*/ 932389 w 2431701"/>
                <a:gd name="connsiteY3" fmla="*/ 53306 h 181724"/>
                <a:gd name="connsiteX4" fmla="*/ 1205802 w 2431701"/>
                <a:gd name="connsiteY4" fmla="*/ 9901 h 181724"/>
                <a:gd name="connsiteX5" fmla="*/ 1557495 w 2431701"/>
                <a:gd name="connsiteY5" fmla="*/ 9901 h 181724"/>
                <a:gd name="connsiteX6" fmla="*/ 1949381 w 2431701"/>
                <a:gd name="connsiteY6" fmla="*/ 118464 h 181724"/>
                <a:gd name="connsiteX7" fmla="*/ 2431701 w 2431701"/>
                <a:gd name="connsiteY7" fmla="*/ 140529 h 181724"/>
                <a:gd name="connsiteX0" fmla="*/ 0 w 2431701"/>
                <a:gd name="connsiteY0" fmla="*/ 177909 h 177909"/>
                <a:gd name="connsiteX1" fmla="*/ 261257 w 2431701"/>
                <a:gd name="connsiteY1" fmla="*/ 149974 h 177909"/>
                <a:gd name="connsiteX2" fmla="*/ 562708 w 2431701"/>
                <a:gd name="connsiteY2" fmla="*/ 99733 h 177909"/>
                <a:gd name="connsiteX3" fmla="*/ 932389 w 2431701"/>
                <a:gd name="connsiteY3" fmla="*/ 49491 h 177909"/>
                <a:gd name="connsiteX4" fmla="*/ 1205802 w 2431701"/>
                <a:gd name="connsiteY4" fmla="*/ 6086 h 177909"/>
                <a:gd name="connsiteX5" fmla="*/ 1557495 w 2431701"/>
                <a:gd name="connsiteY5" fmla="*/ 6086 h 177909"/>
                <a:gd name="connsiteX6" fmla="*/ 1949381 w 2431701"/>
                <a:gd name="connsiteY6" fmla="*/ 59781 h 177909"/>
                <a:gd name="connsiteX7" fmla="*/ 2431701 w 2431701"/>
                <a:gd name="connsiteY7" fmla="*/ 136714 h 177909"/>
                <a:gd name="connsiteX0" fmla="*/ 0 w 2614353"/>
                <a:gd name="connsiteY0" fmla="*/ 177909 h 177909"/>
                <a:gd name="connsiteX1" fmla="*/ 261257 w 2614353"/>
                <a:gd name="connsiteY1" fmla="*/ 149974 h 177909"/>
                <a:gd name="connsiteX2" fmla="*/ 562708 w 2614353"/>
                <a:gd name="connsiteY2" fmla="*/ 99733 h 177909"/>
                <a:gd name="connsiteX3" fmla="*/ 932389 w 2614353"/>
                <a:gd name="connsiteY3" fmla="*/ 49491 h 177909"/>
                <a:gd name="connsiteX4" fmla="*/ 1205802 w 2614353"/>
                <a:gd name="connsiteY4" fmla="*/ 6086 h 177909"/>
                <a:gd name="connsiteX5" fmla="*/ 1557495 w 2614353"/>
                <a:gd name="connsiteY5" fmla="*/ 6086 h 177909"/>
                <a:gd name="connsiteX6" fmla="*/ 1949381 w 2614353"/>
                <a:gd name="connsiteY6" fmla="*/ 59781 h 177909"/>
                <a:gd name="connsiteX7" fmla="*/ 2614353 w 2614353"/>
                <a:gd name="connsiteY7" fmla="*/ 113199 h 177909"/>
                <a:gd name="connsiteX0" fmla="*/ 0 w 2614353"/>
                <a:gd name="connsiteY0" fmla="*/ 177909 h 177909"/>
                <a:gd name="connsiteX1" fmla="*/ 261257 w 2614353"/>
                <a:gd name="connsiteY1" fmla="*/ 149974 h 177909"/>
                <a:gd name="connsiteX2" fmla="*/ 562708 w 2614353"/>
                <a:gd name="connsiteY2" fmla="*/ 80940 h 177909"/>
                <a:gd name="connsiteX3" fmla="*/ 932389 w 2614353"/>
                <a:gd name="connsiteY3" fmla="*/ 49491 h 177909"/>
                <a:gd name="connsiteX4" fmla="*/ 1205802 w 2614353"/>
                <a:gd name="connsiteY4" fmla="*/ 6086 h 177909"/>
                <a:gd name="connsiteX5" fmla="*/ 1557495 w 2614353"/>
                <a:gd name="connsiteY5" fmla="*/ 6086 h 177909"/>
                <a:gd name="connsiteX6" fmla="*/ 1949381 w 2614353"/>
                <a:gd name="connsiteY6" fmla="*/ 59781 h 177909"/>
                <a:gd name="connsiteX7" fmla="*/ 2614353 w 2614353"/>
                <a:gd name="connsiteY7" fmla="*/ 113199 h 177909"/>
                <a:gd name="connsiteX0" fmla="*/ 0 w 2614353"/>
                <a:gd name="connsiteY0" fmla="*/ 177909 h 177909"/>
                <a:gd name="connsiteX1" fmla="*/ 245375 w 2614353"/>
                <a:gd name="connsiteY1" fmla="*/ 112387 h 177909"/>
                <a:gd name="connsiteX2" fmla="*/ 562708 w 2614353"/>
                <a:gd name="connsiteY2" fmla="*/ 80940 h 177909"/>
                <a:gd name="connsiteX3" fmla="*/ 932389 w 2614353"/>
                <a:gd name="connsiteY3" fmla="*/ 49491 h 177909"/>
                <a:gd name="connsiteX4" fmla="*/ 1205802 w 2614353"/>
                <a:gd name="connsiteY4" fmla="*/ 6086 h 177909"/>
                <a:gd name="connsiteX5" fmla="*/ 1557495 w 2614353"/>
                <a:gd name="connsiteY5" fmla="*/ 6086 h 177909"/>
                <a:gd name="connsiteX6" fmla="*/ 1949381 w 2614353"/>
                <a:gd name="connsiteY6" fmla="*/ 59781 h 177909"/>
                <a:gd name="connsiteX7" fmla="*/ 2614353 w 2614353"/>
                <a:gd name="connsiteY7" fmla="*/ 113199 h 177909"/>
                <a:gd name="connsiteX0" fmla="*/ 0 w 2574646"/>
                <a:gd name="connsiteY0" fmla="*/ 134058 h 134058"/>
                <a:gd name="connsiteX1" fmla="*/ 205668 w 2574646"/>
                <a:gd name="connsiteY1" fmla="*/ 112387 h 134058"/>
                <a:gd name="connsiteX2" fmla="*/ 523001 w 2574646"/>
                <a:gd name="connsiteY2" fmla="*/ 80940 h 134058"/>
                <a:gd name="connsiteX3" fmla="*/ 892682 w 2574646"/>
                <a:gd name="connsiteY3" fmla="*/ 49491 h 134058"/>
                <a:gd name="connsiteX4" fmla="*/ 1166095 w 2574646"/>
                <a:gd name="connsiteY4" fmla="*/ 6086 h 134058"/>
                <a:gd name="connsiteX5" fmla="*/ 1517788 w 2574646"/>
                <a:gd name="connsiteY5" fmla="*/ 6086 h 134058"/>
                <a:gd name="connsiteX6" fmla="*/ 1909674 w 2574646"/>
                <a:gd name="connsiteY6" fmla="*/ 59781 h 134058"/>
                <a:gd name="connsiteX7" fmla="*/ 2574646 w 2574646"/>
                <a:gd name="connsiteY7" fmla="*/ 113199 h 134058"/>
                <a:gd name="connsiteX0" fmla="*/ 0 w 2574646"/>
                <a:gd name="connsiteY0" fmla="*/ 133696 h 133696"/>
                <a:gd name="connsiteX1" fmla="*/ 205668 w 2574646"/>
                <a:gd name="connsiteY1" fmla="*/ 112025 h 133696"/>
                <a:gd name="connsiteX2" fmla="*/ 523001 w 2574646"/>
                <a:gd name="connsiteY2" fmla="*/ 80578 h 133696"/>
                <a:gd name="connsiteX3" fmla="*/ 884741 w 2574646"/>
                <a:gd name="connsiteY3" fmla="*/ 42864 h 133696"/>
                <a:gd name="connsiteX4" fmla="*/ 1166095 w 2574646"/>
                <a:gd name="connsiteY4" fmla="*/ 5724 h 133696"/>
                <a:gd name="connsiteX5" fmla="*/ 1517788 w 2574646"/>
                <a:gd name="connsiteY5" fmla="*/ 5724 h 133696"/>
                <a:gd name="connsiteX6" fmla="*/ 1909674 w 2574646"/>
                <a:gd name="connsiteY6" fmla="*/ 59419 h 133696"/>
                <a:gd name="connsiteX7" fmla="*/ 2574646 w 2574646"/>
                <a:gd name="connsiteY7" fmla="*/ 112837 h 133696"/>
                <a:gd name="connsiteX0" fmla="*/ 0 w 2560261"/>
                <a:gd name="connsiteY0" fmla="*/ 133696 h 133696"/>
                <a:gd name="connsiteX1" fmla="*/ 205668 w 2560261"/>
                <a:gd name="connsiteY1" fmla="*/ 112025 h 133696"/>
                <a:gd name="connsiteX2" fmla="*/ 523001 w 2560261"/>
                <a:gd name="connsiteY2" fmla="*/ 80578 h 133696"/>
                <a:gd name="connsiteX3" fmla="*/ 884741 w 2560261"/>
                <a:gd name="connsiteY3" fmla="*/ 42864 h 133696"/>
                <a:gd name="connsiteX4" fmla="*/ 1166095 w 2560261"/>
                <a:gd name="connsiteY4" fmla="*/ 5724 h 133696"/>
                <a:gd name="connsiteX5" fmla="*/ 1517788 w 2560261"/>
                <a:gd name="connsiteY5" fmla="*/ 5724 h 133696"/>
                <a:gd name="connsiteX6" fmla="*/ 1909674 w 2560261"/>
                <a:gd name="connsiteY6" fmla="*/ 59419 h 133696"/>
                <a:gd name="connsiteX7" fmla="*/ 2560261 w 2560261"/>
                <a:gd name="connsiteY7" fmla="*/ 100838 h 133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0261" h="133696">
                  <a:moveTo>
                    <a:pt x="0" y="133696"/>
                  </a:moveTo>
                  <a:cubicBezTo>
                    <a:pt x="83736" y="129509"/>
                    <a:pt x="118501" y="120878"/>
                    <a:pt x="205668" y="112025"/>
                  </a:cubicBezTo>
                  <a:lnTo>
                    <a:pt x="523001" y="80578"/>
                  </a:lnTo>
                  <a:lnTo>
                    <a:pt x="884741" y="42864"/>
                  </a:lnTo>
                  <a:cubicBezTo>
                    <a:pt x="991923" y="30388"/>
                    <a:pt x="1060587" y="11914"/>
                    <a:pt x="1166095" y="5724"/>
                  </a:cubicBezTo>
                  <a:cubicBezTo>
                    <a:pt x="1271603" y="-466"/>
                    <a:pt x="1393858" y="-3225"/>
                    <a:pt x="1517788" y="5724"/>
                  </a:cubicBezTo>
                  <a:cubicBezTo>
                    <a:pt x="1641718" y="14673"/>
                    <a:pt x="1763973" y="37648"/>
                    <a:pt x="1909674" y="59419"/>
                  </a:cubicBezTo>
                  <a:cubicBezTo>
                    <a:pt x="2055375" y="81190"/>
                    <a:pt x="2382740" y="90790"/>
                    <a:pt x="2560261" y="100838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659861" y="3856468"/>
              <a:ext cx="587865" cy="10263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97</a:t>
              </a:r>
            </a:p>
          </p:txBody>
        </p:sp>
        <p:cxnSp>
          <p:nvCxnSpPr>
            <p:cNvPr id="103" name="Straight Arrow Connector 102"/>
            <p:cNvCxnSpPr/>
            <p:nvPr/>
          </p:nvCxnSpPr>
          <p:spPr>
            <a:xfrm flipV="1">
              <a:off x="5247726" y="4126161"/>
              <a:ext cx="457851" cy="10967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CD074493-0AB1-4E8B-BAF5-1004A2B80E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3223377"/>
              </p:ext>
            </p:extLst>
          </p:nvPr>
        </p:nvGraphicFramePr>
        <p:xfrm>
          <a:off x="5805977" y="1009413"/>
          <a:ext cx="2932128" cy="3035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4" name="TextBox 63">
            <a:extLst>
              <a:ext uri="{FF2B5EF4-FFF2-40B4-BE49-F238E27FC236}">
                <a16:creationId xmlns:a16="http://schemas.microsoft.com/office/drawing/2014/main" id="{304D4A0A-BBFF-4ECC-B12D-0ABC7F7D85D6}"/>
              </a:ext>
            </a:extLst>
          </p:cNvPr>
          <p:cNvSpPr txBox="1"/>
          <p:nvPr/>
        </p:nvSpPr>
        <p:spPr>
          <a:xfrm>
            <a:off x="1727586" y="62745"/>
            <a:ext cx="5910952" cy="4560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700" b="1" dirty="0">
                <a:solidFill>
                  <a:srgbClr val="002060"/>
                </a:solidFill>
                <a:sym typeface="Helvetica Light"/>
              </a:rPr>
              <a:t>Focal Residual Pressure Gradient in-st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88AA86-83AD-4344-AE02-311330268D0F}"/>
              </a:ext>
            </a:extLst>
          </p:cNvPr>
          <p:cNvSpPr/>
          <p:nvPr/>
        </p:nvSpPr>
        <p:spPr>
          <a:xfrm>
            <a:off x="1788414" y="399277"/>
            <a:ext cx="581260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Among the 93 vessels with focal disease, there were 146 segments (stent, proximal or distal) that had significant residual pressure gradients</a:t>
            </a:r>
            <a:endParaRPr lang="en-US" sz="1500" dirty="0">
              <a:solidFill>
                <a:srgbClr val="0B1B39"/>
              </a:solidFill>
              <a:latin typeface="+mj-lt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6F291B65-B132-42D7-88C2-2873528C8B3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2921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761564" y="1027869"/>
            <a:ext cx="3404072" cy="2104696"/>
            <a:chOff x="1776297" y="541821"/>
            <a:chExt cx="5182585" cy="330827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22" t="6797" b="33567"/>
            <a:stretch/>
          </p:blipFill>
          <p:spPr>
            <a:xfrm>
              <a:off x="1776297" y="541821"/>
              <a:ext cx="4979668" cy="3308278"/>
            </a:xfrm>
            <a:prstGeom prst="rect">
              <a:avLst/>
            </a:prstGeom>
          </p:spPr>
        </p:pic>
        <p:cxnSp>
          <p:nvCxnSpPr>
            <p:cNvPr id="5" name="Straight Connector 4"/>
            <p:cNvCxnSpPr/>
            <p:nvPr/>
          </p:nvCxnSpPr>
          <p:spPr>
            <a:xfrm flipH="1" flipV="1">
              <a:off x="3532521" y="1655002"/>
              <a:ext cx="0" cy="8229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 flipH="1" flipV="1">
              <a:off x="5067379" y="1674990"/>
              <a:ext cx="0" cy="8229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3542046" y="1831787"/>
              <a:ext cx="1525333" cy="718146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Reference Segment</a:t>
              </a:r>
            </a:p>
          </p:txBody>
        </p:sp>
        <p:cxnSp>
          <p:nvCxnSpPr>
            <p:cNvPr id="8" name="Straight Arrow Connector 7"/>
            <p:cNvCxnSpPr/>
            <p:nvPr/>
          </p:nvCxnSpPr>
          <p:spPr>
            <a:xfrm>
              <a:off x="3542046" y="1786972"/>
              <a:ext cx="1520073" cy="5712"/>
            </a:xfrm>
            <a:prstGeom prst="straightConnector1">
              <a:avLst/>
            </a:prstGeom>
            <a:ln w="19050">
              <a:solidFill>
                <a:schemeClr val="bg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91" t="13323" r="75135" b="60993"/>
            <a:stretch/>
          </p:blipFill>
          <p:spPr>
            <a:xfrm>
              <a:off x="2197017" y="543875"/>
              <a:ext cx="913964" cy="908359"/>
            </a:xfrm>
            <a:prstGeom prst="rect">
              <a:avLst/>
            </a:prstGeom>
          </p:spPr>
        </p:pic>
        <p:sp>
          <p:nvSpPr>
            <p:cNvPr id="67" name="TextBox 66"/>
            <p:cNvSpPr txBox="1"/>
            <p:nvPr/>
          </p:nvSpPr>
          <p:spPr>
            <a:xfrm>
              <a:off x="3094370" y="551775"/>
              <a:ext cx="78141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al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362900" y="566180"/>
              <a:ext cx="102934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ximal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5989085" y="1116253"/>
              <a:ext cx="798510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</a:t>
              </a:r>
              <a:r>
                <a:rPr lang="en-US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26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5673060" y="1773541"/>
              <a:ext cx="1285822" cy="3488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p-up</a:t>
              </a:r>
            </a:p>
          </p:txBody>
        </p:sp>
        <p:cxnSp>
          <p:nvCxnSpPr>
            <p:cNvPr id="79" name="Straight Arrow Connector 78"/>
            <p:cNvCxnSpPr/>
            <p:nvPr/>
          </p:nvCxnSpPr>
          <p:spPr>
            <a:xfrm flipV="1">
              <a:off x="6295931" y="1394568"/>
              <a:ext cx="0" cy="365164"/>
            </a:xfrm>
            <a:prstGeom prst="straightConnector1">
              <a:avLst/>
            </a:prstGeom>
            <a:ln w="15875">
              <a:solidFill>
                <a:srgbClr val="FFFF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891341" y="2909763"/>
            <a:ext cx="5410580" cy="1986430"/>
            <a:chOff x="544238" y="3801146"/>
            <a:chExt cx="8118596" cy="2937547"/>
          </a:xfrm>
        </p:grpSpPr>
        <p:grpSp>
          <p:nvGrpSpPr>
            <p:cNvPr id="12" name="Group 11"/>
            <p:cNvGrpSpPr/>
            <p:nvPr/>
          </p:nvGrpSpPr>
          <p:grpSpPr>
            <a:xfrm>
              <a:off x="712048" y="4501845"/>
              <a:ext cx="7760810" cy="1406920"/>
              <a:chOff x="1549850" y="1247008"/>
              <a:chExt cx="6470519" cy="1058159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1549850" y="1247008"/>
                <a:ext cx="6441853" cy="333148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430529"/>
                  <a:gd name="connsiteY0" fmla="*/ 142210 h 172234"/>
                  <a:gd name="connsiteX1" fmla="*/ 1260389 w 7430529"/>
                  <a:gd name="connsiteY1" fmla="*/ 166923 h 172234"/>
                  <a:gd name="connsiteX2" fmla="*/ 2265405 w 7430529"/>
                  <a:gd name="connsiteY2" fmla="*/ 51594 h 172234"/>
                  <a:gd name="connsiteX3" fmla="*/ 3525794 w 7430529"/>
                  <a:gd name="connsiteY3" fmla="*/ 2167 h 172234"/>
                  <a:gd name="connsiteX4" fmla="*/ 4926227 w 7430529"/>
                  <a:gd name="connsiteY4" fmla="*/ 117496 h 172234"/>
                  <a:gd name="connsiteX5" fmla="*/ 5791200 w 7430529"/>
                  <a:gd name="connsiteY5" fmla="*/ 125734 h 172234"/>
                  <a:gd name="connsiteX6" fmla="*/ 7430529 w 7430529"/>
                  <a:gd name="connsiteY6" fmla="*/ 133971 h 172234"/>
                  <a:gd name="connsiteX0" fmla="*/ 0 w 8138983"/>
                  <a:gd name="connsiteY0" fmla="*/ 166924 h 181598"/>
                  <a:gd name="connsiteX1" fmla="*/ 1968843 w 8138983"/>
                  <a:gd name="connsiteY1" fmla="*/ 166923 h 181598"/>
                  <a:gd name="connsiteX2" fmla="*/ 2973859 w 8138983"/>
                  <a:gd name="connsiteY2" fmla="*/ 51594 h 181598"/>
                  <a:gd name="connsiteX3" fmla="*/ 4234248 w 8138983"/>
                  <a:gd name="connsiteY3" fmla="*/ 2167 h 181598"/>
                  <a:gd name="connsiteX4" fmla="*/ 5634681 w 8138983"/>
                  <a:gd name="connsiteY4" fmla="*/ 117496 h 181598"/>
                  <a:gd name="connsiteX5" fmla="*/ 6499654 w 8138983"/>
                  <a:gd name="connsiteY5" fmla="*/ 125734 h 181598"/>
                  <a:gd name="connsiteX6" fmla="*/ 8138983 w 8138983"/>
                  <a:gd name="connsiteY6" fmla="*/ 133971 h 181598"/>
                  <a:gd name="connsiteX0" fmla="*/ 0 w 8138983"/>
                  <a:gd name="connsiteY0" fmla="*/ 164926 h 177145"/>
                  <a:gd name="connsiteX1" fmla="*/ 1968843 w 8138983"/>
                  <a:gd name="connsiteY1" fmla="*/ 164925 h 177145"/>
                  <a:gd name="connsiteX2" fmla="*/ 2931914 w 8138983"/>
                  <a:gd name="connsiteY2" fmla="*/ 91541 h 177145"/>
                  <a:gd name="connsiteX3" fmla="*/ 4234248 w 8138983"/>
                  <a:gd name="connsiteY3" fmla="*/ 169 h 177145"/>
                  <a:gd name="connsiteX4" fmla="*/ 5634681 w 8138983"/>
                  <a:gd name="connsiteY4" fmla="*/ 115498 h 177145"/>
                  <a:gd name="connsiteX5" fmla="*/ 6499654 w 8138983"/>
                  <a:gd name="connsiteY5" fmla="*/ 123736 h 177145"/>
                  <a:gd name="connsiteX6" fmla="*/ 8138983 w 8138983"/>
                  <a:gd name="connsiteY6" fmla="*/ 131973 h 177145"/>
                  <a:gd name="connsiteX0" fmla="*/ 0 w 8155761"/>
                  <a:gd name="connsiteY0" fmla="*/ 290760 h 293103"/>
                  <a:gd name="connsiteX1" fmla="*/ 1985621 w 8155761"/>
                  <a:gd name="connsiteY1" fmla="*/ 164925 h 293103"/>
                  <a:gd name="connsiteX2" fmla="*/ 2948692 w 8155761"/>
                  <a:gd name="connsiteY2" fmla="*/ 91541 h 293103"/>
                  <a:gd name="connsiteX3" fmla="*/ 4251026 w 8155761"/>
                  <a:gd name="connsiteY3" fmla="*/ 169 h 293103"/>
                  <a:gd name="connsiteX4" fmla="*/ 5651459 w 8155761"/>
                  <a:gd name="connsiteY4" fmla="*/ 115498 h 293103"/>
                  <a:gd name="connsiteX5" fmla="*/ 6516432 w 8155761"/>
                  <a:gd name="connsiteY5" fmla="*/ 123736 h 293103"/>
                  <a:gd name="connsiteX6" fmla="*/ 8155761 w 8155761"/>
                  <a:gd name="connsiteY6" fmla="*/ 131973 h 293103"/>
                  <a:gd name="connsiteX0" fmla="*/ 0 w 8155761"/>
                  <a:gd name="connsiteY0" fmla="*/ 290770 h 290770"/>
                  <a:gd name="connsiteX1" fmla="*/ 1994010 w 8155761"/>
                  <a:gd name="connsiteY1" fmla="*/ 190102 h 290770"/>
                  <a:gd name="connsiteX2" fmla="*/ 2948692 w 8155761"/>
                  <a:gd name="connsiteY2" fmla="*/ 91551 h 290770"/>
                  <a:gd name="connsiteX3" fmla="*/ 4251026 w 8155761"/>
                  <a:gd name="connsiteY3" fmla="*/ 179 h 290770"/>
                  <a:gd name="connsiteX4" fmla="*/ 5651459 w 8155761"/>
                  <a:gd name="connsiteY4" fmla="*/ 115508 h 290770"/>
                  <a:gd name="connsiteX5" fmla="*/ 6516432 w 8155761"/>
                  <a:gd name="connsiteY5" fmla="*/ 123746 h 290770"/>
                  <a:gd name="connsiteX6" fmla="*/ 8155761 w 8155761"/>
                  <a:gd name="connsiteY6" fmla="*/ 131983 h 290770"/>
                  <a:gd name="connsiteX0" fmla="*/ 0 w 8155761"/>
                  <a:gd name="connsiteY0" fmla="*/ 202941 h 202941"/>
                  <a:gd name="connsiteX1" fmla="*/ 1994010 w 8155761"/>
                  <a:gd name="connsiteY1" fmla="*/ 102273 h 202941"/>
                  <a:gd name="connsiteX2" fmla="*/ 2948692 w 8155761"/>
                  <a:gd name="connsiteY2" fmla="*/ 3722 h 202941"/>
                  <a:gd name="connsiteX3" fmla="*/ 4318137 w 8155761"/>
                  <a:gd name="connsiteY3" fmla="*/ 21407 h 202941"/>
                  <a:gd name="connsiteX4" fmla="*/ 5651459 w 8155761"/>
                  <a:gd name="connsiteY4" fmla="*/ 27679 h 202941"/>
                  <a:gd name="connsiteX5" fmla="*/ 6516432 w 8155761"/>
                  <a:gd name="connsiteY5" fmla="*/ 35917 h 202941"/>
                  <a:gd name="connsiteX6" fmla="*/ 8155761 w 8155761"/>
                  <a:gd name="connsiteY6" fmla="*/ 44154 h 202941"/>
                  <a:gd name="connsiteX0" fmla="*/ 0 w 8155761"/>
                  <a:gd name="connsiteY0" fmla="*/ 242374 h 242374"/>
                  <a:gd name="connsiteX1" fmla="*/ 1994010 w 8155761"/>
                  <a:gd name="connsiteY1" fmla="*/ 141706 h 242374"/>
                  <a:gd name="connsiteX2" fmla="*/ 2948692 w 8155761"/>
                  <a:gd name="connsiteY2" fmla="*/ 43155 h 242374"/>
                  <a:gd name="connsiteX3" fmla="*/ 4318137 w 8155761"/>
                  <a:gd name="connsiteY3" fmla="*/ 60840 h 242374"/>
                  <a:gd name="connsiteX4" fmla="*/ 5735349 w 8155761"/>
                  <a:gd name="connsiteY4" fmla="*/ 0 h 242374"/>
                  <a:gd name="connsiteX5" fmla="*/ 6516432 w 8155761"/>
                  <a:gd name="connsiteY5" fmla="*/ 75350 h 242374"/>
                  <a:gd name="connsiteX6" fmla="*/ 8155761 w 8155761"/>
                  <a:gd name="connsiteY6" fmla="*/ 83587 h 242374"/>
                  <a:gd name="connsiteX0" fmla="*/ 0 w 8155761"/>
                  <a:gd name="connsiteY0" fmla="*/ 259303 h 259303"/>
                  <a:gd name="connsiteX1" fmla="*/ 1994010 w 8155761"/>
                  <a:gd name="connsiteY1" fmla="*/ 158635 h 259303"/>
                  <a:gd name="connsiteX2" fmla="*/ 2948692 w 8155761"/>
                  <a:gd name="connsiteY2" fmla="*/ 60084 h 259303"/>
                  <a:gd name="connsiteX3" fmla="*/ 4318137 w 8155761"/>
                  <a:gd name="connsiteY3" fmla="*/ 77769 h 259303"/>
                  <a:gd name="connsiteX4" fmla="*/ 5735349 w 8155761"/>
                  <a:gd name="connsiteY4" fmla="*/ 16929 h 259303"/>
                  <a:gd name="connsiteX5" fmla="*/ 6474487 w 8155761"/>
                  <a:gd name="connsiteY5" fmla="*/ 0 h 259303"/>
                  <a:gd name="connsiteX6" fmla="*/ 8155761 w 8155761"/>
                  <a:gd name="connsiteY6" fmla="*/ 100516 h 259303"/>
                  <a:gd name="connsiteX0" fmla="*/ 0 w 7895703"/>
                  <a:gd name="connsiteY0" fmla="*/ 259303 h 259303"/>
                  <a:gd name="connsiteX1" fmla="*/ 1994010 w 7895703"/>
                  <a:gd name="connsiteY1" fmla="*/ 158635 h 259303"/>
                  <a:gd name="connsiteX2" fmla="*/ 2948692 w 7895703"/>
                  <a:gd name="connsiteY2" fmla="*/ 60084 h 259303"/>
                  <a:gd name="connsiteX3" fmla="*/ 4318137 w 7895703"/>
                  <a:gd name="connsiteY3" fmla="*/ 77769 h 259303"/>
                  <a:gd name="connsiteX4" fmla="*/ 5735349 w 7895703"/>
                  <a:gd name="connsiteY4" fmla="*/ 16929 h 259303"/>
                  <a:gd name="connsiteX5" fmla="*/ 6474487 w 7895703"/>
                  <a:gd name="connsiteY5" fmla="*/ 0 h 259303"/>
                  <a:gd name="connsiteX6" fmla="*/ 7895703 w 7895703"/>
                  <a:gd name="connsiteY6" fmla="*/ 58571 h 259303"/>
                  <a:gd name="connsiteX0" fmla="*/ 0 w 6474487"/>
                  <a:gd name="connsiteY0" fmla="*/ 259303 h 259303"/>
                  <a:gd name="connsiteX1" fmla="*/ 1994010 w 6474487"/>
                  <a:gd name="connsiteY1" fmla="*/ 158635 h 259303"/>
                  <a:gd name="connsiteX2" fmla="*/ 2948692 w 6474487"/>
                  <a:gd name="connsiteY2" fmla="*/ 60084 h 259303"/>
                  <a:gd name="connsiteX3" fmla="*/ 4318137 w 6474487"/>
                  <a:gd name="connsiteY3" fmla="*/ 77769 h 259303"/>
                  <a:gd name="connsiteX4" fmla="*/ 5735349 w 6474487"/>
                  <a:gd name="connsiteY4" fmla="*/ 16929 h 259303"/>
                  <a:gd name="connsiteX5" fmla="*/ 6474487 w 6474487"/>
                  <a:gd name="connsiteY5" fmla="*/ 0 h 259303"/>
                  <a:gd name="connsiteX0" fmla="*/ 0 w 6508043"/>
                  <a:gd name="connsiteY0" fmla="*/ 326415 h 326415"/>
                  <a:gd name="connsiteX1" fmla="*/ 1994010 w 6508043"/>
                  <a:gd name="connsiteY1" fmla="*/ 225747 h 326415"/>
                  <a:gd name="connsiteX2" fmla="*/ 2948692 w 6508043"/>
                  <a:gd name="connsiteY2" fmla="*/ 127196 h 326415"/>
                  <a:gd name="connsiteX3" fmla="*/ 4318137 w 6508043"/>
                  <a:gd name="connsiteY3" fmla="*/ 144881 h 326415"/>
                  <a:gd name="connsiteX4" fmla="*/ 5735349 w 6508043"/>
                  <a:gd name="connsiteY4" fmla="*/ 84041 h 326415"/>
                  <a:gd name="connsiteX5" fmla="*/ 6508043 w 6508043"/>
                  <a:gd name="connsiteY5" fmla="*/ 0 h 326415"/>
                  <a:gd name="connsiteX0" fmla="*/ 0 w 6508043"/>
                  <a:gd name="connsiteY0" fmla="*/ 335879 h 335879"/>
                  <a:gd name="connsiteX1" fmla="*/ 1994010 w 6508043"/>
                  <a:gd name="connsiteY1" fmla="*/ 235211 h 335879"/>
                  <a:gd name="connsiteX2" fmla="*/ 2948692 w 6508043"/>
                  <a:gd name="connsiteY2" fmla="*/ 136660 h 335879"/>
                  <a:gd name="connsiteX3" fmla="*/ 4318137 w 6508043"/>
                  <a:gd name="connsiteY3" fmla="*/ 154345 h 335879"/>
                  <a:gd name="connsiteX4" fmla="*/ 5894740 w 6508043"/>
                  <a:gd name="connsiteY4" fmla="*/ 9615 h 335879"/>
                  <a:gd name="connsiteX5" fmla="*/ 6508043 w 6508043"/>
                  <a:gd name="connsiteY5" fmla="*/ 9464 h 33587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18137 w 6759713"/>
                  <a:gd name="connsiteY3" fmla="*/ 19521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06747 w 6759713"/>
                  <a:gd name="connsiteY2" fmla="*/ 127196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62461 w 5920814"/>
                  <a:gd name="connsiteY3" fmla="*/ 111325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47452 w 5920814"/>
                  <a:gd name="connsiteY4" fmla="*/ 16930 h 343193"/>
                  <a:gd name="connsiteX5" fmla="*/ 5920814 w 5920814"/>
                  <a:gd name="connsiteY5" fmla="*/ 0 h 343193"/>
                  <a:gd name="connsiteX0" fmla="*/ 0 w 6029871"/>
                  <a:gd name="connsiteY0" fmla="*/ 343193 h 343193"/>
                  <a:gd name="connsiteX1" fmla="*/ 1155111 w 6029871"/>
                  <a:gd name="connsiteY1" fmla="*/ 276081 h 343193"/>
                  <a:gd name="connsiteX2" fmla="*/ 2302740 w 6029871"/>
                  <a:gd name="connsiteY2" fmla="*/ 169141 h 343193"/>
                  <a:gd name="connsiteX3" fmla="*/ 3563129 w 6029871"/>
                  <a:gd name="connsiteY3" fmla="*/ 94547 h 343193"/>
                  <a:gd name="connsiteX4" fmla="*/ 5047452 w 6029871"/>
                  <a:gd name="connsiteY4" fmla="*/ 16930 h 343193"/>
                  <a:gd name="connsiteX5" fmla="*/ 6029871 w 6029871"/>
                  <a:gd name="connsiteY5" fmla="*/ 0 h 343193"/>
                  <a:gd name="connsiteX0" fmla="*/ 0 w 6441853"/>
                  <a:gd name="connsiteY0" fmla="*/ 333148 h 333148"/>
                  <a:gd name="connsiteX1" fmla="*/ 1155111 w 6441853"/>
                  <a:gd name="connsiteY1" fmla="*/ 266036 h 333148"/>
                  <a:gd name="connsiteX2" fmla="*/ 2302740 w 6441853"/>
                  <a:gd name="connsiteY2" fmla="*/ 159096 h 333148"/>
                  <a:gd name="connsiteX3" fmla="*/ 3563129 w 6441853"/>
                  <a:gd name="connsiteY3" fmla="*/ 84502 h 333148"/>
                  <a:gd name="connsiteX4" fmla="*/ 5047452 w 6441853"/>
                  <a:gd name="connsiteY4" fmla="*/ 6885 h 333148"/>
                  <a:gd name="connsiteX5" fmla="*/ 6441853 w 6441853"/>
                  <a:gd name="connsiteY5" fmla="*/ 3 h 33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41853" h="333148">
                    <a:moveTo>
                      <a:pt x="0" y="333148"/>
                    </a:moveTo>
                    <a:lnTo>
                      <a:pt x="1155111" y="266036"/>
                    </a:lnTo>
                    <a:cubicBezTo>
                      <a:pt x="1538901" y="237027"/>
                      <a:pt x="1901404" y="189352"/>
                      <a:pt x="2302740" y="159096"/>
                    </a:cubicBezTo>
                    <a:cubicBezTo>
                      <a:pt x="2704076" y="128840"/>
                      <a:pt x="3105677" y="109871"/>
                      <a:pt x="3563129" y="84502"/>
                    </a:cubicBezTo>
                    <a:cubicBezTo>
                      <a:pt x="4057903" y="58630"/>
                      <a:pt x="4567665" y="20968"/>
                      <a:pt x="5047452" y="6885"/>
                    </a:cubicBezTo>
                    <a:cubicBezTo>
                      <a:pt x="5527239" y="-7198"/>
                      <a:pt x="6195474" y="5646"/>
                      <a:pt x="6441853" y="3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  <p:sp>
            <p:nvSpPr>
              <p:cNvPr id="14" name="Freeform 13"/>
              <p:cNvSpPr/>
              <p:nvPr/>
            </p:nvSpPr>
            <p:spPr>
              <a:xfrm rot="10800000">
                <a:off x="1629375" y="2137694"/>
                <a:ext cx="6390994" cy="167473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603523"/>
                  <a:gd name="connsiteY0" fmla="*/ 109259 h 168194"/>
                  <a:gd name="connsiteX1" fmla="*/ 1935891 w 7603523"/>
                  <a:gd name="connsiteY1" fmla="*/ 166923 h 168194"/>
                  <a:gd name="connsiteX2" fmla="*/ 2940907 w 7603523"/>
                  <a:gd name="connsiteY2" fmla="*/ 51594 h 168194"/>
                  <a:gd name="connsiteX3" fmla="*/ 4201296 w 7603523"/>
                  <a:gd name="connsiteY3" fmla="*/ 2167 h 168194"/>
                  <a:gd name="connsiteX4" fmla="*/ 5601729 w 7603523"/>
                  <a:gd name="connsiteY4" fmla="*/ 117496 h 168194"/>
                  <a:gd name="connsiteX5" fmla="*/ 6466702 w 7603523"/>
                  <a:gd name="connsiteY5" fmla="*/ 125734 h 168194"/>
                  <a:gd name="connsiteX6" fmla="*/ 7603523 w 7603523"/>
                  <a:gd name="connsiteY6" fmla="*/ 117496 h 168194"/>
                  <a:gd name="connsiteX0" fmla="*/ 0 w 8270788"/>
                  <a:gd name="connsiteY0" fmla="*/ 109259 h 168194"/>
                  <a:gd name="connsiteX1" fmla="*/ 1935891 w 8270788"/>
                  <a:gd name="connsiteY1" fmla="*/ 166923 h 168194"/>
                  <a:gd name="connsiteX2" fmla="*/ 2940907 w 8270788"/>
                  <a:gd name="connsiteY2" fmla="*/ 51594 h 168194"/>
                  <a:gd name="connsiteX3" fmla="*/ 4201296 w 8270788"/>
                  <a:gd name="connsiteY3" fmla="*/ 2167 h 168194"/>
                  <a:gd name="connsiteX4" fmla="*/ 5601729 w 8270788"/>
                  <a:gd name="connsiteY4" fmla="*/ 117496 h 168194"/>
                  <a:gd name="connsiteX5" fmla="*/ 6466702 w 8270788"/>
                  <a:gd name="connsiteY5" fmla="*/ 125734 h 168194"/>
                  <a:gd name="connsiteX6" fmla="*/ 8270788 w 8270788"/>
                  <a:gd name="connsiteY6" fmla="*/ 109258 h 168194"/>
                  <a:gd name="connsiteX0" fmla="*/ 0 w 8270788"/>
                  <a:gd name="connsiteY0" fmla="*/ 107179 h 166114"/>
                  <a:gd name="connsiteX1" fmla="*/ 1935891 w 8270788"/>
                  <a:gd name="connsiteY1" fmla="*/ 164843 h 166114"/>
                  <a:gd name="connsiteX2" fmla="*/ 2940907 w 8270788"/>
                  <a:gd name="connsiteY2" fmla="*/ 49514 h 166114"/>
                  <a:gd name="connsiteX3" fmla="*/ 4201296 w 8270788"/>
                  <a:gd name="connsiteY3" fmla="*/ 87 h 166114"/>
                  <a:gd name="connsiteX4" fmla="*/ 5400393 w 8270788"/>
                  <a:gd name="connsiteY4" fmla="*/ 39916 h 166114"/>
                  <a:gd name="connsiteX5" fmla="*/ 6466702 w 8270788"/>
                  <a:gd name="connsiteY5" fmla="*/ 123654 h 166114"/>
                  <a:gd name="connsiteX6" fmla="*/ 8270788 w 8270788"/>
                  <a:gd name="connsiteY6" fmla="*/ 107178 h 166114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466702 w 8270788"/>
                  <a:gd name="connsiteY5" fmla="*/ 98400 h 140860"/>
                  <a:gd name="connsiteX6" fmla="*/ 8270788 w 8270788"/>
                  <a:gd name="connsiteY6" fmla="*/ 81924 h 140860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273755 w 8270788"/>
                  <a:gd name="connsiteY5" fmla="*/ 56455 h 140860"/>
                  <a:gd name="connsiteX6" fmla="*/ 8270788 w 8270788"/>
                  <a:gd name="connsiteY6" fmla="*/ 81924 h 140860"/>
                  <a:gd name="connsiteX0" fmla="*/ 0 w 7423500"/>
                  <a:gd name="connsiteY0" fmla="*/ 81925 h 140860"/>
                  <a:gd name="connsiteX1" fmla="*/ 1935891 w 7423500"/>
                  <a:gd name="connsiteY1" fmla="*/ 139589 h 140860"/>
                  <a:gd name="connsiteX2" fmla="*/ 2940907 w 7423500"/>
                  <a:gd name="connsiteY2" fmla="*/ 24260 h 140860"/>
                  <a:gd name="connsiteX3" fmla="*/ 4159351 w 7423500"/>
                  <a:gd name="connsiteY3" fmla="*/ 0 h 140860"/>
                  <a:gd name="connsiteX4" fmla="*/ 5400393 w 7423500"/>
                  <a:gd name="connsiteY4" fmla="*/ 14662 h 140860"/>
                  <a:gd name="connsiteX5" fmla="*/ 6273755 w 7423500"/>
                  <a:gd name="connsiteY5" fmla="*/ 56455 h 140860"/>
                  <a:gd name="connsiteX6" fmla="*/ 7423500 w 7423500"/>
                  <a:gd name="connsiteY6" fmla="*/ 31591 h 140860"/>
                  <a:gd name="connsiteX0" fmla="*/ 0 w 6358098"/>
                  <a:gd name="connsiteY0" fmla="*/ 190981 h 196030"/>
                  <a:gd name="connsiteX1" fmla="*/ 870489 w 6358098"/>
                  <a:gd name="connsiteY1" fmla="*/ 139589 h 196030"/>
                  <a:gd name="connsiteX2" fmla="*/ 1875505 w 6358098"/>
                  <a:gd name="connsiteY2" fmla="*/ 24260 h 196030"/>
                  <a:gd name="connsiteX3" fmla="*/ 3093949 w 6358098"/>
                  <a:gd name="connsiteY3" fmla="*/ 0 h 196030"/>
                  <a:gd name="connsiteX4" fmla="*/ 4334991 w 6358098"/>
                  <a:gd name="connsiteY4" fmla="*/ 14662 h 196030"/>
                  <a:gd name="connsiteX5" fmla="*/ 5208353 w 6358098"/>
                  <a:gd name="connsiteY5" fmla="*/ 56455 h 196030"/>
                  <a:gd name="connsiteX6" fmla="*/ 6358098 w 6358098"/>
                  <a:gd name="connsiteY6" fmla="*/ 31591 h 196030"/>
                  <a:gd name="connsiteX0" fmla="*/ 0 w 6358098"/>
                  <a:gd name="connsiteY0" fmla="*/ 190981 h 193533"/>
                  <a:gd name="connsiteX1" fmla="*/ 987935 w 6358098"/>
                  <a:gd name="connsiteY1" fmla="*/ 80867 h 193533"/>
                  <a:gd name="connsiteX2" fmla="*/ 1875505 w 6358098"/>
                  <a:gd name="connsiteY2" fmla="*/ 24260 h 193533"/>
                  <a:gd name="connsiteX3" fmla="*/ 3093949 w 6358098"/>
                  <a:gd name="connsiteY3" fmla="*/ 0 h 193533"/>
                  <a:gd name="connsiteX4" fmla="*/ 4334991 w 6358098"/>
                  <a:gd name="connsiteY4" fmla="*/ 14662 h 193533"/>
                  <a:gd name="connsiteX5" fmla="*/ 5208353 w 6358098"/>
                  <a:gd name="connsiteY5" fmla="*/ 56455 h 193533"/>
                  <a:gd name="connsiteX6" fmla="*/ 6358098 w 6358098"/>
                  <a:gd name="connsiteY6" fmla="*/ 31591 h 193533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98629 w 6148374"/>
                  <a:gd name="connsiteY5" fmla="*/ 56455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5938818 w 6148374"/>
                  <a:gd name="connsiteY6" fmla="*/ 24625 h 160779"/>
                  <a:gd name="connsiteX7" fmla="*/ 6148374 w 6148374"/>
                  <a:gd name="connsiteY7" fmla="*/ 31591 h 160779"/>
                  <a:gd name="connsiteX0" fmla="*/ 0 w 6148374"/>
                  <a:gd name="connsiteY0" fmla="*/ 157425 h 162750"/>
                  <a:gd name="connsiteX1" fmla="*/ 828545 w 6148374"/>
                  <a:gd name="connsiteY1" fmla="*/ 114422 h 162750"/>
                  <a:gd name="connsiteX2" fmla="*/ 1665781 w 6148374"/>
                  <a:gd name="connsiteY2" fmla="*/ 24260 h 162750"/>
                  <a:gd name="connsiteX3" fmla="*/ 2884225 w 6148374"/>
                  <a:gd name="connsiteY3" fmla="*/ 0 h 162750"/>
                  <a:gd name="connsiteX4" fmla="*/ 4125267 w 6148374"/>
                  <a:gd name="connsiteY4" fmla="*/ 14662 h 162750"/>
                  <a:gd name="connsiteX5" fmla="*/ 4939906 w 6148374"/>
                  <a:gd name="connsiteY5" fmla="*/ 14510 h 162750"/>
                  <a:gd name="connsiteX6" fmla="*/ 5938818 w 6148374"/>
                  <a:gd name="connsiteY6" fmla="*/ 24625 h 162750"/>
                  <a:gd name="connsiteX7" fmla="*/ 6148374 w 6148374"/>
                  <a:gd name="connsiteY7" fmla="*/ 31591 h 162750"/>
                  <a:gd name="connsiteX0" fmla="*/ 0 w 6148374"/>
                  <a:gd name="connsiteY0" fmla="*/ 157425 h 157425"/>
                  <a:gd name="connsiteX1" fmla="*/ 828545 w 6148374"/>
                  <a:gd name="connsiteY1" fmla="*/ 114422 h 157425"/>
                  <a:gd name="connsiteX2" fmla="*/ 1749670 w 6148374"/>
                  <a:gd name="connsiteY2" fmla="*/ 66205 h 157425"/>
                  <a:gd name="connsiteX3" fmla="*/ 2884225 w 6148374"/>
                  <a:gd name="connsiteY3" fmla="*/ 0 h 157425"/>
                  <a:gd name="connsiteX4" fmla="*/ 4125267 w 6148374"/>
                  <a:gd name="connsiteY4" fmla="*/ 14662 h 157425"/>
                  <a:gd name="connsiteX5" fmla="*/ 4939906 w 6148374"/>
                  <a:gd name="connsiteY5" fmla="*/ 14510 h 157425"/>
                  <a:gd name="connsiteX6" fmla="*/ 5938818 w 6148374"/>
                  <a:gd name="connsiteY6" fmla="*/ 24625 h 157425"/>
                  <a:gd name="connsiteX7" fmla="*/ 6148374 w 6148374"/>
                  <a:gd name="connsiteY7" fmla="*/ 31591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38818 w 5938818"/>
                  <a:gd name="connsiteY6" fmla="*/ 24625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25174 w 5938818"/>
                  <a:gd name="connsiteY6" fmla="*/ 40665 h 157425"/>
                  <a:gd name="connsiteX7" fmla="*/ 5938818 w 5938818"/>
                  <a:gd name="connsiteY7" fmla="*/ 24625 h 157425"/>
                  <a:gd name="connsiteX0" fmla="*/ 0 w 6360849"/>
                  <a:gd name="connsiteY0" fmla="*/ 157425 h 157425"/>
                  <a:gd name="connsiteX1" fmla="*/ 1250576 w 6360849"/>
                  <a:gd name="connsiteY1" fmla="*/ 114422 h 157425"/>
                  <a:gd name="connsiteX2" fmla="*/ 2171701 w 6360849"/>
                  <a:gd name="connsiteY2" fmla="*/ 66205 h 157425"/>
                  <a:gd name="connsiteX3" fmla="*/ 3306256 w 6360849"/>
                  <a:gd name="connsiteY3" fmla="*/ 0 h 157425"/>
                  <a:gd name="connsiteX4" fmla="*/ 4547298 w 6360849"/>
                  <a:gd name="connsiteY4" fmla="*/ 14662 h 157425"/>
                  <a:gd name="connsiteX5" fmla="*/ 5361937 w 6360849"/>
                  <a:gd name="connsiteY5" fmla="*/ 14510 h 157425"/>
                  <a:gd name="connsiteX6" fmla="*/ 6347205 w 6360849"/>
                  <a:gd name="connsiteY6" fmla="*/ 40665 h 157425"/>
                  <a:gd name="connsiteX7" fmla="*/ 6360849 w 6360849"/>
                  <a:gd name="connsiteY7" fmla="*/ 24625 h 157425"/>
                  <a:gd name="connsiteX0" fmla="*/ 0 w 6390994"/>
                  <a:gd name="connsiteY0" fmla="*/ 167473 h 167473"/>
                  <a:gd name="connsiteX1" fmla="*/ 1280721 w 6390994"/>
                  <a:gd name="connsiteY1" fmla="*/ 114422 h 167473"/>
                  <a:gd name="connsiteX2" fmla="*/ 2201846 w 6390994"/>
                  <a:gd name="connsiteY2" fmla="*/ 66205 h 167473"/>
                  <a:gd name="connsiteX3" fmla="*/ 3336401 w 6390994"/>
                  <a:gd name="connsiteY3" fmla="*/ 0 h 167473"/>
                  <a:gd name="connsiteX4" fmla="*/ 4577443 w 6390994"/>
                  <a:gd name="connsiteY4" fmla="*/ 14662 h 167473"/>
                  <a:gd name="connsiteX5" fmla="*/ 5392082 w 6390994"/>
                  <a:gd name="connsiteY5" fmla="*/ 14510 h 167473"/>
                  <a:gd name="connsiteX6" fmla="*/ 6377350 w 6390994"/>
                  <a:gd name="connsiteY6" fmla="*/ 40665 h 167473"/>
                  <a:gd name="connsiteX7" fmla="*/ 6390994 w 6390994"/>
                  <a:gd name="connsiteY7" fmla="*/ 24625 h 167473"/>
                  <a:gd name="connsiteX0" fmla="*/ 0 w 6390994"/>
                  <a:gd name="connsiteY0" fmla="*/ 167473 h 167473"/>
                  <a:gd name="connsiteX1" fmla="*/ 1280721 w 6390994"/>
                  <a:gd name="connsiteY1" fmla="*/ 114422 h 167473"/>
                  <a:gd name="connsiteX2" fmla="*/ 2201846 w 6390994"/>
                  <a:gd name="connsiteY2" fmla="*/ 66205 h 167473"/>
                  <a:gd name="connsiteX3" fmla="*/ 3336401 w 6390994"/>
                  <a:gd name="connsiteY3" fmla="*/ 0 h 167473"/>
                  <a:gd name="connsiteX4" fmla="*/ 4577443 w 6390994"/>
                  <a:gd name="connsiteY4" fmla="*/ 14662 h 167473"/>
                  <a:gd name="connsiteX5" fmla="*/ 5392082 w 6390994"/>
                  <a:gd name="connsiteY5" fmla="*/ 33974 h 167473"/>
                  <a:gd name="connsiteX6" fmla="*/ 6377350 w 6390994"/>
                  <a:gd name="connsiteY6" fmla="*/ 40665 h 167473"/>
                  <a:gd name="connsiteX7" fmla="*/ 6390994 w 6390994"/>
                  <a:gd name="connsiteY7" fmla="*/ 24625 h 1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90994" h="167473">
                    <a:moveTo>
                      <a:pt x="0" y="167473"/>
                    </a:moveTo>
                    <a:lnTo>
                      <a:pt x="1280721" y="114422"/>
                    </a:lnTo>
                    <a:lnTo>
                      <a:pt x="2201846" y="66205"/>
                    </a:lnTo>
                    <a:cubicBezTo>
                      <a:pt x="2544459" y="47135"/>
                      <a:pt x="2940468" y="8590"/>
                      <a:pt x="3336401" y="0"/>
                    </a:cubicBezTo>
                    <a:lnTo>
                      <a:pt x="4577443" y="14662"/>
                    </a:lnTo>
                    <a:cubicBezTo>
                      <a:pt x="4848989" y="14611"/>
                      <a:pt x="5120536" y="34025"/>
                      <a:pt x="5392082" y="33974"/>
                    </a:cubicBezTo>
                    <a:lnTo>
                      <a:pt x="6377350" y="40665"/>
                    </a:lnTo>
                    <a:lnTo>
                      <a:pt x="6390994" y="24625"/>
                    </a:ln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/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2692422" y="4782219"/>
              <a:ext cx="265398" cy="1126548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565321" y="4573594"/>
              <a:ext cx="265398" cy="1265425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2970726" y="4595121"/>
              <a:ext cx="2595957" cy="198971"/>
            </a:xfrm>
            <a:custGeom>
              <a:avLst/>
              <a:gdLst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57013 w 2164360"/>
                <a:gd name="connsiteY2" fmla="*/ 75501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14506 h 125835"/>
                <a:gd name="connsiteX4" fmla="*/ 2164360 w 2164360"/>
                <a:gd name="connsiteY4" fmla="*/ 0 h 125835"/>
                <a:gd name="connsiteX0" fmla="*/ 0 w 2164360"/>
                <a:gd name="connsiteY0" fmla="*/ 149648 h 149648"/>
                <a:gd name="connsiteX1" fmla="*/ 520118 w 2164360"/>
                <a:gd name="connsiteY1" fmla="*/ 107703 h 149648"/>
                <a:gd name="connsiteX2" fmla="*/ 1077110 w 2164360"/>
                <a:gd name="connsiteY2" fmla="*/ 69169 h 149648"/>
                <a:gd name="connsiteX3" fmla="*/ 1661020 w 2164360"/>
                <a:gd name="connsiteY3" fmla="*/ 38319 h 149648"/>
                <a:gd name="connsiteX4" fmla="*/ 2164360 w 2164360"/>
                <a:gd name="connsiteY4" fmla="*/ 0 h 1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360" h="149648">
                  <a:moveTo>
                    <a:pt x="0" y="149648"/>
                  </a:moveTo>
                  <a:cubicBezTo>
                    <a:pt x="171974" y="132870"/>
                    <a:pt x="340600" y="121116"/>
                    <a:pt x="520118" y="107703"/>
                  </a:cubicBezTo>
                  <a:lnTo>
                    <a:pt x="1077110" y="69169"/>
                  </a:lnTo>
                  <a:lnTo>
                    <a:pt x="1661020" y="38319"/>
                  </a:lnTo>
                  <a:cubicBezTo>
                    <a:pt x="1842228" y="26791"/>
                    <a:pt x="1996580" y="11185"/>
                    <a:pt x="2164360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982900" y="5819148"/>
              <a:ext cx="2553597" cy="81404"/>
            </a:xfrm>
            <a:custGeom>
              <a:avLst/>
              <a:gdLst>
                <a:gd name="connsiteX0" fmla="*/ 6628 w 2129043"/>
                <a:gd name="connsiteY0" fmla="*/ 58723 h 75814"/>
                <a:gd name="connsiteX1" fmla="*/ 73740 w 2129043"/>
                <a:gd name="connsiteY1" fmla="*/ 58723 h 75814"/>
                <a:gd name="connsiteX2" fmla="*/ 803582 w 2129043"/>
                <a:gd name="connsiteY2" fmla="*/ 75501 h 75814"/>
                <a:gd name="connsiteX3" fmla="*/ 1390812 w 2129043"/>
                <a:gd name="connsiteY3" fmla="*/ 41945 h 75814"/>
                <a:gd name="connsiteX4" fmla="*/ 1801872 w 2129043"/>
                <a:gd name="connsiteY4" fmla="*/ 41945 h 75814"/>
                <a:gd name="connsiteX5" fmla="*/ 2129043 w 2129043"/>
                <a:gd name="connsiteY5" fmla="*/ 0 h 75814"/>
                <a:gd name="connsiteX0" fmla="*/ 6628 w 2129043"/>
                <a:gd name="connsiteY0" fmla="*/ 58723 h 75512"/>
                <a:gd name="connsiteX1" fmla="*/ 73740 w 2129043"/>
                <a:gd name="connsiteY1" fmla="*/ 58723 h 75512"/>
                <a:gd name="connsiteX2" fmla="*/ 803582 w 2129043"/>
                <a:gd name="connsiteY2" fmla="*/ 75501 h 75512"/>
                <a:gd name="connsiteX3" fmla="*/ 1305087 w 2129043"/>
                <a:gd name="connsiteY3" fmla="*/ 60995 h 75512"/>
                <a:gd name="connsiteX4" fmla="*/ 1801872 w 2129043"/>
                <a:gd name="connsiteY4" fmla="*/ 41945 h 75512"/>
                <a:gd name="connsiteX5" fmla="*/ 2129043 w 2129043"/>
                <a:gd name="connsiteY5" fmla="*/ 0 h 75512"/>
                <a:gd name="connsiteX0" fmla="*/ 6628 w 2129043"/>
                <a:gd name="connsiteY0" fmla="*/ 44436 h 61225"/>
                <a:gd name="connsiteX1" fmla="*/ 73740 w 2129043"/>
                <a:gd name="connsiteY1" fmla="*/ 44436 h 61225"/>
                <a:gd name="connsiteX2" fmla="*/ 803582 w 2129043"/>
                <a:gd name="connsiteY2" fmla="*/ 61214 h 61225"/>
                <a:gd name="connsiteX3" fmla="*/ 1305087 w 2129043"/>
                <a:gd name="connsiteY3" fmla="*/ 46708 h 61225"/>
                <a:gd name="connsiteX4" fmla="*/ 1801872 w 2129043"/>
                <a:gd name="connsiteY4" fmla="*/ 27658 h 61225"/>
                <a:gd name="connsiteX5" fmla="*/ 2129043 w 2129043"/>
                <a:gd name="connsiteY5" fmla="*/ 0 h 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043" h="61225">
                  <a:moveTo>
                    <a:pt x="6628" y="44436"/>
                  </a:moveTo>
                  <a:cubicBezTo>
                    <a:pt x="-26229" y="43038"/>
                    <a:pt x="73740" y="44436"/>
                    <a:pt x="73740" y="44436"/>
                  </a:cubicBezTo>
                  <a:lnTo>
                    <a:pt x="803582" y="61214"/>
                  </a:lnTo>
                  <a:cubicBezTo>
                    <a:pt x="1008806" y="61593"/>
                    <a:pt x="1138705" y="52301"/>
                    <a:pt x="1305087" y="46708"/>
                  </a:cubicBezTo>
                  <a:lnTo>
                    <a:pt x="1801872" y="27658"/>
                  </a:lnTo>
                  <a:cubicBezTo>
                    <a:pt x="1939198" y="19873"/>
                    <a:pt x="2026976" y="17477"/>
                    <a:pt x="2129043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27" name="Straight Connector 26"/>
            <p:cNvCxnSpPr>
              <a:stCxn id="24" idx="1"/>
              <a:endCxn id="14" idx="4"/>
            </p:cNvCxnSpPr>
            <p:nvPr/>
          </p:nvCxnSpPr>
          <p:spPr>
            <a:xfrm flipH="1">
              <a:off x="2982624" y="4738322"/>
              <a:ext cx="611937" cy="115094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3518785" y="4686245"/>
              <a:ext cx="611939" cy="11509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4094543" y="4684568"/>
              <a:ext cx="533390" cy="116009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endCxn id="14" idx="3"/>
            </p:cNvCxnSpPr>
            <p:nvPr/>
          </p:nvCxnSpPr>
          <p:spPr>
            <a:xfrm flipH="1">
              <a:off x="4471143" y="4620883"/>
              <a:ext cx="571504" cy="128788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24" idx="4"/>
            </p:cNvCxnSpPr>
            <p:nvPr/>
          </p:nvCxnSpPr>
          <p:spPr>
            <a:xfrm flipH="1">
              <a:off x="4994535" y="4595121"/>
              <a:ext cx="572148" cy="124953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3017759" y="4794092"/>
              <a:ext cx="497029" cy="107617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3575848" y="4745788"/>
              <a:ext cx="518695" cy="116297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endCxn id="14" idx="3"/>
            </p:cNvCxnSpPr>
            <p:nvPr/>
          </p:nvCxnSpPr>
          <p:spPr>
            <a:xfrm>
              <a:off x="4130725" y="4738322"/>
              <a:ext cx="340418" cy="117044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616926" y="4676756"/>
              <a:ext cx="377608" cy="120723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054068" y="4658027"/>
              <a:ext cx="457015" cy="116393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reeform 41"/>
            <p:cNvSpPr/>
            <p:nvPr/>
          </p:nvSpPr>
          <p:spPr>
            <a:xfrm>
              <a:off x="848525" y="5751675"/>
              <a:ext cx="2116777" cy="114305"/>
            </a:xfrm>
            <a:custGeom>
              <a:avLst/>
              <a:gdLst>
                <a:gd name="connsiteX0" fmla="*/ 0 w 1698172"/>
                <a:gd name="connsiteY0" fmla="*/ 50566 h 60614"/>
                <a:gd name="connsiteX1" fmla="*/ 311499 w 1698172"/>
                <a:gd name="connsiteY1" fmla="*/ 20421 h 60614"/>
                <a:gd name="connsiteX2" fmla="*/ 663191 w 1698172"/>
                <a:gd name="connsiteY2" fmla="*/ 324 h 60614"/>
                <a:gd name="connsiteX3" fmla="*/ 914400 w 1698172"/>
                <a:gd name="connsiteY3" fmla="*/ 10372 h 60614"/>
                <a:gd name="connsiteX4" fmla="*/ 1286189 w 1698172"/>
                <a:gd name="connsiteY4" fmla="*/ 40517 h 60614"/>
                <a:gd name="connsiteX5" fmla="*/ 1698172 w 1698172"/>
                <a:gd name="connsiteY5" fmla="*/ 60614 h 60614"/>
                <a:gd name="connsiteX0" fmla="*/ 0 w 1698172"/>
                <a:gd name="connsiteY0" fmla="*/ 50530 h 60578"/>
                <a:gd name="connsiteX1" fmla="*/ 311499 w 1698172"/>
                <a:gd name="connsiteY1" fmla="*/ 20385 h 60578"/>
                <a:gd name="connsiteX2" fmla="*/ 663191 w 1698172"/>
                <a:gd name="connsiteY2" fmla="*/ 288 h 60578"/>
                <a:gd name="connsiteX3" fmla="*/ 914400 w 1698172"/>
                <a:gd name="connsiteY3" fmla="*/ 10336 h 60578"/>
                <a:gd name="connsiteX4" fmla="*/ 1376624 w 1698172"/>
                <a:gd name="connsiteY4" fmla="*/ 34929 h 60578"/>
                <a:gd name="connsiteX5" fmla="*/ 1698172 w 1698172"/>
                <a:gd name="connsiteY5" fmla="*/ 60578 h 60578"/>
                <a:gd name="connsiteX0" fmla="*/ 0 w 1698172"/>
                <a:gd name="connsiteY0" fmla="*/ 50500 h 60548"/>
                <a:gd name="connsiteX1" fmla="*/ 311499 w 1698172"/>
                <a:gd name="connsiteY1" fmla="*/ 20355 h 60548"/>
                <a:gd name="connsiteX2" fmla="*/ 663191 w 1698172"/>
                <a:gd name="connsiteY2" fmla="*/ 258 h 60548"/>
                <a:gd name="connsiteX3" fmla="*/ 914400 w 1698172"/>
                <a:gd name="connsiteY3" fmla="*/ 10306 h 60548"/>
                <a:gd name="connsiteX4" fmla="*/ 1436914 w 1698172"/>
                <a:gd name="connsiteY4" fmla="*/ 29346 h 60548"/>
                <a:gd name="connsiteX5" fmla="*/ 1698172 w 1698172"/>
                <a:gd name="connsiteY5" fmla="*/ 60548 h 60548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0360 h 60408"/>
                <a:gd name="connsiteX1" fmla="*/ 311499 w 1698172"/>
                <a:gd name="connsiteY1" fmla="*/ 20215 h 60408"/>
                <a:gd name="connsiteX2" fmla="*/ 663191 w 1698172"/>
                <a:gd name="connsiteY2" fmla="*/ 118 h 60408"/>
                <a:gd name="connsiteX3" fmla="*/ 1436914 w 1698172"/>
                <a:gd name="connsiteY3" fmla="*/ 29206 h 60408"/>
                <a:gd name="connsiteX4" fmla="*/ 1698172 w 1698172"/>
                <a:gd name="connsiteY4" fmla="*/ 60408 h 60408"/>
                <a:gd name="connsiteX0" fmla="*/ 0 w 1698172"/>
                <a:gd name="connsiteY0" fmla="*/ 32033 h 42081"/>
                <a:gd name="connsiteX1" fmla="*/ 311499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2033 h 42081"/>
                <a:gd name="connsiteX1" fmla="*/ 271306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8904 h 48952"/>
                <a:gd name="connsiteX1" fmla="*/ 271306 w 1698172"/>
                <a:gd name="connsiteY1" fmla="*/ 8759 h 48952"/>
                <a:gd name="connsiteX2" fmla="*/ 918168 w 1698172"/>
                <a:gd name="connsiteY2" fmla="*/ 345 h 48952"/>
                <a:gd name="connsiteX3" fmla="*/ 1436914 w 1698172"/>
                <a:gd name="connsiteY3" fmla="*/ 17750 h 48952"/>
                <a:gd name="connsiteX4" fmla="*/ 1698172 w 1698172"/>
                <a:gd name="connsiteY4" fmla="*/ 48952 h 48952"/>
                <a:gd name="connsiteX0" fmla="*/ 0 w 1698172"/>
                <a:gd name="connsiteY0" fmla="*/ 38559 h 48607"/>
                <a:gd name="connsiteX1" fmla="*/ 271306 w 1698172"/>
                <a:gd name="connsiteY1" fmla="*/ 8414 h 48607"/>
                <a:gd name="connsiteX2" fmla="*/ 918168 w 1698172"/>
                <a:gd name="connsiteY2" fmla="*/ 0 h 48607"/>
                <a:gd name="connsiteX3" fmla="*/ 1408339 w 1698172"/>
                <a:gd name="connsiteY3" fmla="*/ 1616 h 48607"/>
                <a:gd name="connsiteX4" fmla="*/ 1698172 w 1698172"/>
                <a:gd name="connsiteY4" fmla="*/ 48607 h 48607"/>
                <a:gd name="connsiteX0" fmla="*/ 0 w 1698172"/>
                <a:gd name="connsiteY0" fmla="*/ 54348 h 64396"/>
                <a:gd name="connsiteX1" fmla="*/ 271306 w 1698172"/>
                <a:gd name="connsiteY1" fmla="*/ 24203 h 64396"/>
                <a:gd name="connsiteX2" fmla="*/ 927693 w 1698172"/>
                <a:gd name="connsiteY2" fmla="*/ 0 h 64396"/>
                <a:gd name="connsiteX3" fmla="*/ 1408339 w 1698172"/>
                <a:gd name="connsiteY3" fmla="*/ 17405 h 64396"/>
                <a:gd name="connsiteX4" fmla="*/ 1698172 w 1698172"/>
                <a:gd name="connsiteY4" fmla="*/ 64396 h 64396"/>
                <a:gd name="connsiteX0" fmla="*/ 0 w 1698172"/>
                <a:gd name="connsiteY0" fmla="*/ 44945 h 54993"/>
                <a:gd name="connsiteX1" fmla="*/ 271306 w 1698172"/>
                <a:gd name="connsiteY1" fmla="*/ 14800 h 54993"/>
                <a:gd name="connsiteX2" fmla="*/ 870543 w 1698172"/>
                <a:gd name="connsiteY2" fmla="*/ 0 h 54993"/>
                <a:gd name="connsiteX3" fmla="*/ 1408339 w 1698172"/>
                <a:gd name="connsiteY3" fmla="*/ 8002 h 54993"/>
                <a:gd name="connsiteX4" fmla="*/ 1698172 w 1698172"/>
                <a:gd name="connsiteY4" fmla="*/ 54993 h 54993"/>
                <a:gd name="connsiteX0" fmla="*/ 0 w 1698172"/>
                <a:gd name="connsiteY0" fmla="*/ 45462 h 55510"/>
                <a:gd name="connsiteX1" fmla="*/ 271306 w 1698172"/>
                <a:gd name="connsiteY1" fmla="*/ 15317 h 55510"/>
                <a:gd name="connsiteX2" fmla="*/ 870543 w 1698172"/>
                <a:gd name="connsiteY2" fmla="*/ 517 h 55510"/>
                <a:gd name="connsiteX3" fmla="*/ 1408339 w 1698172"/>
                <a:gd name="connsiteY3" fmla="*/ 8519 h 55510"/>
                <a:gd name="connsiteX4" fmla="*/ 1698172 w 1698172"/>
                <a:gd name="connsiteY4" fmla="*/ 55510 h 5551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64847"/>
                <a:gd name="connsiteY0" fmla="*/ 35817 h 42434"/>
                <a:gd name="connsiteX1" fmla="*/ 280831 w 1764847"/>
                <a:gd name="connsiteY1" fmla="*/ 15075 h 42434"/>
                <a:gd name="connsiteX2" fmla="*/ 880068 w 1764847"/>
                <a:gd name="connsiteY2" fmla="*/ 275 h 42434"/>
                <a:gd name="connsiteX3" fmla="*/ 1417864 w 1764847"/>
                <a:gd name="connsiteY3" fmla="*/ 8277 h 42434"/>
                <a:gd name="connsiteX4" fmla="*/ 1764847 w 1764847"/>
                <a:gd name="connsiteY4" fmla="*/ 41164 h 4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4847" h="42434">
                  <a:moveTo>
                    <a:pt x="0" y="35817"/>
                  </a:moveTo>
                  <a:cubicBezTo>
                    <a:pt x="100483" y="24931"/>
                    <a:pt x="134153" y="20999"/>
                    <a:pt x="280831" y="15075"/>
                  </a:cubicBezTo>
                  <a:cubicBezTo>
                    <a:pt x="427509" y="9151"/>
                    <a:pt x="690563" y="1408"/>
                    <a:pt x="880068" y="275"/>
                  </a:cubicBezTo>
                  <a:cubicBezTo>
                    <a:pt x="1069573" y="-858"/>
                    <a:pt x="1270401" y="1462"/>
                    <a:pt x="1417864" y="8277"/>
                  </a:cubicBezTo>
                  <a:cubicBezTo>
                    <a:pt x="1565327" y="15092"/>
                    <a:pt x="1624170" y="49407"/>
                    <a:pt x="1764847" y="41164"/>
                  </a:cubicBezTo>
                </a:path>
              </a:pathLst>
            </a:custGeom>
            <a:solidFill>
              <a:schemeClr val="bg1">
                <a:lumMod val="65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799690" y="4749862"/>
              <a:ext cx="2229640" cy="243726"/>
            </a:xfrm>
            <a:custGeom>
              <a:avLst/>
              <a:gdLst>
                <a:gd name="connsiteX0" fmla="*/ 0 w 1858946"/>
                <a:gd name="connsiteY0" fmla="*/ 120580 h 141257"/>
                <a:gd name="connsiteX1" fmla="*/ 522515 w 1858946"/>
                <a:gd name="connsiteY1" fmla="*/ 140677 h 141257"/>
                <a:gd name="connsiteX2" fmla="*/ 1034981 w 1858946"/>
                <a:gd name="connsiteY2" fmla="*/ 100483 h 141257"/>
                <a:gd name="connsiteX3" fmla="*/ 1597688 w 1858946"/>
                <a:gd name="connsiteY3" fmla="*/ 60290 h 141257"/>
                <a:gd name="connsiteX4" fmla="*/ 1858946 w 1858946"/>
                <a:gd name="connsiteY4" fmla="*/ 0 h 141257"/>
                <a:gd name="connsiteX0" fmla="*/ 0 w 1858946"/>
                <a:gd name="connsiteY0" fmla="*/ 120580 h 140953"/>
                <a:gd name="connsiteX1" fmla="*/ 522515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0953"/>
                <a:gd name="connsiteX1" fmla="*/ 474890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8946" h="140953">
                  <a:moveTo>
                    <a:pt x="0" y="120580"/>
                  </a:moveTo>
                  <a:cubicBezTo>
                    <a:pt x="175009" y="132303"/>
                    <a:pt x="303981" y="142806"/>
                    <a:pt x="474890" y="140677"/>
                  </a:cubicBezTo>
                  <a:cubicBezTo>
                    <a:pt x="645799" y="138548"/>
                    <a:pt x="838323" y="121205"/>
                    <a:pt x="1025456" y="107807"/>
                  </a:cubicBezTo>
                  <a:cubicBezTo>
                    <a:pt x="1212589" y="94409"/>
                    <a:pt x="1458773" y="78258"/>
                    <a:pt x="1597688" y="60290"/>
                  </a:cubicBezTo>
                  <a:cubicBezTo>
                    <a:pt x="1736603" y="42322"/>
                    <a:pt x="1796981" y="21771"/>
                    <a:pt x="1858946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5584375" y="5466040"/>
              <a:ext cx="2916608" cy="369478"/>
            </a:xfrm>
            <a:custGeom>
              <a:avLst/>
              <a:gdLst>
                <a:gd name="connsiteX0" fmla="*/ 0 w 1999622"/>
                <a:gd name="connsiteY0" fmla="*/ 222955 h 222955"/>
                <a:gd name="connsiteX1" fmla="*/ 261257 w 1999622"/>
                <a:gd name="connsiteY1" fmla="*/ 202858 h 222955"/>
                <a:gd name="connsiteX2" fmla="*/ 562708 w 1999622"/>
                <a:gd name="connsiteY2" fmla="*/ 152617 h 222955"/>
                <a:gd name="connsiteX3" fmla="*/ 924448 w 1999622"/>
                <a:gd name="connsiteY3" fmla="*/ 102375 h 222955"/>
                <a:gd name="connsiteX4" fmla="*/ 1205802 w 1999622"/>
                <a:gd name="connsiteY4" fmla="*/ 11940 h 222955"/>
                <a:gd name="connsiteX5" fmla="*/ 1557495 w 1999622"/>
                <a:gd name="connsiteY5" fmla="*/ 11940 h 222955"/>
                <a:gd name="connsiteX6" fmla="*/ 1899139 w 1999622"/>
                <a:gd name="connsiteY6" fmla="*/ 112423 h 222955"/>
                <a:gd name="connsiteX7" fmla="*/ 1999622 w 1999622"/>
                <a:gd name="connsiteY7" fmla="*/ 142568 h 222955"/>
                <a:gd name="connsiteX0" fmla="*/ 0 w 2431701"/>
                <a:gd name="connsiteY0" fmla="*/ 222955 h 222955"/>
                <a:gd name="connsiteX1" fmla="*/ 261257 w 2431701"/>
                <a:gd name="connsiteY1" fmla="*/ 202858 h 222955"/>
                <a:gd name="connsiteX2" fmla="*/ 562708 w 2431701"/>
                <a:gd name="connsiteY2" fmla="*/ 152617 h 222955"/>
                <a:gd name="connsiteX3" fmla="*/ 924448 w 2431701"/>
                <a:gd name="connsiteY3" fmla="*/ 102375 h 222955"/>
                <a:gd name="connsiteX4" fmla="*/ 1205802 w 2431701"/>
                <a:gd name="connsiteY4" fmla="*/ 11940 h 222955"/>
                <a:gd name="connsiteX5" fmla="*/ 1557495 w 2431701"/>
                <a:gd name="connsiteY5" fmla="*/ 11940 h 222955"/>
                <a:gd name="connsiteX6" fmla="*/ 1899139 w 2431701"/>
                <a:gd name="connsiteY6" fmla="*/ 112423 h 222955"/>
                <a:gd name="connsiteX7" fmla="*/ 2431701 w 2431701"/>
                <a:gd name="connsiteY7" fmla="*/ 142568 h 222955"/>
                <a:gd name="connsiteX0" fmla="*/ 0 w 2431701"/>
                <a:gd name="connsiteY0" fmla="*/ 220976 h 220976"/>
                <a:gd name="connsiteX1" fmla="*/ 261257 w 2431701"/>
                <a:gd name="connsiteY1" fmla="*/ 200879 h 220976"/>
                <a:gd name="connsiteX2" fmla="*/ 562708 w 2431701"/>
                <a:gd name="connsiteY2" fmla="*/ 150638 h 220976"/>
                <a:gd name="connsiteX3" fmla="*/ 924448 w 2431701"/>
                <a:gd name="connsiteY3" fmla="*/ 100396 h 220976"/>
                <a:gd name="connsiteX4" fmla="*/ 1205802 w 2431701"/>
                <a:gd name="connsiteY4" fmla="*/ 9961 h 220976"/>
                <a:gd name="connsiteX5" fmla="*/ 1557495 w 2431701"/>
                <a:gd name="connsiteY5" fmla="*/ 9961 h 220976"/>
                <a:gd name="connsiteX6" fmla="*/ 1949381 w 2431701"/>
                <a:gd name="connsiteY6" fmla="*/ 78120 h 220976"/>
                <a:gd name="connsiteX7" fmla="*/ 2431701 w 2431701"/>
                <a:gd name="connsiteY7" fmla="*/ 140589 h 220976"/>
                <a:gd name="connsiteX0" fmla="*/ 0 w 2431701"/>
                <a:gd name="connsiteY0" fmla="*/ 223477 h 223477"/>
                <a:gd name="connsiteX1" fmla="*/ 261257 w 2431701"/>
                <a:gd name="connsiteY1" fmla="*/ 20338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1701" h="223477">
                  <a:moveTo>
                    <a:pt x="0" y="223477"/>
                  </a:moveTo>
                  <a:cubicBezTo>
                    <a:pt x="83736" y="219290"/>
                    <a:pt x="167472" y="215103"/>
                    <a:pt x="261257" y="203380"/>
                  </a:cubicBezTo>
                  <a:cubicBezTo>
                    <a:pt x="355042" y="191657"/>
                    <a:pt x="452176" y="169886"/>
                    <a:pt x="562708" y="153139"/>
                  </a:cubicBezTo>
                  <a:cubicBezTo>
                    <a:pt x="673240" y="136392"/>
                    <a:pt x="817266" y="126343"/>
                    <a:pt x="924448" y="102897"/>
                  </a:cubicBezTo>
                  <a:cubicBezTo>
                    <a:pt x="1031630" y="79451"/>
                    <a:pt x="1100294" y="27534"/>
                    <a:pt x="1205802" y="12462"/>
                  </a:cubicBezTo>
                  <a:cubicBezTo>
                    <a:pt x="1311310" y="-2610"/>
                    <a:pt x="1433565" y="-5632"/>
                    <a:pt x="1557495" y="12462"/>
                  </a:cubicBezTo>
                  <a:cubicBezTo>
                    <a:pt x="1681425" y="30556"/>
                    <a:pt x="1803680" y="99254"/>
                    <a:pt x="1949381" y="121025"/>
                  </a:cubicBezTo>
                  <a:cubicBezTo>
                    <a:pt x="2095082" y="142796"/>
                    <a:pt x="2254180" y="133042"/>
                    <a:pt x="2431701" y="14309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5596429" y="4476644"/>
              <a:ext cx="2808140" cy="326582"/>
            </a:xfrm>
            <a:custGeom>
              <a:avLst/>
              <a:gdLst>
                <a:gd name="connsiteX0" fmla="*/ 0 w 1979525"/>
                <a:gd name="connsiteY0" fmla="*/ 80387 h 161890"/>
                <a:gd name="connsiteX1" fmla="*/ 291402 w 1979525"/>
                <a:gd name="connsiteY1" fmla="*/ 100484 h 161890"/>
                <a:gd name="connsiteX2" fmla="*/ 572756 w 1979525"/>
                <a:gd name="connsiteY2" fmla="*/ 100484 h 161890"/>
                <a:gd name="connsiteX3" fmla="*/ 854110 w 1979525"/>
                <a:gd name="connsiteY3" fmla="*/ 100484 h 161890"/>
                <a:gd name="connsiteX4" fmla="*/ 1135464 w 1979525"/>
                <a:gd name="connsiteY4" fmla="*/ 150726 h 161890"/>
                <a:gd name="connsiteX5" fmla="*/ 1436914 w 1979525"/>
                <a:gd name="connsiteY5" fmla="*/ 150726 h 161890"/>
                <a:gd name="connsiteX6" fmla="*/ 1688123 w 1979525"/>
                <a:gd name="connsiteY6" fmla="*/ 150726 h 161890"/>
                <a:gd name="connsiteX7" fmla="*/ 1979525 w 1979525"/>
                <a:gd name="connsiteY7" fmla="*/ 0 h 161890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54110 w 1979525"/>
                <a:gd name="connsiteY3" fmla="*/ 100484 h 221064"/>
                <a:gd name="connsiteX4" fmla="*/ 1135464 w 1979525"/>
                <a:gd name="connsiteY4" fmla="*/ 150726 h 221064"/>
                <a:gd name="connsiteX5" fmla="*/ 1436914 w 1979525"/>
                <a:gd name="connsiteY5" fmla="*/ 221064 h 221064"/>
                <a:gd name="connsiteX6" fmla="*/ 1688123 w 1979525"/>
                <a:gd name="connsiteY6" fmla="*/ 150726 h 221064"/>
                <a:gd name="connsiteX7" fmla="*/ 1979525 w 1979525"/>
                <a:gd name="connsiteY7" fmla="*/ 0 h 221064"/>
                <a:gd name="connsiteX0" fmla="*/ 0 w 1979525"/>
                <a:gd name="connsiteY0" fmla="*/ 80387 h 221297"/>
                <a:gd name="connsiteX1" fmla="*/ 291402 w 1979525"/>
                <a:gd name="connsiteY1" fmla="*/ 100484 h 221297"/>
                <a:gd name="connsiteX2" fmla="*/ 572756 w 1979525"/>
                <a:gd name="connsiteY2" fmla="*/ 100484 h 221297"/>
                <a:gd name="connsiteX3" fmla="*/ 854110 w 1979525"/>
                <a:gd name="connsiteY3" fmla="*/ 100484 h 221297"/>
                <a:gd name="connsiteX4" fmla="*/ 1095271 w 1979525"/>
                <a:gd name="connsiteY4" fmla="*/ 170823 h 221297"/>
                <a:gd name="connsiteX5" fmla="*/ 1436914 w 1979525"/>
                <a:gd name="connsiteY5" fmla="*/ 221064 h 221297"/>
                <a:gd name="connsiteX6" fmla="*/ 1688123 w 1979525"/>
                <a:gd name="connsiteY6" fmla="*/ 150726 h 221297"/>
                <a:gd name="connsiteX7" fmla="*/ 1979525 w 1979525"/>
                <a:gd name="connsiteY7" fmla="*/ 0 h 221297"/>
                <a:gd name="connsiteX0" fmla="*/ 0 w 1979525"/>
                <a:gd name="connsiteY0" fmla="*/ 80387 h 221261"/>
                <a:gd name="connsiteX1" fmla="*/ 291402 w 1979525"/>
                <a:gd name="connsiteY1" fmla="*/ 100484 h 221261"/>
                <a:gd name="connsiteX2" fmla="*/ 572756 w 1979525"/>
                <a:gd name="connsiteY2" fmla="*/ 100484 h 221261"/>
                <a:gd name="connsiteX3" fmla="*/ 813916 w 1979525"/>
                <a:gd name="connsiteY3" fmla="*/ 140678 h 221261"/>
                <a:gd name="connsiteX4" fmla="*/ 1095271 w 1979525"/>
                <a:gd name="connsiteY4" fmla="*/ 170823 h 221261"/>
                <a:gd name="connsiteX5" fmla="*/ 1436914 w 1979525"/>
                <a:gd name="connsiteY5" fmla="*/ 221064 h 221261"/>
                <a:gd name="connsiteX6" fmla="*/ 1688123 w 1979525"/>
                <a:gd name="connsiteY6" fmla="*/ 150726 h 221261"/>
                <a:gd name="connsiteX7" fmla="*/ 1979525 w 1979525"/>
                <a:gd name="connsiteY7" fmla="*/ 0 h 221261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13916 w 1979525"/>
                <a:gd name="connsiteY3" fmla="*/ 140678 h 221064"/>
                <a:gd name="connsiteX4" fmla="*/ 1095271 w 1979525"/>
                <a:gd name="connsiteY4" fmla="*/ 170823 h 221064"/>
                <a:gd name="connsiteX5" fmla="*/ 1436914 w 1979525"/>
                <a:gd name="connsiteY5" fmla="*/ 221064 h 221064"/>
                <a:gd name="connsiteX6" fmla="*/ 1748414 w 1979525"/>
                <a:gd name="connsiteY6" fmla="*/ 170823 h 221064"/>
                <a:gd name="connsiteX7" fmla="*/ 1979525 w 1979525"/>
                <a:gd name="connsiteY7" fmla="*/ 0 h 221064"/>
                <a:gd name="connsiteX0" fmla="*/ 0 w 1979525"/>
                <a:gd name="connsiteY0" fmla="*/ 80387 h 221480"/>
                <a:gd name="connsiteX1" fmla="*/ 291402 w 1979525"/>
                <a:gd name="connsiteY1" fmla="*/ 100484 h 221480"/>
                <a:gd name="connsiteX2" fmla="*/ 572756 w 1979525"/>
                <a:gd name="connsiteY2" fmla="*/ 100484 h 221480"/>
                <a:gd name="connsiteX3" fmla="*/ 813916 w 1979525"/>
                <a:gd name="connsiteY3" fmla="*/ 140678 h 221480"/>
                <a:gd name="connsiteX4" fmla="*/ 1095271 w 1979525"/>
                <a:gd name="connsiteY4" fmla="*/ 170823 h 221480"/>
                <a:gd name="connsiteX5" fmla="*/ 1436914 w 1979525"/>
                <a:gd name="connsiteY5" fmla="*/ 221064 h 221480"/>
                <a:gd name="connsiteX6" fmla="*/ 1738366 w 1979525"/>
                <a:gd name="connsiteY6" fmla="*/ 140678 h 221480"/>
                <a:gd name="connsiteX7" fmla="*/ 1979525 w 1979525"/>
                <a:gd name="connsiteY7" fmla="*/ 0 h 221480"/>
                <a:gd name="connsiteX0" fmla="*/ 0 w 2351314"/>
                <a:gd name="connsiteY0" fmla="*/ 62471 h 203564"/>
                <a:gd name="connsiteX1" fmla="*/ 291402 w 2351314"/>
                <a:gd name="connsiteY1" fmla="*/ 82568 h 203564"/>
                <a:gd name="connsiteX2" fmla="*/ 572756 w 2351314"/>
                <a:gd name="connsiteY2" fmla="*/ 82568 h 203564"/>
                <a:gd name="connsiteX3" fmla="*/ 813916 w 2351314"/>
                <a:gd name="connsiteY3" fmla="*/ 122762 h 203564"/>
                <a:gd name="connsiteX4" fmla="*/ 1095271 w 2351314"/>
                <a:gd name="connsiteY4" fmla="*/ 152907 h 203564"/>
                <a:gd name="connsiteX5" fmla="*/ 1436914 w 2351314"/>
                <a:gd name="connsiteY5" fmla="*/ 203148 h 203564"/>
                <a:gd name="connsiteX6" fmla="*/ 1738366 w 2351314"/>
                <a:gd name="connsiteY6" fmla="*/ 122762 h 203564"/>
                <a:gd name="connsiteX7" fmla="*/ 2351314 w 2351314"/>
                <a:gd name="connsiteY7" fmla="*/ 0 h 203564"/>
                <a:gd name="connsiteX0" fmla="*/ 0 w 2351314"/>
                <a:gd name="connsiteY0" fmla="*/ 62471 h 205155"/>
                <a:gd name="connsiteX1" fmla="*/ 291402 w 2351314"/>
                <a:gd name="connsiteY1" fmla="*/ 82568 h 205155"/>
                <a:gd name="connsiteX2" fmla="*/ 572756 w 2351314"/>
                <a:gd name="connsiteY2" fmla="*/ 82568 h 205155"/>
                <a:gd name="connsiteX3" fmla="*/ 813916 w 2351314"/>
                <a:gd name="connsiteY3" fmla="*/ 122762 h 205155"/>
                <a:gd name="connsiteX4" fmla="*/ 1095271 w 2351314"/>
                <a:gd name="connsiteY4" fmla="*/ 152907 h 205155"/>
                <a:gd name="connsiteX5" fmla="*/ 1436914 w 2351314"/>
                <a:gd name="connsiteY5" fmla="*/ 203148 h 205155"/>
                <a:gd name="connsiteX6" fmla="*/ 1818752 w 2351314"/>
                <a:gd name="connsiteY6" fmla="*/ 77974 h 205155"/>
                <a:gd name="connsiteX7" fmla="*/ 2351314 w 2351314"/>
                <a:gd name="connsiteY7" fmla="*/ 0 h 205155"/>
                <a:gd name="connsiteX0" fmla="*/ 0 w 2381459"/>
                <a:gd name="connsiteY0" fmla="*/ 24785 h 167469"/>
                <a:gd name="connsiteX1" fmla="*/ 291402 w 2381459"/>
                <a:gd name="connsiteY1" fmla="*/ 44882 h 167469"/>
                <a:gd name="connsiteX2" fmla="*/ 572756 w 2381459"/>
                <a:gd name="connsiteY2" fmla="*/ 44882 h 167469"/>
                <a:gd name="connsiteX3" fmla="*/ 813916 w 2381459"/>
                <a:gd name="connsiteY3" fmla="*/ 85076 h 167469"/>
                <a:gd name="connsiteX4" fmla="*/ 1095271 w 2381459"/>
                <a:gd name="connsiteY4" fmla="*/ 115221 h 167469"/>
                <a:gd name="connsiteX5" fmla="*/ 1436914 w 2381459"/>
                <a:gd name="connsiteY5" fmla="*/ 165462 h 167469"/>
                <a:gd name="connsiteX6" fmla="*/ 1818752 w 2381459"/>
                <a:gd name="connsiteY6" fmla="*/ 40288 h 167469"/>
                <a:gd name="connsiteX7" fmla="*/ 2381459 w 2381459"/>
                <a:gd name="connsiteY7" fmla="*/ 0 h 167469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41266"/>
                <a:gd name="connsiteY0" fmla="*/ 45261 h 166844"/>
                <a:gd name="connsiteX1" fmla="*/ 251209 w 2341266"/>
                <a:gd name="connsiteY1" fmla="*/ 44882 h 166844"/>
                <a:gd name="connsiteX2" fmla="*/ 532563 w 2341266"/>
                <a:gd name="connsiteY2" fmla="*/ 44882 h 166844"/>
                <a:gd name="connsiteX3" fmla="*/ 773723 w 2341266"/>
                <a:gd name="connsiteY3" fmla="*/ 85076 h 166844"/>
                <a:gd name="connsiteX4" fmla="*/ 1055078 w 2341266"/>
                <a:gd name="connsiteY4" fmla="*/ 115221 h 166844"/>
                <a:gd name="connsiteX5" fmla="*/ 1396721 w 2341266"/>
                <a:gd name="connsiteY5" fmla="*/ 165462 h 166844"/>
                <a:gd name="connsiteX6" fmla="*/ 1778559 w 2341266"/>
                <a:gd name="connsiteY6" fmla="*/ 55363 h 166844"/>
                <a:gd name="connsiteX7" fmla="*/ 2341266 w 2341266"/>
                <a:gd name="connsiteY7" fmla="*/ 0 h 166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41266" h="166844">
                  <a:moveTo>
                    <a:pt x="0" y="45261"/>
                  </a:moveTo>
                  <a:cubicBezTo>
                    <a:pt x="97971" y="53634"/>
                    <a:pt x="162449" y="44945"/>
                    <a:pt x="251209" y="44882"/>
                  </a:cubicBezTo>
                  <a:cubicBezTo>
                    <a:pt x="339969" y="44819"/>
                    <a:pt x="445477" y="38183"/>
                    <a:pt x="532563" y="44882"/>
                  </a:cubicBezTo>
                  <a:cubicBezTo>
                    <a:pt x="619649" y="51581"/>
                    <a:pt x="686637" y="73353"/>
                    <a:pt x="773723" y="85076"/>
                  </a:cubicBezTo>
                  <a:cubicBezTo>
                    <a:pt x="860809" y="96799"/>
                    <a:pt x="951245" y="101823"/>
                    <a:pt x="1055078" y="115221"/>
                  </a:cubicBezTo>
                  <a:cubicBezTo>
                    <a:pt x="1158911" y="128619"/>
                    <a:pt x="1276141" y="175438"/>
                    <a:pt x="1396721" y="165462"/>
                  </a:cubicBezTo>
                  <a:cubicBezTo>
                    <a:pt x="1517301" y="155486"/>
                    <a:pt x="1621135" y="82940"/>
                    <a:pt x="1778559" y="55363"/>
                  </a:cubicBezTo>
                  <a:cubicBezTo>
                    <a:pt x="1935983" y="27786"/>
                    <a:pt x="2240782" y="62802"/>
                    <a:pt x="2341266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 flipV="1">
              <a:off x="2702090" y="5926216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>
            <a:xfrm flipV="1">
              <a:off x="5838632" y="5926216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2696949" y="5982761"/>
              <a:ext cx="3153108" cy="718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dirty="0">
                  <a:latin typeface="Arial" panose="020B0604020202020204" pitchFamily="34" charset="0"/>
                  <a:cs typeface="Arial" panose="020B0604020202020204" pitchFamily="34" charset="0"/>
                </a:rPr>
                <a:t>Stent + 5 mm </a:t>
              </a:r>
            </a:p>
            <a:p>
              <a:pPr algn="ctr"/>
              <a:r>
                <a:rPr lang="en-US" sz="1013" dirty="0">
                  <a:latin typeface="Arial" panose="020B0604020202020204" pitchFamily="34" charset="0"/>
                  <a:cs typeface="Arial" panose="020B0604020202020204" pitchFamily="34" charset="0"/>
                </a:rPr>
                <a:t>Reference Segment</a:t>
              </a:r>
            </a:p>
          </p:txBody>
        </p:sp>
        <p:cxnSp>
          <p:nvCxnSpPr>
            <p:cNvPr id="65" name="Straight Arrow Connector 64"/>
            <p:cNvCxnSpPr/>
            <p:nvPr/>
          </p:nvCxnSpPr>
          <p:spPr>
            <a:xfrm flipV="1">
              <a:off x="7255256" y="5926216"/>
              <a:ext cx="0" cy="485519"/>
            </a:xfrm>
            <a:prstGeom prst="straightConnector1">
              <a:avLst/>
            </a:prstGeom>
            <a:ln w="158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/>
            <p:cNvSpPr txBox="1"/>
            <p:nvPr/>
          </p:nvSpPr>
          <p:spPr>
            <a:xfrm>
              <a:off x="6028287" y="4847954"/>
              <a:ext cx="2634547" cy="500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nosis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855208" y="5127486"/>
              <a:ext cx="789838" cy="410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66598" y="6412906"/>
              <a:ext cx="390769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705576" y="6412906"/>
              <a:ext cx="390769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544238" y="4329868"/>
              <a:ext cx="605821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74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5524202" y="4093534"/>
              <a:ext cx="651706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74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7734194" y="3801146"/>
              <a:ext cx="624266" cy="90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9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9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03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364874" y="4251985"/>
              <a:ext cx="624668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74</a:t>
              </a:r>
            </a:p>
          </p:txBody>
        </p:sp>
        <p:cxnSp>
          <p:nvCxnSpPr>
            <p:cNvPr id="86" name="Straight Arrow Connector 85"/>
            <p:cNvCxnSpPr/>
            <p:nvPr/>
          </p:nvCxnSpPr>
          <p:spPr>
            <a:xfrm flipV="1">
              <a:off x="1226260" y="4549472"/>
              <a:ext cx="1066900" cy="4200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/>
            <p:cNvCxnSpPr/>
            <p:nvPr/>
          </p:nvCxnSpPr>
          <p:spPr>
            <a:xfrm flipV="1">
              <a:off x="3061254" y="4412022"/>
              <a:ext cx="2347177" cy="10157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>
              <a:stCxn id="82" idx="3"/>
            </p:cNvCxnSpPr>
            <p:nvPr/>
          </p:nvCxnSpPr>
          <p:spPr>
            <a:xfrm flipV="1">
              <a:off x="6175908" y="4093537"/>
              <a:ext cx="1606017" cy="405408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1BE3A809-E855-4FDD-A150-98D054FB5F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3555745"/>
              </p:ext>
            </p:extLst>
          </p:nvPr>
        </p:nvGraphicFramePr>
        <p:xfrm>
          <a:off x="5773274" y="978369"/>
          <a:ext cx="3318487" cy="332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0" name="TextBox 59">
            <a:extLst>
              <a:ext uri="{FF2B5EF4-FFF2-40B4-BE49-F238E27FC236}">
                <a16:creationId xmlns:a16="http://schemas.microsoft.com/office/drawing/2014/main" id="{06FEF263-4FFF-4680-A5FB-9C80D6907A2A}"/>
              </a:ext>
            </a:extLst>
          </p:cNvPr>
          <p:cNvSpPr txBox="1"/>
          <p:nvPr/>
        </p:nvSpPr>
        <p:spPr>
          <a:xfrm>
            <a:off x="1498366" y="259767"/>
            <a:ext cx="6095559" cy="4214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475" b="1" dirty="0">
                <a:solidFill>
                  <a:srgbClr val="002060"/>
                </a:solidFill>
                <a:sym typeface="Helvetica Light"/>
              </a:rPr>
              <a:t>Focal Residual Pressure Gradient </a:t>
            </a:r>
            <a:r>
              <a:rPr lang="en-US" sz="2475" b="1" dirty="0" err="1">
                <a:solidFill>
                  <a:srgbClr val="002060"/>
                </a:solidFill>
                <a:sym typeface="Helvetica Light"/>
              </a:rPr>
              <a:t>Prox</a:t>
            </a:r>
            <a:r>
              <a:rPr lang="en-US" sz="2475" b="1" dirty="0">
                <a:solidFill>
                  <a:srgbClr val="002060"/>
                </a:solidFill>
                <a:sym typeface="Helvetica Light"/>
              </a:rPr>
              <a:t> to st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DF2C077-ABCF-4673-A537-CBD577B5D100}"/>
              </a:ext>
            </a:extLst>
          </p:cNvPr>
          <p:cNvSpPr/>
          <p:nvPr/>
        </p:nvSpPr>
        <p:spPr>
          <a:xfrm>
            <a:off x="1543722" y="606391"/>
            <a:ext cx="58126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‘Physiologic </a:t>
            </a:r>
            <a:r>
              <a:rPr lang="en-US" sz="1500" dirty="0" err="1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miss’</a:t>
            </a:r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 occurred in 31.5% of focal lesions proximally</a:t>
            </a:r>
            <a:endParaRPr lang="en-US" sz="1500" dirty="0">
              <a:solidFill>
                <a:srgbClr val="0B1B39"/>
              </a:solidFill>
              <a:latin typeface="+mj-lt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051B8866-F5E4-4219-87D1-279F84E6D54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6957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>
            <a:off x="1708536" y="885741"/>
            <a:ext cx="3279360" cy="2199200"/>
            <a:chOff x="1476743" y="499487"/>
            <a:chExt cx="5178590" cy="3525221"/>
          </a:xfrm>
        </p:grpSpPr>
        <p:pic>
          <p:nvPicPr>
            <p:cNvPr id="87" name="Picture 2" descr="N:\IVUS\IVUS TRIALS\Current\Define PCI\Images\Site 060\0001\CASS13\2.16.840.1.113977.6.4580.4.20171201.193318.6.2.4.bmp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33" t="6352" r="2062" b="33156"/>
            <a:stretch/>
          </p:blipFill>
          <p:spPr bwMode="auto">
            <a:xfrm>
              <a:off x="1476743" y="571500"/>
              <a:ext cx="4973918" cy="3453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2" descr="N:\IVUS\IVUS TRIALS\Current\Define PCI\Images\Site 060\0001\CASS13\2.16.840.1.113977.6.4580.4.20171201.193318.6.2.4.bmp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90" t="14594" r="77193" b="61609"/>
            <a:stretch/>
          </p:blipFill>
          <p:spPr bwMode="auto">
            <a:xfrm>
              <a:off x="1890827" y="648981"/>
              <a:ext cx="675771" cy="751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1" name="Straight Connector 90"/>
            <p:cNvCxnSpPr/>
            <p:nvPr/>
          </p:nvCxnSpPr>
          <p:spPr>
            <a:xfrm flipH="1" flipV="1">
              <a:off x="4327423" y="1542822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 flipH="1" flipV="1">
              <a:off x="5795606" y="1562810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/>
            <p:cNvSpPr txBox="1"/>
            <p:nvPr/>
          </p:nvSpPr>
          <p:spPr>
            <a:xfrm>
              <a:off x="4335408" y="2100609"/>
              <a:ext cx="1450674" cy="718146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Reference Segment</a:t>
              </a:r>
            </a:p>
          </p:txBody>
        </p:sp>
        <p:cxnSp>
          <p:nvCxnSpPr>
            <p:cNvPr id="94" name="Straight Arrow Connector 93"/>
            <p:cNvCxnSpPr/>
            <p:nvPr/>
          </p:nvCxnSpPr>
          <p:spPr>
            <a:xfrm flipV="1">
              <a:off x="4319439" y="1636692"/>
              <a:ext cx="1476167" cy="1608"/>
            </a:xfrm>
            <a:prstGeom prst="straightConnector1">
              <a:avLst/>
            </a:prstGeom>
            <a:ln w="19050">
              <a:solidFill>
                <a:schemeClr val="bg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/>
            <p:cNvSpPr txBox="1"/>
            <p:nvPr/>
          </p:nvSpPr>
          <p:spPr>
            <a:xfrm>
              <a:off x="2509440" y="530632"/>
              <a:ext cx="78141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al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5625991" y="499487"/>
              <a:ext cx="102934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ximal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708496" y="1314375"/>
              <a:ext cx="709293" cy="3423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</a:t>
              </a:r>
              <a:r>
                <a:rPr lang="en-US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25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187367" y="1760422"/>
              <a:ext cx="1285822" cy="3488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p-up</a:t>
              </a:r>
            </a:p>
          </p:txBody>
        </p:sp>
        <p:cxnSp>
          <p:nvCxnSpPr>
            <p:cNvPr id="99" name="Straight Arrow Connector 98"/>
            <p:cNvCxnSpPr/>
            <p:nvPr/>
          </p:nvCxnSpPr>
          <p:spPr>
            <a:xfrm flipV="1">
              <a:off x="3757395" y="1270366"/>
              <a:ext cx="0" cy="333619"/>
            </a:xfrm>
            <a:prstGeom prst="straightConnector1">
              <a:avLst/>
            </a:prstGeom>
            <a:ln w="15875">
              <a:solidFill>
                <a:srgbClr val="FFFF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1358720" y="2980535"/>
            <a:ext cx="5409470" cy="2019641"/>
            <a:chOff x="63432" y="3851796"/>
            <a:chExt cx="8437561" cy="2953570"/>
          </a:xfrm>
        </p:grpSpPr>
        <p:grpSp>
          <p:nvGrpSpPr>
            <p:cNvPr id="12" name="Group 11"/>
            <p:cNvGrpSpPr/>
            <p:nvPr/>
          </p:nvGrpSpPr>
          <p:grpSpPr>
            <a:xfrm>
              <a:off x="169128" y="4568522"/>
              <a:ext cx="8303740" cy="1406916"/>
              <a:chOff x="1097190" y="1247011"/>
              <a:chExt cx="6923179" cy="1058156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1097190" y="1247011"/>
                <a:ext cx="6894513" cy="386402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430529"/>
                  <a:gd name="connsiteY0" fmla="*/ 142210 h 172234"/>
                  <a:gd name="connsiteX1" fmla="*/ 1260389 w 7430529"/>
                  <a:gd name="connsiteY1" fmla="*/ 166923 h 172234"/>
                  <a:gd name="connsiteX2" fmla="*/ 2265405 w 7430529"/>
                  <a:gd name="connsiteY2" fmla="*/ 51594 h 172234"/>
                  <a:gd name="connsiteX3" fmla="*/ 3525794 w 7430529"/>
                  <a:gd name="connsiteY3" fmla="*/ 2167 h 172234"/>
                  <a:gd name="connsiteX4" fmla="*/ 4926227 w 7430529"/>
                  <a:gd name="connsiteY4" fmla="*/ 117496 h 172234"/>
                  <a:gd name="connsiteX5" fmla="*/ 5791200 w 7430529"/>
                  <a:gd name="connsiteY5" fmla="*/ 125734 h 172234"/>
                  <a:gd name="connsiteX6" fmla="*/ 7430529 w 7430529"/>
                  <a:gd name="connsiteY6" fmla="*/ 133971 h 172234"/>
                  <a:gd name="connsiteX0" fmla="*/ 0 w 8138983"/>
                  <a:gd name="connsiteY0" fmla="*/ 166924 h 181598"/>
                  <a:gd name="connsiteX1" fmla="*/ 1968843 w 8138983"/>
                  <a:gd name="connsiteY1" fmla="*/ 166923 h 181598"/>
                  <a:gd name="connsiteX2" fmla="*/ 2973859 w 8138983"/>
                  <a:gd name="connsiteY2" fmla="*/ 51594 h 181598"/>
                  <a:gd name="connsiteX3" fmla="*/ 4234248 w 8138983"/>
                  <a:gd name="connsiteY3" fmla="*/ 2167 h 181598"/>
                  <a:gd name="connsiteX4" fmla="*/ 5634681 w 8138983"/>
                  <a:gd name="connsiteY4" fmla="*/ 117496 h 181598"/>
                  <a:gd name="connsiteX5" fmla="*/ 6499654 w 8138983"/>
                  <a:gd name="connsiteY5" fmla="*/ 125734 h 181598"/>
                  <a:gd name="connsiteX6" fmla="*/ 8138983 w 8138983"/>
                  <a:gd name="connsiteY6" fmla="*/ 133971 h 181598"/>
                  <a:gd name="connsiteX0" fmla="*/ 0 w 8138983"/>
                  <a:gd name="connsiteY0" fmla="*/ 164926 h 177145"/>
                  <a:gd name="connsiteX1" fmla="*/ 1968843 w 8138983"/>
                  <a:gd name="connsiteY1" fmla="*/ 164925 h 177145"/>
                  <a:gd name="connsiteX2" fmla="*/ 2931914 w 8138983"/>
                  <a:gd name="connsiteY2" fmla="*/ 91541 h 177145"/>
                  <a:gd name="connsiteX3" fmla="*/ 4234248 w 8138983"/>
                  <a:gd name="connsiteY3" fmla="*/ 169 h 177145"/>
                  <a:gd name="connsiteX4" fmla="*/ 5634681 w 8138983"/>
                  <a:gd name="connsiteY4" fmla="*/ 115498 h 177145"/>
                  <a:gd name="connsiteX5" fmla="*/ 6499654 w 8138983"/>
                  <a:gd name="connsiteY5" fmla="*/ 123736 h 177145"/>
                  <a:gd name="connsiteX6" fmla="*/ 8138983 w 8138983"/>
                  <a:gd name="connsiteY6" fmla="*/ 131973 h 177145"/>
                  <a:gd name="connsiteX0" fmla="*/ 0 w 8155761"/>
                  <a:gd name="connsiteY0" fmla="*/ 290760 h 293103"/>
                  <a:gd name="connsiteX1" fmla="*/ 1985621 w 8155761"/>
                  <a:gd name="connsiteY1" fmla="*/ 164925 h 293103"/>
                  <a:gd name="connsiteX2" fmla="*/ 2948692 w 8155761"/>
                  <a:gd name="connsiteY2" fmla="*/ 91541 h 293103"/>
                  <a:gd name="connsiteX3" fmla="*/ 4251026 w 8155761"/>
                  <a:gd name="connsiteY3" fmla="*/ 169 h 293103"/>
                  <a:gd name="connsiteX4" fmla="*/ 5651459 w 8155761"/>
                  <a:gd name="connsiteY4" fmla="*/ 115498 h 293103"/>
                  <a:gd name="connsiteX5" fmla="*/ 6516432 w 8155761"/>
                  <a:gd name="connsiteY5" fmla="*/ 123736 h 293103"/>
                  <a:gd name="connsiteX6" fmla="*/ 8155761 w 8155761"/>
                  <a:gd name="connsiteY6" fmla="*/ 131973 h 293103"/>
                  <a:gd name="connsiteX0" fmla="*/ 0 w 8155761"/>
                  <a:gd name="connsiteY0" fmla="*/ 290770 h 290770"/>
                  <a:gd name="connsiteX1" fmla="*/ 1994010 w 8155761"/>
                  <a:gd name="connsiteY1" fmla="*/ 190102 h 290770"/>
                  <a:gd name="connsiteX2" fmla="*/ 2948692 w 8155761"/>
                  <a:gd name="connsiteY2" fmla="*/ 91551 h 290770"/>
                  <a:gd name="connsiteX3" fmla="*/ 4251026 w 8155761"/>
                  <a:gd name="connsiteY3" fmla="*/ 179 h 290770"/>
                  <a:gd name="connsiteX4" fmla="*/ 5651459 w 8155761"/>
                  <a:gd name="connsiteY4" fmla="*/ 115508 h 290770"/>
                  <a:gd name="connsiteX5" fmla="*/ 6516432 w 8155761"/>
                  <a:gd name="connsiteY5" fmla="*/ 123746 h 290770"/>
                  <a:gd name="connsiteX6" fmla="*/ 8155761 w 8155761"/>
                  <a:gd name="connsiteY6" fmla="*/ 131983 h 290770"/>
                  <a:gd name="connsiteX0" fmla="*/ 0 w 8155761"/>
                  <a:gd name="connsiteY0" fmla="*/ 202941 h 202941"/>
                  <a:gd name="connsiteX1" fmla="*/ 1994010 w 8155761"/>
                  <a:gd name="connsiteY1" fmla="*/ 102273 h 202941"/>
                  <a:gd name="connsiteX2" fmla="*/ 2948692 w 8155761"/>
                  <a:gd name="connsiteY2" fmla="*/ 3722 h 202941"/>
                  <a:gd name="connsiteX3" fmla="*/ 4318137 w 8155761"/>
                  <a:gd name="connsiteY3" fmla="*/ 21407 h 202941"/>
                  <a:gd name="connsiteX4" fmla="*/ 5651459 w 8155761"/>
                  <a:gd name="connsiteY4" fmla="*/ 27679 h 202941"/>
                  <a:gd name="connsiteX5" fmla="*/ 6516432 w 8155761"/>
                  <a:gd name="connsiteY5" fmla="*/ 35917 h 202941"/>
                  <a:gd name="connsiteX6" fmla="*/ 8155761 w 8155761"/>
                  <a:gd name="connsiteY6" fmla="*/ 44154 h 202941"/>
                  <a:gd name="connsiteX0" fmla="*/ 0 w 8155761"/>
                  <a:gd name="connsiteY0" fmla="*/ 242374 h 242374"/>
                  <a:gd name="connsiteX1" fmla="*/ 1994010 w 8155761"/>
                  <a:gd name="connsiteY1" fmla="*/ 141706 h 242374"/>
                  <a:gd name="connsiteX2" fmla="*/ 2948692 w 8155761"/>
                  <a:gd name="connsiteY2" fmla="*/ 43155 h 242374"/>
                  <a:gd name="connsiteX3" fmla="*/ 4318137 w 8155761"/>
                  <a:gd name="connsiteY3" fmla="*/ 60840 h 242374"/>
                  <a:gd name="connsiteX4" fmla="*/ 5735349 w 8155761"/>
                  <a:gd name="connsiteY4" fmla="*/ 0 h 242374"/>
                  <a:gd name="connsiteX5" fmla="*/ 6516432 w 8155761"/>
                  <a:gd name="connsiteY5" fmla="*/ 75350 h 242374"/>
                  <a:gd name="connsiteX6" fmla="*/ 8155761 w 8155761"/>
                  <a:gd name="connsiteY6" fmla="*/ 83587 h 242374"/>
                  <a:gd name="connsiteX0" fmla="*/ 0 w 8155761"/>
                  <a:gd name="connsiteY0" fmla="*/ 259303 h 259303"/>
                  <a:gd name="connsiteX1" fmla="*/ 1994010 w 8155761"/>
                  <a:gd name="connsiteY1" fmla="*/ 158635 h 259303"/>
                  <a:gd name="connsiteX2" fmla="*/ 2948692 w 8155761"/>
                  <a:gd name="connsiteY2" fmla="*/ 60084 h 259303"/>
                  <a:gd name="connsiteX3" fmla="*/ 4318137 w 8155761"/>
                  <a:gd name="connsiteY3" fmla="*/ 77769 h 259303"/>
                  <a:gd name="connsiteX4" fmla="*/ 5735349 w 8155761"/>
                  <a:gd name="connsiteY4" fmla="*/ 16929 h 259303"/>
                  <a:gd name="connsiteX5" fmla="*/ 6474487 w 8155761"/>
                  <a:gd name="connsiteY5" fmla="*/ 0 h 259303"/>
                  <a:gd name="connsiteX6" fmla="*/ 8155761 w 8155761"/>
                  <a:gd name="connsiteY6" fmla="*/ 100516 h 259303"/>
                  <a:gd name="connsiteX0" fmla="*/ 0 w 7895703"/>
                  <a:gd name="connsiteY0" fmla="*/ 259303 h 259303"/>
                  <a:gd name="connsiteX1" fmla="*/ 1994010 w 7895703"/>
                  <a:gd name="connsiteY1" fmla="*/ 158635 h 259303"/>
                  <a:gd name="connsiteX2" fmla="*/ 2948692 w 7895703"/>
                  <a:gd name="connsiteY2" fmla="*/ 60084 h 259303"/>
                  <a:gd name="connsiteX3" fmla="*/ 4318137 w 7895703"/>
                  <a:gd name="connsiteY3" fmla="*/ 77769 h 259303"/>
                  <a:gd name="connsiteX4" fmla="*/ 5735349 w 7895703"/>
                  <a:gd name="connsiteY4" fmla="*/ 16929 h 259303"/>
                  <a:gd name="connsiteX5" fmla="*/ 6474487 w 7895703"/>
                  <a:gd name="connsiteY5" fmla="*/ 0 h 259303"/>
                  <a:gd name="connsiteX6" fmla="*/ 7895703 w 7895703"/>
                  <a:gd name="connsiteY6" fmla="*/ 58571 h 259303"/>
                  <a:gd name="connsiteX0" fmla="*/ 0 w 6474487"/>
                  <a:gd name="connsiteY0" fmla="*/ 259303 h 259303"/>
                  <a:gd name="connsiteX1" fmla="*/ 1994010 w 6474487"/>
                  <a:gd name="connsiteY1" fmla="*/ 158635 h 259303"/>
                  <a:gd name="connsiteX2" fmla="*/ 2948692 w 6474487"/>
                  <a:gd name="connsiteY2" fmla="*/ 60084 h 259303"/>
                  <a:gd name="connsiteX3" fmla="*/ 4318137 w 6474487"/>
                  <a:gd name="connsiteY3" fmla="*/ 77769 h 259303"/>
                  <a:gd name="connsiteX4" fmla="*/ 5735349 w 6474487"/>
                  <a:gd name="connsiteY4" fmla="*/ 16929 h 259303"/>
                  <a:gd name="connsiteX5" fmla="*/ 6474487 w 6474487"/>
                  <a:gd name="connsiteY5" fmla="*/ 0 h 259303"/>
                  <a:gd name="connsiteX0" fmla="*/ 0 w 6508043"/>
                  <a:gd name="connsiteY0" fmla="*/ 326415 h 326415"/>
                  <a:gd name="connsiteX1" fmla="*/ 1994010 w 6508043"/>
                  <a:gd name="connsiteY1" fmla="*/ 225747 h 326415"/>
                  <a:gd name="connsiteX2" fmla="*/ 2948692 w 6508043"/>
                  <a:gd name="connsiteY2" fmla="*/ 127196 h 326415"/>
                  <a:gd name="connsiteX3" fmla="*/ 4318137 w 6508043"/>
                  <a:gd name="connsiteY3" fmla="*/ 144881 h 326415"/>
                  <a:gd name="connsiteX4" fmla="*/ 5735349 w 6508043"/>
                  <a:gd name="connsiteY4" fmla="*/ 84041 h 326415"/>
                  <a:gd name="connsiteX5" fmla="*/ 6508043 w 6508043"/>
                  <a:gd name="connsiteY5" fmla="*/ 0 h 326415"/>
                  <a:gd name="connsiteX0" fmla="*/ 0 w 6508043"/>
                  <a:gd name="connsiteY0" fmla="*/ 335879 h 335879"/>
                  <a:gd name="connsiteX1" fmla="*/ 1994010 w 6508043"/>
                  <a:gd name="connsiteY1" fmla="*/ 235211 h 335879"/>
                  <a:gd name="connsiteX2" fmla="*/ 2948692 w 6508043"/>
                  <a:gd name="connsiteY2" fmla="*/ 136660 h 335879"/>
                  <a:gd name="connsiteX3" fmla="*/ 4318137 w 6508043"/>
                  <a:gd name="connsiteY3" fmla="*/ 154345 h 335879"/>
                  <a:gd name="connsiteX4" fmla="*/ 5894740 w 6508043"/>
                  <a:gd name="connsiteY4" fmla="*/ 9615 h 335879"/>
                  <a:gd name="connsiteX5" fmla="*/ 6508043 w 6508043"/>
                  <a:gd name="connsiteY5" fmla="*/ 9464 h 33587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18137 w 6759713"/>
                  <a:gd name="connsiteY3" fmla="*/ 19521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06747 w 6759713"/>
                  <a:gd name="connsiteY2" fmla="*/ 127196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62461 w 5920814"/>
                  <a:gd name="connsiteY3" fmla="*/ 111325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47452 w 5920814"/>
                  <a:gd name="connsiteY4" fmla="*/ 16930 h 343193"/>
                  <a:gd name="connsiteX5" fmla="*/ 5920814 w 5920814"/>
                  <a:gd name="connsiteY5" fmla="*/ 0 h 343193"/>
                  <a:gd name="connsiteX0" fmla="*/ 0 w 6029871"/>
                  <a:gd name="connsiteY0" fmla="*/ 343193 h 343193"/>
                  <a:gd name="connsiteX1" fmla="*/ 1155111 w 6029871"/>
                  <a:gd name="connsiteY1" fmla="*/ 276081 h 343193"/>
                  <a:gd name="connsiteX2" fmla="*/ 2302740 w 6029871"/>
                  <a:gd name="connsiteY2" fmla="*/ 169141 h 343193"/>
                  <a:gd name="connsiteX3" fmla="*/ 3563129 w 6029871"/>
                  <a:gd name="connsiteY3" fmla="*/ 94547 h 343193"/>
                  <a:gd name="connsiteX4" fmla="*/ 5047452 w 6029871"/>
                  <a:gd name="connsiteY4" fmla="*/ 16930 h 343193"/>
                  <a:gd name="connsiteX5" fmla="*/ 6029871 w 6029871"/>
                  <a:gd name="connsiteY5" fmla="*/ 0 h 343193"/>
                  <a:gd name="connsiteX0" fmla="*/ 0 w 6441853"/>
                  <a:gd name="connsiteY0" fmla="*/ 333148 h 333148"/>
                  <a:gd name="connsiteX1" fmla="*/ 1155111 w 6441853"/>
                  <a:gd name="connsiteY1" fmla="*/ 266036 h 333148"/>
                  <a:gd name="connsiteX2" fmla="*/ 2302740 w 6441853"/>
                  <a:gd name="connsiteY2" fmla="*/ 159096 h 333148"/>
                  <a:gd name="connsiteX3" fmla="*/ 3563129 w 6441853"/>
                  <a:gd name="connsiteY3" fmla="*/ 84502 h 333148"/>
                  <a:gd name="connsiteX4" fmla="*/ 5047452 w 6441853"/>
                  <a:gd name="connsiteY4" fmla="*/ 6885 h 333148"/>
                  <a:gd name="connsiteX5" fmla="*/ 6441853 w 6441853"/>
                  <a:gd name="connsiteY5" fmla="*/ 3 h 333148"/>
                  <a:gd name="connsiteX0" fmla="*/ 0 w 6894513"/>
                  <a:gd name="connsiteY0" fmla="*/ 347476 h 347476"/>
                  <a:gd name="connsiteX1" fmla="*/ 1607771 w 6894513"/>
                  <a:gd name="connsiteY1" fmla="*/ 266036 h 347476"/>
                  <a:gd name="connsiteX2" fmla="*/ 2755400 w 6894513"/>
                  <a:gd name="connsiteY2" fmla="*/ 159096 h 347476"/>
                  <a:gd name="connsiteX3" fmla="*/ 4015789 w 6894513"/>
                  <a:gd name="connsiteY3" fmla="*/ 84502 h 347476"/>
                  <a:gd name="connsiteX4" fmla="*/ 5500112 w 6894513"/>
                  <a:gd name="connsiteY4" fmla="*/ 6885 h 347476"/>
                  <a:gd name="connsiteX5" fmla="*/ 6894513 w 6894513"/>
                  <a:gd name="connsiteY5" fmla="*/ 3 h 347476"/>
                  <a:gd name="connsiteX0" fmla="*/ 0 w 6894513"/>
                  <a:gd name="connsiteY0" fmla="*/ 347473 h 347473"/>
                  <a:gd name="connsiteX1" fmla="*/ 1607771 w 6894513"/>
                  <a:gd name="connsiteY1" fmla="*/ 266033 h 347473"/>
                  <a:gd name="connsiteX2" fmla="*/ 2755400 w 6894513"/>
                  <a:gd name="connsiteY2" fmla="*/ 159093 h 347473"/>
                  <a:gd name="connsiteX3" fmla="*/ 4015789 w 6894513"/>
                  <a:gd name="connsiteY3" fmla="*/ 84499 h 347473"/>
                  <a:gd name="connsiteX4" fmla="*/ 5492920 w 6894513"/>
                  <a:gd name="connsiteY4" fmla="*/ 32834 h 347473"/>
                  <a:gd name="connsiteX5" fmla="*/ 6894513 w 6894513"/>
                  <a:gd name="connsiteY5" fmla="*/ 0 h 347473"/>
                  <a:gd name="connsiteX0" fmla="*/ 0 w 6894513"/>
                  <a:gd name="connsiteY0" fmla="*/ 386402 h 386402"/>
                  <a:gd name="connsiteX1" fmla="*/ 1607771 w 6894513"/>
                  <a:gd name="connsiteY1" fmla="*/ 266033 h 386402"/>
                  <a:gd name="connsiteX2" fmla="*/ 2755400 w 6894513"/>
                  <a:gd name="connsiteY2" fmla="*/ 159093 h 386402"/>
                  <a:gd name="connsiteX3" fmla="*/ 4015789 w 6894513"/>
                  <a:gd name="connsiteY3" fmla="*/ 84499 h 386402"/>
                  <a:gd name="connsiteX4" fmla="*/ 5492920 w 6894513"/>
                  <a:gd name="connsiteY4" fmla="*/ 32834 h 386402"/>
                  <a:gd name="connsiteX5" fmla="*/ 6894513 w 6894513"/>
                  <a:gd name="connsiteY5" fmla="*/ 0 h 38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94513" h="386402">
                    <a:moveTo>
                      <a:pt x="0" y="386402"/>
                    </a:moveTo>
                    <a:lnTo>
                      <a:pt x="1607771" y="266033"/>
                    </a:lnTo>
                    <a:cubicBezTo>
                      <a:pt x="1991561" y="237024"/>
                      <a:pt x="2354064" y="189349"/>
                      <a:pt x="2755400" y="159093"/>
                    </a:cubicBezTo>
                    <a:cubicBezTo>
                      <a:pt x="3156736" y="128837"/>
                      <a:pt x="3559536" y="105542"/>
                      <a:pt x="4015789" y="84499"/>
                    </a:cubicBezTo>
                    <a:cubicBezTo>
                      <a:pt x="4472042" y="63456"/>
                      <a:pt x="5013133" y="46917"/>
                      <a:pt x="5492920" y="32834"/>
                    </a:cubicBezTo>
                    <a:lnTo>
                      <a:pt x="6894513" y="0"/>
                    </a:ln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  <p:sp>
            <p:nvSpPr>
              <p:cNvPr id="14" name="Freeform 13"/>
              <p:cNvSpPr/>
              <p:nvPr/>
            </p:nvSpPr>
            <p:spPr>
              <a:xfrm rot="10800000">
                <a:off x="1121126" y="2137694"/>
                <a:ext cx="6899243" cy="167473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603523"/>
                  <a:gd name="connsiteY0" fmla="*/ 109259 h 168194"/>
                  <a:gd name="connsiteX1" fmla="*/ 1935891 w 7603523"/>
                  <a:gd name="connsiteY1" fmla="*/ 166923 h 168194"/>
                  <a:gd name="connsiteX2" fmla="*/ 2940907 w 7603523"/>
                  <a:gd name="connsiteY2" fmla="*/ 51594 h 168194"/>
                  <a:gd name="connsiteX3" fmla="*/ 4201296 w 7603523"/>
                  <a:gd name="connsiteY3" fmla="*/ 2167 h 168194"/>
                  <a:gd name="connsiteX4" fmla="*/ 5601729 w 7603523"/>
                  <a:gd name="connsiteY4" fmla="*/ 117496 h 168194"/>
                  <a:gd name="connsiteX5" fmla="*/ 6466702 w 7603523"/>
                  <a:gd name="connsiteY5" fmla="*/ 125734 h 168194"/>
                  <a:gd name="connsiteX6" fmla="*/ 7603523 w 7603523"/>
                  <a:gd name="connsiteY6" fmla="*/ 117496 h 168194"/>
                  <a:gd name="connsiteX0" fmla="*/ 0 w 8270788"/>
                  <a:gd name="connsiteY0" fmla="*/ 109259 h 168194"/>
                  <a:gd name="connsiteX1" fmla="*/ 1935891 w 8270788"/>
                  <a:gd name="connsiteY1" fmla="*/ 166923 h 168194"/>
                  <a:gd name="connsiteX2" fmla="*/ 2940907 w 8270788"/>
                  <a:gd name="connsiteY2" fmla="*/ 51594 h 168194"/>
                  <a:gd name="connsiteX3" fmla="*/ 4201296 w 8270788"/>
                  <a:gd name="connsiteY3" fmla="*/ 2167 h 168194"/>
                  <a:gd name="connsiteX4" fmla="*/ 5601729 w 8270788"/>
                  <a:gd name="connsiteY4" fmla="*/ 117496 h 168194"/>
                  <a:gd name="connsiteX5" fmla="*/ 6466702 w 8270788"/>
                  <a:gd name="connsiteY5" fmla="*/ 125734 h 168194"/>
                  <a:gd name="connsiteX6" fmla="*/ 8270788 w 8270788"/>
                  <a:gd name="connsiteY6" fmla="*/ 109258 h 168194"/>
                  <a:gd name="connsiteX0" fmla="*/ 0 w 8270788"/>
                  <a:gd name="connsiteY0" fmla="*/ 107179 h 166114"/>
                  <a:gd name="connsiteX1" fmla="*/ 1935891 w 8270788"/>
                  <a:gd name="connsiteY1" fmla="*/ 164843 h 166114"/>
                  <a:gd name="connsiteX2" fmla="*/ 2940907 w 8270788"/>
                  <a:gd name="connsiteY2" fmla="*/ 49514 h 166114"/>
                  <a:gd name="connsiteX3" fmla="*/ 4201296 w 8270788"/>
                  <a:gd name="connsiteY3" fmla="*/ 87 h 166114"/>
                  <a:gd name="connsiteX4" fmla="*/ 5400393 w 8270788"/>
                  <a:gd name="connsiteY4" fmla="*/ 39916 h 166114"/>
                  <a:gd name="connsiteX5" fmla="*/ 6466702 w 8270788"/>
                  <a:gd name="connsiteY5" fmla="*/ 123654 h 166114"/>
                  <a:gd name="connsiteX6" fmla="*/ 8270788 w 8270788"/>
                  <a:gd name="connsiteY6" fmla="*/ 107178 h 166114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466702 w 8270788"/>
                  <a:gd name="connsiteY5" fmla="*/ 98400 h 140860"/>
                  <a:gd name="connsiteX6" fmla="*/ 8270788 w 8270788"/>
                  <a:gd name="connsiteY6" fmla="*/ 81924 h 140860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273755 w 8270788"/>
                  <a:gd name="connsiteY5" fmla="*/ 56455 h 140860"/>
                  <a:gd name="connsiteX6" fmla="*/ 8270788 w 8270788"/>
                  <a:gd name="connsiteY6" fmla="*/ 81924 h 140860"/>
                  <a:gd name="connsiteX0" fmla="*/ 0 w 7423500"/>
                  <a:gd name="connsiteY0" fmla="*/ 81925 h 140860"/>
                  <a:gd name="connsiteX1" fmla="*/ 1935891 w 7423500"/>
                  <a:gd name="connsiteY1" fmla="*/ 139589 h 140860"/>
                  <a:gd name="connsiteX2" fmla="*/ 2940907 w 7423500"/>
                  <a:gd name="connsiteY2" fmla="*/ 24260 h 140860"/>
                  <a:gd name="connsiteX3" fmla="*/ 4159351 w 7423500"/>
                  <a:gd name="connsiteY3" fmla="*/ 0 h 140860"/>
                  <a:gd name="connsiteX4" fmla="*/ 5400393 w 7423500"/>
                  <a:gd name="connsiteY4" fmla="*/ 14662 h 140860"/>
                  <a:gd name="connsiteX5" fmla="*/ 6273755 w 7423500"/>
                  <a:gd name="connsiteY5" fmla="*/ 56455 h 140860"/>
                  <a:gd name="connsiteX6" fmla="*/ 7423500 w 7423500"/>
                  <a:gd name="connsiteY6" fmla="*/ 31591 h 140860"/>
                  <a:gd name="connsiteX0" fmla="*/ 0 w 6358098"/>
                  <a:gd name="connsiteY0" fmla="*/ 190981 h 196030"/>
                  <a:gd name="connsiteX1" fmla="*/ 870489 w 6358098"/>
                  <a:gd name="connsiteY1" fmla="*/ 139589 h 196030"/>
                  <a:gd name="connsiteX2" fmla="*/ 1875505 w 6358098"/>
                  <a:gd name="connsiteY2" fmla="*/ 24260 h 196030"/>
                  <a:gd name="connsiteX3" fmla="*/ 3093949 w 6358098"/>
                  <a:gd name="connsiteY3" fmla="*/ 0 h 196030"/>
                  <a:gd name="connsiteX4" fmla="*/ 4334991 w 6358098"/>
                  <a:gd name="connsiteY4" fmla="*/ 14662 h 196030"/>
                  <a:gd name="connsiteX5" fmla="*/ 5208353 w 6358098"/>
                  <a:gd name="connsiteY5" fmla="*/ 56455 h 196030"/>
                  <a:gd name="connsiteX6" fmla="*/ 6358098 w 6358098"/>
                  <a:gd name="connsiteY6" fmla="*/ 31591 h 196030"/>
                  <a:gd name="connsiteX0" fmla="*/ 0 w 6358098"/>
                  <a:gd name="connsiteY0" fmla="*/ 190981 h 193533"/>
                  <a:gd name="connsiteX1" fmla="*/ 987935 w 6358098"/>
                  <a:gd name="connsiteY1" fmla="*/ 80867 h 193533"/>
                  <a:gd name="connsiteX2" fmla="*/ 1875505 w 6358098"/>
                  <a:gd name="connsiteY2" fmla="*/ 24260 h 193533"/>
                  <a:gd name="connsiteX3" fmla="*/ 3093949 w 6358098"/>
                  <a:gd name="connsiteY3" fmla="*/ 0 h 193533"/>
                  <a:gd name="connsiteX4" fmla="*/ 4334991 w 6358098"/>
                  <a:gd name="connsiteY4" fmla="*/ 14662 h 193533"/>
                  <a:gd name="connsiteX5" fmla="*/ 5208353 w 6358098"/>
                  <a:gd name="connsiteY5" fmla="*/ 56455 h 193533"/>
                  <a:gd name="connsiteX6" fmla="*/ 6358098 w 6358098"/>
                  <a:gd name="connsiteY6" fmla="*/ 31591 h 193533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98629 w 6148374"/>
                  <a:gd name="connsiteY5" fmla="*/ 56455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5938818 w 6148374"/>
                  <a:gd name="connsiteY6" fmla="*/ 24625 h 160779"/>
                  <a:gd name="connsiteX7" fmla="*/ 6148374 w 6148374"/>
                  <a:gd name="connsiteY7" fmla="*/ 31591 h 160779"/>
                  <a:gd name="connsiteX0" fmla="*/ 0 w 6148374"/>
                  <a:gd name="connsiteY0" fmla="*/ 157425 h 162750"/>
                  <a:gd name="connsiteX1" fmla="*/ 828545 w 6148374"/>
                  <a:gd name="connsiteY1" fmla="*/ 114422 h 162750"/>
                  <a:gd name="connsiteX2" fmla="*/ 1665781 w 6148374"/>
                  <a:gd name="connsiteY2" fmla="*/ 24260 h 162750"/>
                  <a:gd name="connsiteX3" fmla="*/ 2884225 w 6148374"/>
                  <a:gd name="connsiteY3" fmla="*/ 0 h 162750"/>
                  <a:gd name="connsiteX4" fmla="*/ 4125267 w 6148374"/>
                  <a:gd name="connsiteY4" fmla="*/ 14662 h 162750"/>
                  <a:gd name="connsiteX5" fmla="*/ 4939906 w 6148374"/>
                  <a:gd name="connsiteY5" fmla="*/ 14510 h 162750"/>
                  <a:gd name="connsiteX6" fmla="*/ 5938818 w 6148374"/>
                  <a:gd name="connsiteY6" fmla="*/ 24625 h 162750"/>
                  <a:gd name="connsiteX7" fmla="*/ 6148374 w 6148374"/>
                  <a:gd name="connsiteY7" fmla="*/ 31591 h 162750"/>
                  <a:gd name="connsiteX0" fmla="*/ 0 w 6148374"/>
                  <a:gd name="connsiteY0" fmla="*/ 157425 h 157425"/>
                  <a:gd name="connsiteX1" fmla="*/ 828545 w 6148374"/>
                  <a:gd name="connsiteY1" fmla="*/ 114422 h 157425"/>
                  <a:gd name="connsiteX2" fmla="*/ 1749670 w 6148374"/>
                  <a:gd name="connsiteY2" fmla="*/ 66205 h 157425"/>
                  <a:gd name="connsiteX3" fmla="*/ 2884225 w 6148374"/>
                  <a:gd name="connsiteY3" fmla="*/ 0 h 157425"/>
                  <a:gd name="connsiteX4" fmla="*/ 4125267 w 6148374"/>
                  <a:gd name="connsiteY4" fmla="*/ 14662 h 157425"/>
                  <a:gd name="connsiteX5" fmla="*/ 4939906 w 6148374"/>
                  <a:gd name="connsiteY5" fmla="*/ 14510 h 157425"/>
                  <a:gd name="connsiteX6" fmla="*/ 5938818 w 6148374"/>
                  <a:gd name="connsiteY6" fmla="*/ 24625 h 157425"/>
                  <a:gd name="connsiteX7" fmla="*/ 6148374 w 6148374"/>
                  <a:gd name="connsiteY7" fmla="*/ 31591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38818 w 5938818"/>
                  <a:gd name="connsiteY6" fmla="*/ 24625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25174 w 5938818"/>
                  <a:gd name="connsiteY6" fmla="*/ 40665 h 157425"/>
                  <a:gd name="connsiteX7" fmla="*/ 5938818 w 5938818"/>
                  <a:gd name="connsiteY7" fmla="*/ 24625 h 157425"/>
                  <a:gd name="connsiteX0" fmla="*/ 0 w 6360849"/>
                  <a:gd name="connsiteY0" fmla="*/ 157425 h 157425"/>
                  <a:gd name="connsiteX1" fmla="*/ 1250576 w 6360849"/>
                  <a:gd name="connsiteY1" fmla="*/ 114422 h 157425"/>
                  <a:gd name="connsiteX2" fmla="*/ 2171701 w 6360849"/>
                  <a:gd name="connsiteY2" fmla="*/ 66205 h 157425"/>
                  <a:gd name="connsiteX3" fmla="*/ 3306256 w 6360849"/>
                  <a:gd name="connsiteY3" fmla="*/ 0 h 157425"/>
                  <a:gd name="connsiteX4" fmla="*/ 4547298 w 6360849"/>
                  <a:gd name="connsiteY4" fmla="*/ 14662 h 157425"/>
                  <a:gd name="connsiteX5" fmla="*/ 5361937 w 6360849"/>
                  <a:gd name="connsiteY5" fmla="*/ 14510 h 157425"/>
                  <a:gd name="connsiteX6" fmla="*/ 6347205 w 6360849"/>
                  <a:gd name="connsiteY6" fmla="*/ 40665 h 157425"/>
                  <a:gd name="connsiteX7" fmla="*/ 6360849 w 6360849"/>
                  <a:gd name="connsiteY7" fmla="*/ 24625 h 157425"/>
                  <a:gd name="connsiteX0" fmla="*/ 0 w 6390994"/>
                  <a:gd name="connsiteY0" fmla="*/ 167473 h 167473"/>
                  <a:gd name="connsiteX1" fmla="*/ 1280721 w 6390994"/>
                  <a:gd name="connsiteY1" fmla="*/ 114422 h 167473"/>
                  <a:gd name="connsiteX2" fmla="*/ 2201846 w 6390994"/>
                  <a:gd name="connsiteY2" fmla="*/ 66205 h 167473"/>
                  <a:gd name="connsiteX3" fmla="*/ 3336401 w 6390994"/>
                  <a:gd name="connsiteY3" fmla="*/ 0 h 167473"/>
                  <a:gd name="connsiteX4" fmla="*/ 4577443 w 6390994"/>
                  <a:gd name="connsiteY4" fmla="*/ 14662 h 167473"/>
                  <a:gd name="connsiteX5" fmla="*/ 5392082 w 6390994"/>
                  <a:gd name="connsiteY5" fmla="*/ 14510 h 167473"/>
                  <a:gd name="connsiteX6" fmla="*/ 6377350 w 6390994"/>
                  <a:gd name="connsiteY6" fmla="*/ 40665 h 167473"/>
                  <a:gd name="connsiteX7" fmla="*/ 6390994 w 6390994"/>
                  <a:gd name="connsiteY7" fmla="*/ 24625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92082 w 6899243"/>
                  <a:gd name="connsiteY5" fmla="*/ 14510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05776 w 6899243"/>
                  <a:gd name="connsiteY5" fmla="*/ 20997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05776 w 6899243"/>
                  <a:gd name="connsiteY5" fmla="*/ 20997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9243" h="167473">
                    <a:moveTo>
                      <a:pt x="0" y="167473"/>
                    </a:moveTo>
                    <a:lnTo>
                      <a:pt x="1280721" y="114422"/>
                    </a:lnTo>
                    <a:lnTo>
                      <a:pt x="2201846" y="66205"/>
                    </a:lnTo>
                    <a:cubicBezTo>
                      <a:pt x="2544459" y="47135"/>
                      <a:pt x="2940468" y="8590"/>
                      <a:pt x="3336401" y="0"/>
                    </a:cubicBezTo>
                    <a:lnTo>
                      <a:pt x="4577443" y="14662"/>
                    </a:lnTo>
                    <a:cubicBezTo>
                      <a:pt x="4820221" y="16774"/>
                      <a:pt x="5062998" y="25373"/>
                      <a:pt x="5305776" y="20997"/>
                    </a:cubicBezTo>
                    <a:cubicBezTo>
                      <a:pt x="5617451" y="23016"/>
                      <a:pt x="6065675" y="38646"/>
                      <a:pt x="6377350" y="40665"/>
                    </a:cubicBezTo>
                    <a:cubicBezTo>
                      <a:pt x="6381898" y="35318"/>
                      <a:pt x="6894695" y="44300"/>
                      <a:pt x="6899243" y="38953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2692430" y="4848892"/>
              <a:ext cx="265399" cy="1126547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565329" y="4640267"/>
              <a:ext cx="265399" cy="1265425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2970734" y="4661794"/>
              <a:ext cx="2595958" cy="198971"/>
            </a:xfrm>
            <a:custGeom>
              <a:avLst/>
              <a:gdLst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57013 w 2164360"/>
                <a:gd name="connsiteY2" fmla="*/ 75501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14506 h 125835"/>
                <a:gd name="connsiteX4" fmla="*/ 2164360 w 2164360"/>
                <a:gd name="connsiteY4" fmla="*/ 0 h 125835"/>
                <a:gd name="connsiteX0" fmla="*/ 0 w 2164360"/>
                <a:gd name="connsiteY0" fmla="*/ 149648 h 149648"/>
                <a:gd name="connsiteX1" fmla="*/ 520118 w 2164360"/>
                <a:gd name="connsiteY1" fmla="*/ 107703 h 149648"/>
                <a:gd name="connsiteX2" fmla="*/ 1077110 w 2164360"/>
                <a:gd name="connsiteY2" fmla="*/ 69169 h 149648"/>
                <a:gd name="connsiteX3" fmla="*/ 1661020 w 2164360"/>
                <a:gd name="connsiteY3" fmla="*/ 38319 h 149648"/>
                <a:gd name="connsiteX4" fmla="*/ 2164360 w 2164360"/>
                <a:gd name="connsiteY4" fmla="*/ 0 h 1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360" h="149648">
                  <a:moveTo>
                    <a:pt x="0" y="149648"/>
                  </a:moveTo>
                  <a:cubicBezTo>
                    <a:pt x="171974" y="132870"/>
                    <a:pt x="340600" y="121116"/>
                    <a:pt x="520118" y="107703"/>
                  </a:cubicBezTo>
                  <a:lnTo>
                    <a:pt x="1077110" y="69169"/>
                  </a:lnTo>
                  <a:lnTo>
                    <a:pt x="1661020" y="38319"/>
                  </a:lnTo>
                  <a:cubicBezTo>
                    <a:pt x="1842228" y="26791"/>
                    <a:pt x="1996580" y="11185"/>
                    <a:pt x="2164360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982908" y="5885821"/>
              <a:ext cx="2553599" cy="81404"/>
            </a:xfrm>
            <a:custGeom>
              <a:avLst/>
              <a:gdLst>
                <a:gd name="connsiteX0" fmla="*/ 6628 w 2129043"/>
                <a:gd name="connsiteY0" fmla="*/ 58723 h 75814"/>
                <a:gd name="connsiteX1" fmla="*/ 73740 w 2129043"/>
                <a:gd name="connsiteY1" fmla="*/ 58723 h 75814"/>
                <a:gd name="connsiteX2" fmla="*/ 803582 w 2129043"/>
                <a:gd name="connsiteY2" fmla="*/ 75501 h 75814"/>
                <a:gd name="connsiteX3" fmla="*/ 1390812 w 2129043"/>
                <a:gd name="connsiteY3" fmla="*/ 41945 h 75814"/>
                <a:gd name="connsiteX4" fmla="*/ 1801872 w 2129043"/>
                <a:gd name="connsiteY4" fmla="*/ 41945 h 75814"/>
                <a:gd name="connsiteX5" fmla="*/ 2129043 w 2129043"/>
                <a:gd name="connsiteY5" fmla="*/ 0 h 75814"/>
                <a:gd name="connsiteX0" fmla="*/ 6628 w 2129043"/>
                <a:gd name="connsiteY0" fmla="*/ 58723 h 75512"/>
                <a:gd name="connsiteX1" fmla="*/ 73740 w 2129043"/>
                <a:gd name="connsiteY1" fmla="*/ 58723 h 75512"/>
                <a:gd name="connsiteX2" fmla="*/ 803582 w 2129043"/>
                <a:gd name="connsiteY2" fmla="*/ 75501 h 75512"/>
                <a:gd name="connsiteX3" fmla="*/ 1305087 w 2129043"/>
                <a:gd name="connsiteY3" fmla="*/ 60995 h 75512"/>
                <a:gd name="connsiteX4" fmla="*/ 1801872 w 2129043"/>
                <a:gd name="connsiteY4" fmla="*/ 41945 h 75512"/>
                <a:gd name="connsiteX5" fmla="*/ 2129043 w 2129043"/>
                <a:gd name="connsiteY5" fmla="*/ 0 h 75512"/>
                <a:gd name="connsiteX0" fmla="*/ 6628 w 2129043"/>
                <a:gd name="connsiteY0" fmla="*/ 44436 h 61225"/>
                <a:gd name="connsiteX1" fmla="*/ 73740 w 2129043"/>
                <a:gd name="connsiteY1" fmla="*/ 44436 h 61225"/>
                <a:gd name="connsiteX2" fmla="*/ 803582 w 2129043"/>
                <a:gd name="connsiteY2" fmla="*/ 61214 h 61225"/>
                <a:gd name="connsiteX3" fmla="*/ 1305087 w 2129043"/>
                <a:gd name="connsiteY3" fmla="*/ 46708 h 61225"/>
                <a:gd name="connsiteX4" fmla="*/ 1801872 w 2129043"/>
                <a:gd name="connsiteY4" fmla="*/ 27658 h 61225"/>
                <a:gd name="connsiteX5" fmla="*/ 2129043 w 2129043"/>
                <a:gd name="connsiteY5" fmla="*/ 0 h 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043" h="61225">
                  <a:moveTo>
                    <a:pt x="6628" y="44436"/>
                  </a:moveTo>
                  <a:cubicBezTo>
                    <a:pt x="-26229" y="43038"/>
                    <a:pt x="73740" y="44436"/>
                    <a:pt x="73740" y="44436"/>
                  </a:cubicBezTo>
                  <a:lnTo>
                    <a:pt x="803582" y="61214"/>
                  </a:lnTo>
                  <a:cubicBezTo>
                    <a:pt x="1008806" y="61593"/>
                    <a:pt x="1138705" y="52301"/>
                    <a:pt x="1305087" y="46708"/>
                  </a:cubicBezTo>
                  <a:lnTo>
                    <a:pt x="1801872" y="27658"/>
                  </a:lnTo>
                  <a:cubicBezTo>
                    <a:pt x="1939198" y="19873"/>
                    <a:pt x="2026976" y="17477"/>
                    <a:pt x="2129043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27" name="Straight Connector 26"/>
            <p:cNvCxnSpPr>
              <a:stCxn id="24" idx="1"/>
              <a:endCxn id="14" idx="4"/>
            </p:cNvCxnSpPr>
            <p:nvPr/>
          </p:nvCxnSpPr>
          <p:spPr>
            <a:xfrm flipH="1">
              <a:off x="2982630" y="4804995"/>
              <a:ext cx="611939" cy="115094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3518793" y="4752918"/>
              <a:ext cx="611940" cy="11509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4094551" y="4751241"/>
              <a:ext cx="533390" cy="116009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endCxn id="14" idx="3"/>
            </p:cNvCxnSpPr>
            <p:nvPr/>
          </p:nvCxnSpPr>
          <p:spPr>
            <a:xfrm flipH="1">
              <a:off x="4471150" y="4687556"/>
              <a:ext cx="571506" cy="128788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24" idx="4"/>
            </p:cNvCxnSpPr>
            <p:nvPr/>
          </p:nvCxnSpPr>
          <p:spPr>
            <a:xfrm flipH="1">
              <a:off x="4994544" y="4661794"/>
              <a:ext cx="572148" cy="124953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3017766" y="4860765"/>
              <a:ext cx="497029" cy="107617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3575856" y="4812461"/>
              <a:ext cx="518695" cy="116297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endCxn id="14" idx="3"/>
            </p:cNvCxnSpPr>
            <p:nvPr/>
          </p:nvCxnSpPr>
          <p:spPr>
            <a:xfrm>
              <a:off x="4130733" y="4804995"/>
              <a:ext cx="340417" cy="117044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616934" y="4743428"/>
              <a:ext cx="377608" cy="120723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054077" y="4724700"/>
              <a:ext cx="457015" cy="116393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reeform 41"/>
            <p:cNvSpPr/>
            <p:nvPr/>
          </p:nvSpPr>
          <p:spPr>
            <a:xfrm>
              <a:off x="210357" y="5675394"/>
              <a:ext cx="2754952" cy="261940"/>
            </a:xfrm>
            <a:custGeom>
              <a:avLst/>
              <a:gdLst>
                <a:gd name="connsiteX0" fmla="*/ 0 w 1698172"/>
                <a:gd name="connsiteY0" fmla="*/ 50566 h 60614"/>
                <a:gd name="connsiteX1" fmla="*/ 311499 w 1698172"/>
                <a:gd name="connsiteY1" fmla="*/ 20421 h 60614"/>
                <a:gd name="connsiteX2" fmla="*/ 663191 w 1698172"/>
                <a:gd name="connsiteY2" fmla="*/ 324 h 60614"/>
                <a:gd name="connsiteX3" fmla="*/ 914400 w 1698172"/>
                <a:gd name="connsiteY3" fmla="*/ 10372 h 60614"/>
                <a:gd name="connsiteX4" fmla="*/ 1286189 w 1698172"/>
                <a:gd name="connsiteY4" fmla="*/ 40517 h 60614"/>
                <a:gd name="connsiteX5" fmla="*/ 1698172 w 1698172"/>
                <a:gd name="connsiteY5" fmla="*/ 60614 h 60614"/>
                <a:gd name="connsiteX0" fmla="*/ 0 w 1698172"/>
                <a:gd name="connsiteY0" fmla="*/ 50530 h 60578"/>
                <a:gd name="connsiteX1" fmla="*/ 311499 w 1698172"/>
                <a:gd name="connsiteY1" fmla="*/ 20385 h 60578"/>
                <a:gd name="connsiteX2" fmla="*/ 663191 w 1698172"/>
                <a:gd name="connsiteY2" fmla="*/ 288 h 60578"/>
                <a:gd name="connsiteX3" fmla="*/ 914400 w 1698172"/>
                <a:gd name="connsiteY3" fmla="*/ 10336 h 60578"/>
                <a:gd name="connsiteX4" fmla="*/ 1376624 w 1698172"/>
                <a:gd name="connsiteY4" fmla="*/ 34929 h 60578"/>
                <a:gd name="connsiteX5" fmla="*/ 1698172 w 1698172"/>
                <a:gd name="connsiteY5" fmla="*/ 60578 h 60578"/>
                <a:gd name="connsiteX0" fmla="*/ 0 w 1698172"/>
                <a:gd name="connsiteY0" fmla="*/ 50500 h 60548"/>
                <a:gd name="connsiteX1" fmla="*/ 311499 w 1698172"/>
                <a:gd name="connsiteY1" fmla="*/ 20355 h 60548"/>
                <a:gd name="connsiteX2" fmla="*/ 663191 w 1698172"/>
                <a:gd name="connsiteY2" fmla="*/ 258 h 60548"/>
                <a:gd name="connsiteX3" fmla="*/ 914400 w 1698172"/>
                <a:gd name="connsiteY3" fmla="*/ 10306 h 60548"/>
                <a:gd name="connsiteX4" fmla="*/ 1436914 w 1698172"/>
                <a:gd name="connsiteY4" fmla="*/ 29346 h 60548"/>
                <a:gd name="connsiteX5" fmla="*/ 1698172 w 1698172"/>
                <a:gd name="connsiteY5" fmla="*/ 60548 h 60548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0360 h 60408"/>
                <a:gd name="connsiteX1" fmla="*/ 311499 w 1698172"/>
                <a:gd name="connsiteY1" fmla="*/ 20215 h 60408"/>
                <a:gd name="connsiteX2" fmla="*/ 663191 w 1698172"/>
                <a:gd name="connsiteY2" fmla="*/ 118 h 60408"/>
                <a:gd name="connsiteX3" fmla="*/ 1436914 w 1698172"/>
                <a:gd name="connsiteY3" fmla="*/ 29206 h 60408"/>
                <a:gd name="connsiteX4" fmla="*/ 1698172 w 1698172"/>
                <a:gd name="connsiteY4" fmla="*/ 60408 h 60408"/>
                <a:gd name="connsiteX0" fmla="*/ 0 w 1698172"/>
                <a:gd name="connsiteY0" fmla="*/ 32033 h 42081"/>
                <a:gd name="connsiteX1" fmla="*/ 311499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2033 h 42081"/>
                <a:gd name="connsiteX1" fmla="*/ 271306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8904 h 48952"/>
                <a:gd name="connsiteX1" fmla="*/ 271306 w 1698172"/>
                <a:gd name="connsiteY1" fmla="*/ 8759 h 48952"/>
                <a:gd name="connsiteX2" fmla="*/ 918168 w 1698172"/>
                <a:gd name="connsiteY2" fmla="*/ 345 h 48952"/>
                <a:gd name="connsiteX3" fmla="*/ 1436914 w 1698172"/>
                <a:gd name="connsiteY3" fmla="*/ 17750 h 48952"/>
                <a:gd name="connsiteX4" fmla="*/ 1698172 w 1698172"/>
                <a:gd name="connsiteY4" fmla="*/ 48952 h 48952"/>
                <a:gd name="connsiteX0" fmla="*/ 0 w 1698172"/>
                <a:gd name="connsiteY0" fmla="*/ 38559 h 48607"/>
                <a:gd name="connsiteX1" fmla="*/ 271306 w 1698172"/>
                <a:gd name="connsiteY1" fmla="*/ 8414 h 48607"/>
                <a:gd name="connsiteX2" fmla="*/ 918168 w 1698172"/>
                <a:gd name="connsiteY2" fmla="*/ 0 h 48607"/>
                <a:gd name="connsiteX3" fmla="*/ 1408339 w 1698172"/>
                <a:gd name="connsiteY3" fmla="*/ 1616 h 48607"/>
                <a:gd name="connsiteX4" fmla="*/ 1698172 w 1698172"/>
                <a:gd name="connsiteY4" fmla="*/ 48607 h 48607"/>
                <a:gd name="connsiteX0" fmla="*/ 0 w 1698172"/>
                <a:gd name="connsiteY0" fmla="*/ 54348 h 64396"/>
                <a:gd name="connsiteX1" fmla="*/ 271306 w 1698172"/>
                <a:gd name="connsiteY1" fmla="*/ 24203 h 64396"/>
                <a:gd name="connsiteX2" fmla="*/ 927693 w 1698172"/>
                <a:gd name="connsiteY2" fmla="*/ 0 h 64396"/>
                <a:gd name="connsiteX3" fmla="*/ 1408339 w 1698172"/>
                <a:gd name="connsiteY3" fmla="*/ 17405 h 64396"/>
                <a:gd name="connsiteX4" fmla="*/ 1698172 w 1698172"/>
                <a:gd name="connsiteY4" fmla="*/ 64396 h 64396"/>
                <a:gd name="connsiteX0" fmla="*/ 0 w 1698172"/>
                <a:gd name="connsiteY0" fmla="*/ 44945 h 54993"/>
                <a:gd name="connsiteX1" fmla="*/ 271306 w 1698172"/>
                <a:gd name="connsiteY1" fmla="*/ 14800 h 54993"/>
                <a:gd name="connsiteX2" fmla="*/ 870543 w 1698172"/>
                <a:gd name="connsiteY2" fmla="*/ 0 h 54993"/>
                <a:gd name="connsiteX3" fmla="*/ 1408339 w 1698172"/>
                <a:gd name="connsiteY3" fmla="*/ 8002 h 54993"/>
                <a:gd name="connsiteX4" fmla="*/ 1698172 w 1698172"/>
                <a:gd name="connsiteY4" fmla="*/ 54993 h 54993"/>
                <a:gd name="connsiteX0" fmla="*/ 0 w 1698172"/>
                <a:gd name="connsiteY0" fmla="*/ 45462 h 55510"/>
                <a:gd name="connsiteX1" fmla="*/ 271306 w 1698172"/>
                <a:gd name="connsiteY1" fmla="*/ 15317 h 55510"/>
                <a:gd name="connsiteX2" fmla="*/ 870543 w 1698172"/>
                <a:gd name="connsiteY2" fmla="*/ 517 h 55510"/>
                <a:gd name="connsiteX3" fmla="*/ 1408339 w 1698172"/>
                <a:gd name="connsiteY3" fmla="*/ 8519 h 55510"/>
                <a:gd name="connsiteX4" fmla="*/ 1698172 w 1698172"/>
                <a:gd name="connsiteY4" fmla="*/ 55510 h 5551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64847"/>
                <a:gd name="connsiteY0" fmla="*/ 35817 h 42434"/>
                <a:gd name="connsiteX1" fmla="*/ 280831 w 1764847"/>
                <a:gd name="connsiteY1" fmla="*/ 15075 h 42434"/>
                <a:gd name="connsiteX2" fmla="*/ 880068 w 1764847"/>
                <a:gd name="connsiteY2" fmla="*/ 275 h 42434"/>
                <a:gd name="connsiteX3" fmla="*/ 1417864 w 1764847"/>
                <a:gd name="connsiteY3" fmla="*/ 8277 h 42434"/>
                <a:gd name="connsiteX4" fmla="*/ 1764847 w 1764847"/>
                <a:gd name="connsiteY4" fmla="*/ 41164 h 42434"/>
                <a:gd name="connsiteX0" fmla="*/ 0 w 1764847"/>
                <a:gd name="connsiteY0" fmla="*/ 81529 h 88146"/>
                <a:gd name="connsiteX1" fmla="*/ 280831 w 1764847"/>
                <a:gd name="connsiteY1" fmla="*/ 60787 h 88146"/>
                <a:gd name="connsiteX2" fmla="*/ 919775 w 1764847"/>
                <a:gd name="connsiteY2" fmla="*/ 19 h 88146"/>
                <a:gd name="connsiteX3" fmla="*/ 1417864 w 1764847"/>
                <a:gd name="connsiteY3" fmla="*/ 53989 h 88146"/>
                <a:gd name="connsiteX4" fmla="*/ 1764847 w 1764847"/>
                <a:gd name="connsiteY4" fmla="*/ 86876 h 88146"/>
                <a:gd name="connsiteX0" fmla="*/ 0 w 1764847"/>
                <a:gd name="connsiteY0" fmla="*/ 83862 h 90479"/>
                <a:gd name="connsiteX1" fmla="*/ 606428 w 1764847"/>
                <a:gd name="connsiteY1" fmla="*/ 17152 h 90479"/>
                <a:gd name="connsiteX2" fmla="*/ 919775 w 1764847"/>
                <a:gd name="connsiteY2" fmla="*/ 2352 h 90479"/>
                <a:gd name="connsiteX3" fmla="*/ 1417864 w 1764847"/>
                <a:gd name="connsiteY3" fmla="*/ 56322 h 90479"/>
                <a:gd name="connsiteX4" fmla="*/ 1764847 w 1764847"/>
                <a:gd name="connsiteY4" fmla="*/ 89209 h 90479"/>
                <a:gd name="connsiteX0" fmla="*/ 0 w 1764847"/>
                <a:gd name="connsiteY0" fmla="*/ 81512 h 87505"/>
                <a:gd name="connsiteX1" fmla="*/ 606428 w 1764847"/>
                <a:gd name="connsiteY1" fmla="*/ 14802 h 87505"/>
                <a:gd name="connsiteX2" fmla="*/ 919775 w 1764847"/>
                <a:gd name="connsiteY2" fmla="*/ 2 h 87505"/>
                <a:gd name="connsiteX3" fmla="*/ 1290802 w 1764847"/>
                <a:gd name="connsiteY3" fmla="*/ 15076 h 87505"/>
                <a:gd name="connsiteX4" fmla="*/ 1764847 w 1764847"/>
                <a:gd name="connsiteY4" fmla="*/ 86859 h 87505"/>
                <a:gd name="connsiteX0" fmla="*/ 0 w 1764847"/>
                <a:gd name="connsiteY0" fmla="*/ 81987 h 88080"/>
                <a:gd name="connsiteX1" fmla="*/ 606428 w 1764847"/>
                <a:gd name="connsiteY1" fmla="*/ 15277 h 88080"/>
                <a:gd name="connsiteX2" fmla="*/ 919775 w 1764847"/>
                <a:gd name="connsiteY2" fmla="*/ 477 h 88080"/>
                <a:gd name="connsiteX3" fmla="*/ 1370216 w 1764847"/>
                <a:gd name="connsiteY3" fmla="*/ 26159 h 88080"/>
                <a:gd name="connsiteX4" fmla="*/ 1764847 w 1764847"/>
                <a:gd name="connsiteY4" fmla="*/ 87334 h 88080"/>
                <a:gd name="connsiteX0" fmla="*/ 0 w 1764847"/>
                <a:gd name="connsiteY0" fmla="*/ 82654 h 88884"/>
                <a:gd name="connsiteX1" fmla="*/ 606428 w 1764847"/>
                <a:gd name="connsiteY1" fmla="*/ 15944 h 88884"/>
                <a:gd name="connsiteX2" fmla="*/ 919775 w 1764847"/>
                <a:gd name="connsiteY2" fmla="*/ 1144 h 88884"/>
                <a:gd name="connsiteX3" fmla="*/ 1179622 w 1764847"/>
                <a:gd name="connsiteY3" fmla="*/ 37434 h 88884"/>
                <a:gd name="connsiteX4" fmla="*/ 1764847 w 1764847"/>
                <a:gd name="connsiteY4" fmla="*/ 88001 h 88884"/>
                <a:gd name="connsiteX0" fmla="*/ 0 w 1764847"/>
                <a:gd name="connsiteY0" fmla="*/ 82654 h 88884"/>
                <a:gd name="connsiteX1" fmla="*/ 606428 w 1764847"/>
                <a:gd name="connsiteY1" fmla="*/ 15944 h 88884"/>
                <a:gd name="connsiteX2" fmla="*/ 895951 w 1764847"/>
                <a:gd name="connsiteY2" fmla="*/ 1144 h 88884"/>
                <a:gd name="connsiteX3" fmla="*/ 1179622 w 1764847"/>
                <a:gd name="connsiteY3" fmla="*/ 37434 h 88884"/>
                <a:gd name="connsiteX4" fmla="*/ 1764847 w 1764847"/>
                <a:gd name="connsiteY4" fmla="*/ 88001 h 88884"/>
                <a:gd name="connsiteX0" fmla="*/ 0 w 1764847"/>
                <a:gd name="connsiteY0" fmla="*/ 76842 h 83072"/>
                <a:gd name="connsiteX1" fmla="*/ 606428 w 1764847"/>
                <a:gd name="connsiteY1" fmla="*/ 10132 h 83072"/>
                <a:gd name="connsiteX2" fmla="*/ 840362 w 1764847"/>
                <a:gd name="connsiteY2" fmla="*/ 2404 h 83072"/>
                <a:gd name="connsiteX3" fmla="*/ 1179622 w 1764847"/>
                <a:gd name="connsiteY3" fmla="*/ 31622 h 83072"/>
                <a:gd name="connsiteX4" fmla="*/ 1764847 w 1764847"/>
                <a:gd name="connsiteY4" fmla="*/ 82189 h 83072"/>
                <a:gd name="connsiteX0" fmla="*/ 0 w 1764847"/>
                <a:gd name="connsiteY0" fmla="*/ 76842 h 83072"/>
                <a:gd name="connsiteX1" fmla="*/ 582603 w 1764847"/>
                <a:gd name="connsiteY1" fmla="*/ 10132 h 83072"/>
                <a:gd name="connsiteX2" fmla="*/ 840362 w 1764847"/>
                <a:gd name="connsiteY2" fmla="*/ 2404 h 83072"/>
                <a:gd name="connsiteX3" fmla="*/ 1179622 w 1764847"/>
                <a:gd name="connsiteY3" fmla="*/ 31622 h 83072"/>
                <a:gd name="connsiteX4" fmla="*/ 1764847 w 1764847"/>
                <a:gd name="connsiteY4" fmla="*/ 82189 h 83072"/>
                <a:gd name="connsiteX0" fmla="*/ 0 w 1764847"/>
                <a:gd name="connsiteY0" fmla="*/ 77098 h 83385"/>
                <a:gd name="connsiteX1" fmla="*/ 582603 w 1764847"/>
                <a:gd name="connsiteY1" fmla="*/ 10388 h 83385"/>
                <a:gd name="connsiteX2" fmla="*/ 840362 w 1764847"/>
                <a:gd name="connsiteY2" fmla="*/ 2660 h 83385"/>
                <a:gd name="connsiteX3" fmla="*/ 1100208 w 1764847"/>
                <a:gd name="connsiteY3" fmla="*/ 35414 h 83385"/>
                <a:gd name="connsiteX4" fmla="*/ 1764847 w 1764847"/>
                <a:gd name="connsiteY4" fmla="*/ 82445 h 83385"/>
                <a:gd name="connsiteX0" fmla="*/ 0 w 1764847"/>
                <a:gd name="connsiteY0" fmla="*/ 77098 h 82445"/>
                <a:gd name="connsiteX1" fmla="*/ 582603 w 1764847"/>
                <a:gd name="connsiteY1" fmla="*/ 10388 h 82445"/>
                <a:gd name="connsiteX2" fmla="*/ 840362 w 1764847"/>
                <a:gd name="connsiteY2" fmla="*/ 2660 h 82445"/>
                <a:gd name="connsiteX3" fmla="*/ 1100208 w 1764847"/>
                <a:gd name="connsiteY3" fmla="*/ 35414 h 82445"/>
                <a:gd name="connsiteX4" fmla="*/ 1381136 w 1764847"/>
                <a:gd name="connsiteY4" fmla="*/ 27667 h 82445"/>
                <a:gd name="connsiteX5" fmla="*/ 1764847 w 1764847"/>
                <a:gd name="connsiteY5" fmla="*/ 82445 h 82445"/>
                <a:gd name="connsiteX0" fmla="*/ 0 w 1764847"/>
                <a:gd name="connsiteY0" fmla="*/ 77873 h 83220"/>
                <a:gd name="connsiteX1" fmla="*/ 582603 w 1764847"/>
                <a:gd name="connsiteY1" fmla="*/ 11163 h 83220"/>
                <a:gd name="connsiteX2" fmla="*/ 840362 w 1764847"/>
                <a:gd name="connsiteY2" fmla="*/ 3435 h 83220"/>
                <a:gd name="connsiteX3" fmla="*/ 1131974 w 1764847"/>
                <a:gd name="connsiteY3" fmla="*/ 46797 h 83220"/>
                <a:gd name="connsiteX4" fmla="*/ 1381136 w 1764847"/>
                <a:gd name="connsiteY4" fmla="*/ 28442 h 83220"/>
                <a:gd name="connsiteX5" fmla="*/ 1764847 w 1764847"/>
                <a:gd name="connsiteY5" fmla="*/ 83220 h 83220"/>
                <a:gd name="connsiteX0" fmla="*/ 0 w 1764847"/>
                <a:gd name="connsiteY0" fmla="*/ 74804 h 80151"/>
                <a:gd name="connsiteX1" fmla="*/ 590545 w 1764847"/>
                <a:gd name="connsiteY1" fmla="*/ 25774 h 80151"/>
                <a:gd name="connsiteX2" fmla="*/ 840362 w 1764847"/>
                <a:gd name="connsiteY2" fmla="*/ 366 h 80151"/>
                <a:gd name="connsiteX3" fmla="*/ 1131974 w 1764847"/>
                <a:gd name="connsiteY3" fmla="*/ 43728 h 80151"/>
                <a:gd name="connsiteX4" fmla="*/ 1381136 w 1764847"/>
                <a:gd name="connsiteY4" fmla="*/ 25373 h 80151"/>
                <a:gd name="connsiteX5" fmla="*/ 1764847 w 1764847"/>
                <a:gd name="connsiteY5" fmla="*/ 80151 h 80151"/>
                <a:gd name="connsiteX0" fmla="*/ 0 w 2296921"/>
                <a:gd name="connsiteY0" fmla="*/ 74804 h 80151"/>
                <a:gd name="connsiteX1" fmla="*/ 1122619 w 2296921"/>
                <a:gd name="connsiteY1" fmla="*/ 25774 h 80151"/>
                <a:gd name="connsiteX2" fmla="*/ 1372436 w 2296921"/>
                <a:gd name="connsiteY2" fmla="*/ 366 h 80151"/>
                <a:gd name="connsiteX3" fmla="*/ 1664048 w 2296921"/>
                <a:gd name="connsiteY3" fmla="*/ 43728 h 80151"/>
                <a:gd name="connsiteX4" fmla="*/ 1913210 w 2296921"/>
                <a:gd name="connsiteY4" fmla="*/ 25373 h 80151"/>
                <a:gd name="connsiteX5" fmla="*/ 2296921 w 2296921"/>
                <a:gd name="connsiteY5" fmla="*/ 80151 h 80151"/>
                <a:gd name="connsiteX0" fmla="*/ 0 w 2296921"/>
                <a:gd name="connsiteY0" fmla="*/ 74752 h 80099"/>
                <a:gd name="connsiteX1" fmla="*/ 698172 w 2296921"/>
                <a:gd name="connsiteY1" fmla="*/ 55801 h 80099"/>
                <a:gd name="connsiteX2" fmla="*/ 1122619 w 2296921"/>
                <a:gd name="connsiteY2" fmla="*/ 25722 h 80099"/>
                <a:gd name="connsiteX3" fmla="*/ 1372436 w 2296921"/>
                <a:gd name="connsiteY3" fmla="*/ 314 h 80099"/>
                <a:gd name="connsiteX4" fmla="*/ 1664048 w 2296921"/>
                <a:gd name="connsiteY4" fmla="*/ 43676 h 80099"/>
                <a:gd name="connsiteX5" fmla="*/ 1913210 w 2296921"/>
                <a:gd name="connsiteY5" fmla="*/ 25321 h 80099"/>
                <a:gd name="connsiteX6" fmla="*/ 2296921 w 2296921"/>
                <a:gd name="connsiteY6" fmla="*/ 80099 h 80099"/>
                <a:gd name="connsiteX0" fmla="*/ 0 w 2296921"/>
                <a:gd name="connsiteY0" fmla="*/ 74752 h 80099"/>
                <a:gd name="connsiteX1" fmla="*/ 698172 w 2296921"/>
                <a:gd name="connsiteY1" fmla="*/ 55801 h 80099"/>
                <a:gd name="connsiteX2" fmla="*/ 1122619 w 2296921"/>
                <a:gd name="connsiteY2" fmla="*/ 25722 h 80099"/>
                <a:gd name="connsiteX3" fmla="*/ 1372436 w 2296921"/>
                <a:gd name="connsiteY3" fmla="*/ 314 h 80099"/>
                <a:gd name="connsiteX4" fmla="*/ 1664048 w 2296921"/>
                <a:gd name="connsiteY4" fmla="*/ 43676 h 80099"/>
                <a:gd name="connsiteX5" fmla="*/ 1913210 w 2296921"/>
                <a:gd name="connsiteY5" fmla="*/ 25321 h 80099"/>
                <a:gd name="connsiteX6" fmla="*/ 2296921 w 2296921"/>
                <a:gd name="connsiteY6" fmla="*/ 80099 h 8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6921" h="80099">
                  <a:moveTo>
                    <a:pt x="0" y="74752"/>
                  </a:moveTo>
                  <a:cubicBezTo>
                    <a:pt x="211547" y="65522"/>
                    <a:pt x="486625" y="65031"/>
                    <a:pt x="698172" y="55801"/>
                  </a:cubicBezTo>
                  <a:lnTo>
                    <a:pt x="1122619" y="25722"/>
                  </a:lnTo>
                  <a:cubicBezTo>
                    <a:pt x="1234996" y="16474"/>
                    <a:pt x="1282198" y="-2678"/>
                    <a:pt x="1372436" y="314"/>
                  </a:cubicBezTo>
                  <a:cubicBezTo>
                    <a:pt x="1462674" y="3306"/>
                    <a:pt x="1568625" y="34793"/>
                    <a:pt x="1664048" y="43676"/>
                  </a:cubicBezTo>
                  <a:cubicBezTo>
                    <a:pt x="1759471" y="52559"/>
                    <a:pt x="1802437" y="17482"/>
                    <a:pt x="1913210" y="25321"/>
                  </a:cubicBezTo>
                  <a:cubicBezTo>
                    <a:pt x="2023983" y="33160"/>
                    <a:pt x="2238264" y="75684"/>
                    <a:pt x="2296921" y="80099"/>
                  </a:cubicBezTo>
                </a:path>
              </a:pathLst>
            </a:custGeom>
            <a:solidFill>
              <a:schemeClr val="bg1">
                <a:lumMod val="65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151996" y="4841515"/>
              <a:ext cx="2877341" cy="245054"/>
            </a:xfrm>
            <a:custGeom>
              <a:avLst/>
              <a:gdLst>
                <a:gd name="connsiteX0" fmla="*/ 0 w 1858946"/>
                <a:gd name="connsiteY0" fmla="*/ 120580 h 141257"/>
                <a:gd name="connsiteX1" fmla="*/ 522515 w 1858946"/>
                <a:gd name="connsiteY1" fmla="*/ 140677 h 141257"/>
                <a:gd name="connsiteX2" fmla="*/ 1034981 w 1858946"/>
                <a:gd name="connsiteY2" fmla="*/ 100483 h 141257"/>
                <a:gd name="connsiteX3" fmla="*/ 1597688 w 1858946"/>
                <a:gd name="connsiteY3" fmla="*/ 60290 h 141257"/>
                <a:gd name="connsiteX4" fmla="*/ 1858946 w 1858946"/>
                <a:gd name="connsiteY4" fmla="*/ 0 h 141257"/>
                <a:gd name="connsiteX0" fmla="*/ 0 w 1858946"/>
                <a:gd name="connsiteY0" fmla="*/ 120580 h 140953"/>
                <a:gd name="connsiteX1" fmla="*/ 522515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0953"/>
                <a:gd name="connsiteX1" fmla="*/ 474890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7579"/>
                <a:gd name="connsiteX1" fmla="*/ 474890 w 1858946"/>
                <a:gd name="connsiteY1" fmla="*/ 140677 h 147579"/>
                <a:gd name="connsiteX2" fmla="*/ 946042 w 1858946"/>
                <a:gd name="connsiteY2" fmla="*/ 140858 h 147579"/>
                <a:gd name="connsiteX3" fmla="*/ 1597688 w 1858946"/>
                <a:gd name="connsiteY3" fmla="*/ 60290 h 147579"/>
                <a:gd name="connsiteX4" fmla="*/ 1858946 w 1858946"/>
                <a:gd name="connsiteY4" fmla="*/ 0 h 147579"/>
                <a:gd name="connsiteX0" fmla="*/ 0 w 1858946"/>
                <a:gd name="connsiteY0" fmla="*/ 120580 h 151694"/>
                <a:gd name="connsiteX1" fmla="*/ 411359 w 1858946"/>
                <a:gd name="connsiteY1" fmla="*/ 151694 h 151694"/>
                <a:gd name="connsiteX2" fmla="*/ 946042 w 1858946"/>
                <a:gd name="connsiteY2" fmla="*/ 140858 h 151694"/>
                <a:gd name="connsiteX3" fmla="*/ 1597688 w 1858946"/>
                <a:gd name="connsiteY3" fmla="*/ 60290 h 151694"/>
                <a:gd name="connsiteX4" fmla="*/ 1858946 w 1858946"/>
                <a:gd name="connsiteY4" fmla="*/ 0 h 151694"/>
                <a:gd name="connsiteX0" fmla="*/ 0 w 1858946"/>
                <a:gd name="connsiteY0" fmla="*/ 120580 h 151694"/>
                <a:gd name="connsiteX1" fmla="*/ 411359 w 1858946"/>
                <a:gd name="connsiteY1" fmla="*/ 151694 h 151694"/>
                <a:gd name="connsiteX2" fmla="*/ 946042 w 1858946"/>
                <a:gd name="connsiteY2" fmla="*/ 140858 h 151694"/>
                <a:gd name="connsiteX3" fmla="*/ 1502391 w 1858946"/>
                <a:gd name="connsiteY3" fmla="*/ 104359 h 151694"/>
                <a:gd name="connsiteX4" fmla="*/ 1858946 w 1858946"/>
                <a:gd name="connsiteY4" fmla="*/ 0 h 151694"/>
                <a:gd name="connsiteX0" fmla="*/ 0 w 2398961"/>
                <a:gd name="connsiteY0" fmla="*/ 137106 h 151763"/>
                <a:gd name="connsiteX1" fmla="*/ 951374 w 2398961"/>
                <a:gd name="connsiteY1" fmla="*/ 151694 h 151763"/>
                <a:gd name="connsiteX2" fmla="*/ 1486057 w 2398961"/>
                <a:gd name="connsiteY2" fmla="*/ 140858 h 151763"/>
                <a:gd name="connsiteX3" fmla="*/ 2042406 w 2398961"/>
                <a:gd name="connsiteY3" fmla="*/ 104359 h 151763"/>
                <a:gd name="connsiteX4" fmla="*/ 2398961 w 2398961"/>
                <a:gd name="connsiteY4" fmla="*/ 0 h 151763"/>
                <a:gd name="connsiteX0" fmla="*/ 0 w 2398961"/>
                <a:gd name="connsiteY0" fmla="*/ 137106 h 152477"/>
                <a:gd name="connsiteX1" fmla="*/ 858010 w 2398961"/>
                <a:gd name="connsiteY1" fmla="*/ 122989 h 152477"/>
                <a:gd name="connsiteX2" fmla="*/ 951374 w 2398961"/>
                <a:gd name="connsiteY2" fmla="*/ 151694 h 152477"/>
                <a:gd name="connsiteX3" fmla="*/ 1486057 w 2398961"/>
                <a:gd name="connsiteY3" fmla="*/ 140858 h 152477"/>
                <a:gd name="connsiteX4" fmla="*/ 2042406 w 2398961"/>
                <a:gd name="connsiteY4" fmla="*/ 104359 h 152477"/>
                <a:gd name="connsiteX5" fmla="*/ 2398961 w 2398961"/>
                <a:gd name="connsiteY5" fmla="*/ 0 h 152477"/>
                <a:gd name="connsiteX0" fmla="*/ 0 w 2398961"/>
                <a:gd name="connsiteY0" fmla="*/ 137106 h 141721"/>
                <a:gd name="connsiteX1" fmla="*/ 858010 w 2398961"/>
                <a:gd name="connsiteY1" fmla="*/ 122989 h 141721"/>
                <a:gd name="connsiteX2" fmla="*/ 1181675 w 2398961"/>
                <a:gd name="connsiteY2" fmla="*/ 129660 h 141721"/>
                <a:gd name="connsiteX3" fmla="*/ 1486057 w 2398961"/>
                <a:gd name="connsiteY3" fmla="*/ 140858 h 141721"/>
                <a:gd name="connsiteX4" fmla="*/ 2042406 w 2398961"/>
                <a:gd name="connsiteY4" fmla="*/ 104359 h 141721"/>
                <a:gd name="connsiteX5" fmla="*/ 2398961 w 2398961"/>
                <a:gd name="connsiteY5" fmla="*/ 0 h 141721"/>
                <a:gd name="connsiteX0" fmla="*/ 0 w 2398961"/>
                <a:gd name="connsiteY0" fmla="*/ 137106 h 141721"/>
                <a:gd name="connsiteX1" fmla="*/ 858010 w 2398961"/>
                <a:gd name="connsiteY1" fmla="*/ 122989 h 141721"/>
                <a:gd name="connsiteX2" fmla="*/ 1189616 w 2398961"/>
                <a:gd name="connsiteY2" fmla="*/ 129660 h 141721"/>
                <a:gd name="connsiteX3" fmla="*/ 1486057 w 2398961"/>
                <a:gd name="connsiteY3" fmla="*/ 140858 h 141721"/>
                <a:gd name="connsiteX4" fmla="*/ 2042406 w 2398961"/>
                <a:gd name="connsiteY4" fmla="*/ 104359 h 141721"/>
                <a:gd name="connsiteX5" fmla="*/ 2398961 w 2398961"/>
                <a:gd name="connsiteY5" fmla="*/ 0 h 14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8961" h="141721">
                  <a:moveTo>
                    <a:pt x="0" y="137106"/>
                  </a:moveTo>
                  <a:lnTo>
                    <a:pt x="858010" y="122989"/>
                  </a:lnTo>
                  <a:lnTo>
                    <a:pt x="1189616" y="129660"/>
                  </a:lnTo>
                  <a:cubicBezTo>
                    <a:pt x="1294290" y="132638"/>
                    <a:pt x="1343925" y="145075"/>
                    <a:pt x="1486057" y="140858"/>
                  </a:cubicBezTo>
                  <a:cubicBezTo>
                    <a:pt x="1628189" y="136641"/>
                    <a:pt x="1903491" y="122327"/>
                    <a:pt x="2042406" y="104359"/>
                  </a:cubicBezTo>
                  <a:cubicBezTo>
                    <a:pt x="2181321" y="86391"/>
                    <a:pt x="2336996" y="21771"/>
                    <a:pt x="2398961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5584383" y="5702833"/>
              <a:ext cx="2916610" cy="199356"/>
            </a:xfrm>
            <a:custGeom>
              <a:avLst/>
              <a:gdLst>
                <a:gd name="connsiteX0" fmla="*/ 0 w 1999622"/>
                <a:gd name="connsiteY0" fmla="*/ 222955 h 222955"/>
                <a:gd name="connsiteX1" fmla="*/ 261257 w 1999622"/>
                <a:gd name="connsiteY1" fmla="*/ 202858 h 222955"/>
                <a:gd name="connsiteX2" fmla="*/ 562708 w 1999622"/>
                <a:gd name="connsiteY2" fmla="*/ 152617 h 222955"/>
                <a:gd name="connsiteX3" fmla="*/ 924448 w 1999622"/>
                <a:gd name="connsiteY3" fmla="*/ 102375 h 222955"/>
                <a:gd name="connsiteX4" fmla="*/ 1205802 w 1999622"/>
                <a:gd name="connsiteY4" fmla="*/ 11940 h 222955"/>
                <a:gd name="connsiteX5" fmla="*/ 1557495 w 1999622"/>
                <a:gd name="connsiteY5" fmla="*/ 11940 h 222955"/>
                <a:gd name="connsiteX6" fmla="*/ 1899139 w 1999622"/>
                <a:gd name="connsiteY6" fmla="*/ 112423 h 222955"/>
                <a:gd name="connsiteX7" fmla="*/ 1999622 w 1999622"/>
                <a:gd name="connsiteY7" fmla="*/ 142568 h 222955"/>
                <a:gd name="connsiteX0" fmla="*/ 0 w 2431701"/>
                <a:gd name="connsiteY0" fmla="*/ 222955 h 222955"/>
                <a:gd name="connsiteX1" fmla="*/ 261257 w 2431701"/>
                <a:gd name="connsiteY1" fmla="*/ 202858 h 222955"/>
                <a:gd name="connsiteX2" fmla="*/ 562708 w 2431701"/>
                <a:gd name="connsiteY2" fmla="*/ 152617 h 222955"/>
                <a:gd name="connsiteX3" fmla="*/ 924448 w 2431701"/>
                <a:gd name="connsiteY3" fmla="*/ 102375 h 222955"/>
                <a:gd name="connsiteX4" fmla="*/ 1205802 w 2431701"/>
                <a:gd name="connsiteY4" fmla="*/ 11940 h 222955"/>
                <a:gd name="connsiteX5" fmla="*/ 1557495 w 2431701"/>
                <a:gd name="connsiteY5" fmla="*/ 11940 h 222955"/>
                <a:gd name="connsiteX6" fmla="*/ 1899139 w 2431701"/>
                <a:gd name="connsiteY6" fmla="*/ 112423 h 222955"/>
                <a:gd name="connsiteX7" fmla="*/ 2431701 w 2431701"/>
                <a:gd name="connsiteY7" fmla="*/ 142568 h 222955"/>
                <a:gd name="connsiteX0" fmla="*/ 0 w 2431701"/>
                <a:gd name="connsiteY0" fmla="*/ 220976 h 220976"/>
                <a:gd name="connsiteX1" fmla="*/ 261257 w 2431701"/>
                <a:gd name="connsiteY1" fmla="*/ 200879 h 220976"/>
                <a:gd name="connsiteX2" fmla="*/ 562708 w 2431701"/>
                <a:gd name="connsiteY2" fmla="*/ 150638 h 220976"/>
                <a:gd name="connsiteX3" fmla="*/ 924448 w 2431701"/>
                <a:gd name="connsiteY3" fmla="*/ 100396 h 220976"/>
                <a:gd name="connsiteX4" fmla="*/ 1205802 w 2431701"/>
                <a:gd name="connsiteY4" fmla="*/ 9961 h 220976"/>
                <a:gd name="connsiteX5" fmla="*/ 1557495 w 2431701"/>
                <a:gd name="connsiteY5" fmla="*/ 9961 h 220976"/>
                <a:gd name="connsiteX6" fmla="*/ 1949381 w 2431701"/>
                <a:gd name="connsiteY6" fmla="*/ 78120 h 220976"/>
                <a:gd name="connsiteX7" fmla="*/ 2431701 w 2431701"/>
                <a:gd name="connsiteY7" fmla="*/ 140589 h 220976"/>
                <a:gd name="connsiteX0" fmla="*/ 0 w 2431701"/>
                <a:gd name="connsiteY0" fmla="*/ 223477 h 223477"/>
                <a:gd name="connsiteX1" fmla="*/ 261257 w 2431701"/>
                <a:gd name="connsiteY1" fmla="*/ 20338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  <a:gd name="connsiteX0" fmla="*/ 0 w 2431701"/>
                <a:gd name="connsiteY0" fmla="*/ 211110 h 211110"/>
                <a:gd name="connsiteX1" fmla="*/ 261257 w 2431701"/>
                <a:gd name="connsiteY1" fmla="*/ 191013 h 211110"/>
                <a:gd name="connsiteX2" fmla="*/ 562708 w 2431701"/>
                <a:gd name="connsiteY2" fmla="*/ 140772 h 211110"/>
                <a:gd name="connsiteX3" fmla="*/ 924448 w 2431701"/>
                <a:gd name="connsiteY3" fmla="*/ 90530 h 211110"/>
                <a:gd name="connsiteX4" fmla="*/ 1557495 w 2431701"/>
                <a:gd name="connsiteY4" fmla="*/ 95 h 211110"/>
                <a:gd name="connsiteX5" fmla="*/ 1949381 w 2431701"/>
                <a:gd name="connsiteY5" fmla="*/ 108658 h 211110"/>
                <a:gd name="connsiteX6" fmla="*/ 2431701 w 2431701"/>
                <a:gd name="connsiteY6" fmla="*/ 130723 h 211110"/>
                <a:gd name="connsiteX0" fmla="*/ 0 w 2431701"/>
                <a:gd name="connsiteY0" fmla="*/ 120580 h 120580"/>
                <a:gd name="connsiteX1" fmla="*/ 261257 w 2431701"/>
                <a:gd name="connsiteY1" fmla="*/ 100483 h 120580"/>
                <a:gd name="connsiteX2" fmla="*/ 562708 w 2431701"/>
                <a:gd name="connsiteY2" fmla="*/ 50242 h 120580"/>
                <a:gd name="connsiteX3" fmla="*/ 924448 w 2431701"/>
                <a:gd name="connsiteY3" fmla="*/ 0 h 120580"/>
                <a:gd name="connsiteX4" fmla="*/ 1949381 w 2431701"/>
                <a:gd name="connsiteY4" fmla="*/ 18128 h 120580"/>
                <a:gd name="connsiteX5" fmla="*/ 2431701 w 2431701"/>
                <a:gd name="connsiteY5" fmla="*/ 40193 h 120580"/>
                <a:gd name="connsiteX0" fmla="*/ 0 w 2431701"/>
                <a:gd name="connsiteY0" fmla="*/ 120580 h 120580"/>
                <a:gd name="connsiteX1" fmla="*/ 261257 w 2431701"/>
                <a:gd name="connsiteY1" fmla="*/ 100483 h 120580"/>
                <a:gd name="connsiteX2" fmla="*/ 562708 w 2431701"/>
                <a:gd name="connsiteY2" fmla="*/ 50242 h 120580"/>
                <a:gd name="connsiteX3" fmla="*/ 1361225 w 2431701"/>
                <a:gd name="connsiteY3" fmla="*/ 0 h 120580"/>
                <a:gd name="connsiteX4" fmla="*/ 1949381 w 2431701"/>
                <a:gd name="connsiteY4" fmla="*/ 18128 h 120580"/>
                <a:gd name="connsiteX5" fmla="*/ 2431701 w 2431701"/>
                <a:gd name="connsiteY5" fmla="*/ 4019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1701" h="120580">
                  <a:moveTo>
                    <a:pt x="0" y="120580"/>
                  </a:moveTo>
                  <a:cubicBezTo>
                    <a:pt x="83736" y="116393"/>
                    <a:pt x="167472" y="112206"/>
                    <a:pt x="261257" y="100483"/>
                  </a:cubicBezTo>
                  <a:cubicBezTo>
                    <a:pt x="355042" y="88760"/>
                    <a:pt x="379380" y="66989"/>
                    <a:pt x="562708" y="50242"/>
                  </a:cubicBezTo>
                  <a:cubicBezTo>
                    <a:pt x="746036" y="33495"/>
                    <a:pt x="1130113" y="5352"/>
                    <a:pt x="1361225" y="0"/>
                  </a:cubicBezTo>
                  <a:lnTo>
                    <a:pt x="1949381" y="18128"/>
                  </a:lnTo>
                  <a:cubicBezTo>
                    <a:pt x="2095082" y="39899"/>
                    <a:pt x="2254180" y="30145"/>
                    <a:pt x="2431701" y="40193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5596437" y="4561890"/>
              <a:ext cx="2817666" cy="160037"/>
            </a:xfrm>
            <a:custGeom>
              <a:avLst/>
              <a:gdLst>
                <a:gd name="connsiteX0" fmla="*/ 0 w 1979525"/>
                <a:gd name="connsiteY0" fmla="*/ 80387 h 161890"/>
                <a:gd name="connsiteX1" fmla="*/ 291402 w 1979525"/>
                <a:gd name="connsiteY1" fmla="*/ 100484 h 161890"/>
                <a:gd name="connsiteX2" fmla="*/ 572756 w 1979525"/>
                <a:gd name="connsiteY2" fmla="*/ 100484 h 161890"/>
                <a:gd name="connsiteX3" fmla="*/ 854110 w 1979525"/>
                <a:gd name="connsiteY3" fmla="*/ 100484 h 161890"/>
                <a:gd name="connsiteX4" fmla="*/ 1135464 w 1979525"/>
                <a:gd name="connsiteY4" fmla="*/ 150726 h 161890"/>
                <a:gd name="connsiteX5" fmla="*/ 1436914 w 1979525"/>
                <a:gd name="connsiteY5" fmla="*/ 150726 h 161890"/>
                <a:gd name="connsiteX6" fmla="*/ 1688123 w 1979525"/>
                <a:gd name="connsiteY6" fmla="*/ 150726 h 161890"/>
                <a:gd name="connsiteX7" fmla="*/ 1979525 w 1979525"/>
                <a:gd name="connsiteY7" fmla="*/ 0 h 161890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54110 w 1979525"/>
                <a:gd name="connsiteY3" fmla="*/ 100484 h 221064"/>
                <a:gd name="connsiteX4" fmla="*/ 1135464 w 1979525"/>
                <a:gd name="connsiteY4" fmla="*/ 150726 h 221064"/>
                <a:gd name="connsiteX5" fmla="*/ 1436914 w 1979525"/>
                <a:gd name="connsiteY5" fmla="*/ 221064 h 221064"/>
                <a:gd name="connsiteX6" fmla="*/ 1688123 w 1979525"/>
                <a:gd name="connsiteY6" fmla="*/ 150726 h 221064"/>
                <a:gd name="connsiteX7" fmla="*/ 1979525 w 1979525"/>
                <a:gd name="connsiteY7" fmla="*/ 0 h 221064"/>
                <a:gd name="connsiteX0" fmla="*/ 0 w 1979525"/>
                <a:gd name="connsiteY0" fmla="*/ 80387 h 221297"/>
                <a:gd name="connsiteX1" fmla="*/ 291402 w 1979525"/>
                <a:gd name="connsiteY1" fmla="*/ 100484 h 221297"/>
                <a:gd name="connsiteX2" fmla="*/ 572756 w 1979525"/>
                <a:gd name="connsiteY2" fmla="*/ 100484 h 221297"/>
                <a:gd name="connsiteX3" fmla="*/ 854110 w 1979525"/>
                <a:gd name="connsiteY3" fmla="*/ 100484 h 221297"/>
                <a:gd name="connsiteX4" fmla="*/ 1095271 w 1979525"/>
                <a:gd name="connsiteY4" fmla="*/ 170823 h 221297"/>
                <a:gd name="connsiteX5" fmla="*/ 1436914 w 1979525"/>
                <a:gd name="connsiteY5" fmla="*/ 221064 h 221297"/>
                <a:gd name="connsiteX6" fmla="*/ 1688123 w 1979525"/>
                <a:gd name="connsiteY6" fmla="*/ 150726 h 221297"/>
                <a:gd name="connsiteX7" fmla="*/ 1979525 w 1979525"/>
                <a:gd name="connsiteY7" fmla="*/ 0 h 221297"/>
                <a:gd name="connsiteX0" fmla="*/ 0 w 1979525"/>
                <a:gd name="connsiteY0" fmla="*/ 80387 h 221261"/>
                <a:gd name="connsiteX1" fmla="*/ 291402 w 1979525"/>
                <a:gd name="connsiteY1" fmla="*/ 100484 h 221261"/>
                <a:gd name="connsiteX2" fmla="*/ 572756 w 1979525"/>
                <a:gd name="connsiteY2" fmla="*/ 100484 h 221261"/>
                <a:gd name="connsiteX3" fmla="*/ 813916 w 1979525"/>
                <a:gd name="connsiteY3" fmla="*/ 140678 h 221261"/>
                <a:gd name="connsiteX4" fmla="*/ 1095271 w 1979525"/>
                <a:gd name="connsiteY4" fmla="*/ 170823 h 221261"/>
                <a:gd name="connsiteX5" fmla="*/ 1436914 w 1979525"/>
                <a:gd name="connsiteY5" fmla="*/ 221064 h 221261"/>
                <a:gd name="connsiteX6" fmla="*/ 1688123 w 1979525"/>
                <a:gd name="connsiteY6" fmla="*/ 150726 h 221261"/>
                <a:gd name="connsiteX7" fmla="*/ 1979525 w 1979525"/>
                <a:gd name="connsiteY7" fmla="*/ 0 h 221261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13916 w 1979525"/>
                <a:gd name="connsiteY3" fmla="*/ 140678 h 221064"/>
                <a:gd name="connsiteX4" fmla="*/ 1095271 w 1979525"/>
                <a:gd name="connsiteY4" fmla="*/ 170823 h 221064"/>
                <a:gd name="connsiteX5" fmla="*/ 1436914 w 1979525"/>
                <a:gd name="connsiteY5" fmla="*/ 221064 h 221064"/>
                <a:gd name="connsiteX6" fmla="*/ 1748414 w 1979525"/>
                <a:gd name="connsiteY6" fmla="*/ 170823 h 221064"/>
                <a:gd name="connsiteX7" fmla="*/ 1979525 w 1979525"/>
                <a:gd name="connsiteY7" fmla="*/ 0 h 221064"/>
                <a:gd name="connsiteX0" fmla="*/ 0 w 1979525"/>
                <a:gd name="connsiteY0" fmla="*/ 80387 h 221480"/>
                <a:gd name="connsiteX1" fmla="*/ 291402 w 1979525"/>
                <a:gd name="connsiteY1" fmla="*/ 100484 h 221480"/>
                <a:gd name="connsiteX2" fmla="*/ 572756 w 1979525"/>
                <a:gd name="connsiteY2" fmla="*/ 100484 h 221480"/>
                <a:gd name="connsiteX3" fmla="*/ 813916 w 1979525"/>
                <a:gd name="connsiteY3" fmla="*/ 140678 h 221480"/>
                <a:gd name="connsiteX4" fmla="*/ 1095271 w 1979525"/>
                <a:gd name="connsiteY4" fmla="*/ 170823 h 221480"/>
                <a:gd name="connsiteX5" fmla="*/ 1436914 w 1979525"/>
                <a:gd name="connsiteY5" fmla="*/ 221064 h 221480"/>
                <a:gd name="connsiteX6" fmla="*/ 1738366 w 1979525"/>
                <a:gd name="connsiteY6" fmla="*/ 140678 h 221480"/>
                <a:gd name="connsiteX7" fmla="*/ 1979525 w 1979525"/>
                <a:gd name="connsiteY7" fmla="*/ 0 h 221480"/>
                <a:gd name="connsiteX0" fmla="*/ 0 w 2351314"/>
                <a:gd name="connsiteY0" fmla="*/ 62471 h 203564"/>
                <a:gd name="connsiteX1" fmla="*/ 291402 w 2351314"/>
                <a:gd name="connsiteY1" fmla="*/ 82568 h 203564"/>
                <a:gd name="connsiteX2" fmla="*/ 572756 w 2351314"/>
                <a:gd name="connsiteY2" fmla="*/ 82568 h 203564"/>
                <a:gd name="connsiteX3" fmla="*/ 813916 w 2351314"/>
                <a:gd name="connsiteY3" fmla="*/ 122762 h 203564"/>
                <a:gd name="connsiteX4" fmla="*/ 1095271 w 2351314"/>
                <a:gd name="connsiteY4" fmla="*/ 152907 h 203564"/>
                <a:gd name="connsiteX5" fmla="*/ 1436914 w 2351314"/>
                <a:gd name="connsiteY5" fmla="*/ 203148 h 203564"/>
                <a:gd name="connsiteX6" fmla="*/ 1738366 w 2351314"/>
                <a:gd name="connsiteY6" fmla="*/ 122762 h 203564"/>
                <a:gd name="connsiteX7" fmla="*/ 2351314 w 2351314"/>
                <a:gd name="connsiteY7" fmla="*/ 0 h 203564"/>
                <a:gd name="connsiteX0" fmla="*/ 0 w 2351314"/>
                <a:gd name="connsiteY0" fmla="*/ 62471 h 205155"/>
                <a:gd name="connsiteX1" fmla="*/ 291402 w 2351314"/>
                <a:gd name="connsiteY1" fmla="*/ 82568 h 205155"/>
                <a:gd name="connsiteX2" fmla="*/ 572756 w 2351314"/>
                <a:gd name="connsiteY2" fmla="*/ 82568 h 205155"/>
                <a:gd name="connsiteX3" fmla="*/ 813916 w 2351314"/>
                <a:gd name="connsiteY3" fmla="*/ 122762 h 205155"/>
                <a:gd name="connsiteX4" fmla="*/ 1095271 w 2351314"/>
                <a:gd name="connsiteY4" fmla="*/ 152907 h 205155"/>
                <a:gd name="connsiteX5" fmla="*/ 1436914 w 2351314"/>
                <a:gd name="connsiteY5" fmla="*/ 203148 h 205155"/>
                <a:gd name="connsiteX6" fmla="*/ 1818752 w 2351314"/>
                <a:gd name="connsiteY6" fmla="*/ 77974 h 205155"/>
                <a:gd name="connsiteX7" fmla="*/ 2351314 w 2351314"/>
                <a:gd name="connsiteY7" fmla="*/ 0 h 205155"/>
                <a:gd name="connsiteX0" fmla="*/ 0 w 2381459"/>
                <a:gd name="connsiteY0" fmla="*/ 24785 h 167469"/>
                <a:gd name="connsiteX1" fmla="*/ 291402 w 2381459"/>
                <a:gd name="connsiteY1" fmla="*/ 44882 h 167469"/>
                <a:gd name="connsiteX2" fmla="*/ 572756 w 2381459"/>
                <a:gd name="connsiteY2" fmla="*/ 44882 h 167469"/>
                <a:gd name="connsiteX3" fmla="*/ 813916 w 2381459"/>
                <a:gd name="connsiteY3" fmla="*/ 85076 h 167469"/>
                <a:gd name="connsiteX4" fmla="*/ 1095271 w 2381459"/>
                <a:gd name="connsiteY4" fmla="*/ 115221 h 167469"/>
                <a:gd name="connsiteX5" fmla="*/ 1436914 w 2381459"/>
                <a:gd name="connsiteY5" fmla="*/ 165462 h 167469"/>
                <a:gd name="connsiteX6" fmla="*/ 1818752 w 2381459"/>
                <a:gd name="connsiteY6" fmla="*/ 40288 h 167469"/>
                <a:gd name="connsiteX7" fmla="*/ 2381459 w 2381459"/>
                <a:gd name="connsiteY7" fmla="*/ 0 h 167469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41266"/>
                <a:gd name="connsiteY0" fmla="*/ 45261 h 166844"/>
                <a:gd name="connsiteX1" fmla="*/ 251209 w 2341266"/>
                <a:gd name="connsiteY1" fmla="*/ 44882 h 166844"/>
                <a:gd name="connsiteX2" fmla="*/ 532563 w 2341266"/>
                <a:gd name="connsiteY2" fmla="*/ 44882 h 166844"/>
                <a:gd name="connsiteX3" fmla="*/ 773723 w 2341266"/>
                <a:gd name="connsiteY3" fmla="*/ 85076 h 166844"/>
                <a:gd name="connsiteX4" fmla="*/ 1055078 w 2341266"/>
                <a:gd name="connsiteY4" fmla="*/ 115221 h 166844"/>
                <a:gd name="connsiteX5" fmla="*/ 1396721 w 2341266"/>
                <a:gd name="connsiteY5" fmla="*/ 165462 h 166844"/>
                <a:gd name="connsiteX6" fmla="*/ 1778559 w 2341266"/>
                <a:gd name="connsiteY6" fmla="*/ 55363 h 166844"/>
                <a:gd name="connsiteX7" fmla="*/ 2341266 w 2341266"/>
                <a:gd name="connsiteY7" fmla="*/ 0 h 166844"/>
                <a:gd name="connsiteX0" fmla="*/ 0 w 2341266"/>
                <a:gd name="connsiteY0" fmla="*/ 45261 h 115899"/>
                <a:gd name="connsiteX1" fmla="*/ 251209 w 2341266"/>
                <a:gd name="connsiteY1" fmla="*/ 44882 h 115899"/>
                <a:gd name="connsiteX2" fmla="*/ 532563 w 2341266"/>
                <a:gd name="connsiteY2" fmla="*/ 44882 h 115899"/>
                <a:gd name="connsiteX3" fmla="*/ 773723 w 2341266"/>
                <a:gd name="connsiteY3" fmla="*/ 85076 h 115899"/>
                <a:gd name="connsiteX4" fmla="*/ 1055078 w 2341266"/>
                <a:gd name="connsiteY4" fmla="*/ 115221 h 115899"/>
                <a:gd name="connsiteX5" fmla="*/ 1778559 w 2341266"/>
                <a:gd name="connsiteY5" fmla="*/ 55363 h 115899"/>
                <a:gd name="connsiteX6" fmla="*/ 2341266 w 2341266"/>
                <a:gd name="connsiteY6" fmla="*/ 0 h 115899"/>
                <a:gd name="connsiteX0" fmla="*/ 0 w 2341266"/>
                <a:gd name="connsiteY0" fmla="*/ 45261 h 85198"/>
                <a:gd name="connsiteX1" fmla="*/ 251209 w 2341266"/>
                <a:gd name="connsiteY1" fmla="*/ 44882 h 85198"/>
                <a:gd name="connsiteX2" fmla="*/ 532563 w 2341266"/>
                <a:gd name="connsiteY2" fmla="*/ 44882 h 85198"/>
                <a:gd name="connsiteX3" fmla="*/ 773723 w 2341266"/>
                <a:gd name="connsiteY3" fmla="*/ 85076 h 85198"/>
                <a:gd name="connsiteX4" fmla="*/ 1778559 w 2341266"/>
                <a:gd name="connsiteY4" fmla="*/ 55363 h 85198"/>
                <a:gd name="connsiteX5" fmla="*/ 2341266 w 2341266"/>
                <a:gd name="connsiteY5" fmla="*/ 0 h 85198"/>
                <a:gd name="connsiteX0" fmla="*/ 0 w 2341266"/>
                <a:gd name="connsiteY0" fmla="*/ 45261 h 65611"/>
                <a:gd name="connsiteX1" fmla="*/ 251209 w 2341266"/>
                <a:gd name="connsiteY1" fmla="*/ 44882 h 65611"/>
                <a:gd name="connsiteX2" fmla="*/ 532563 w 2341266"/>
                <a:gd name="connsiteY2" fmla="*/ 44882 h 65611"/>
                <a:gd name="connsiteX3" fmla="*/ 1115203 w 2341266"/>
                <a:gd name="connsiteY3" fmla="*/ 65611 h 65611"/>
                <a:gd name="connsiteX4" fmla="*/ 1778559 w 2341266"/>
                <a:gd name="connsiteY4" fmla="*/ 55363 h 65611"/>
                <a:gd name="connsiteX5" fmla="*/ 2341266 w 2341266"/>
                <a:gd name="connsiteY5" fmla="*/ 0 h 65611"/>
                <a:gd name="connsiteX0" fmla="*/ 0 w 2341266"/>
                <a:gd name="connsiteY0" fmla="*/ 45261 h 70432"/>
                <a:gd name="connsiteX1" fmla="*/ 251209 w 2341266"/>
                <a:gd name="connsiteY1" fmla="*/ 44882 h 70432"/>
                <a:gd name="connsiteX2" fmla="*/ 604036 w 2341266"/>
                <a:gd name="connsiteY2" fmla="*/ 69213 h 70432"/>
                <a:gd name="connsiteX3" fmla="*/ 1115203 w 2341266"/>
                <a:gd name="connsiteY3" fmla="*/ 65611 h 70432"/>
                <a:gd name="connsiteX4" fmla="*/ 1778559 w 2341266"/>
                <a:gd name="connsiteY4" fmla="*/ 55363 h 70432"/>
                <a:gd name="connsiteX5" fmla="*/ 2341266 w 2341266"/>
                <a:gd name="connsiteY5" fmla="*/ 0 h 70432"/>
                <a:gd name="connsiteX0" fmla="*/ 0 w 2341266"/>
                <a:gd name="connsiteY0" fmla="*/ 45261 h 69213"/>
                <a:gd name="connsiteX1" fmla="*/ 227385 w 2341266"/>
                <a:gd name="connsiteY1" fmla="*/ 59480 h 69213"/>
                <a:gd name="connsiteX2" fmla="*/ 604036 w 2341266"/>
                <a:gd name="connsiteY2" fmla="*/ 69213 h 69213"/>
                <a:gd name="connsiteX3" fmla="*/ 1115203 w 2341266"/>
                <a:gd name="connsiteY3" fmla="*/ 65611 h 69213"/>
                <a:gd name="connsiteX4" fmla="*/ 1778559 w 2341266"/>
                <a:gd name="connsiteY4" fmla="*/ 55363 h 69213"/>
                <a:gd name="connsiteX5" fmla="*/ 2341266 w 2341266"/>
                <a:gd name="connsiteY5" fmla="*/ 0 h 69213"/>
                <a:gd name="connsiteX0" fmla="*/ 0 w 2349207"/>
                <a:gd name="connsiteY0" fmla="*/ 25797 h 49749"/>
                <a:gd name="connsiteX1" fmla="*/ 227385 w 2349207"/>
                <a:gd name="connsiteY1" fmla="*/ 40016 h 49749"/>
                <a:gd name="connsiteX2" fmla="*/ 604036 w 2349207"/>
                <a:gd name="connsiteY2" fmla="*/ 49749 h 49749"/>
                <a:gd name="connsiteX3" fmla="*/ 1115203 w 2349207"/>
                <a:gd name="connsiteY3" fmla="*/ 46147 h 49749"/>
                <a:gd name="connsiteX4" fmla="*/ 1778559 w 2349207"/>
                <a:gd name="connsiteY4" fmla="*/ 35899 h 49749"/>
                <a:gd name="connsiteX5" fmla="*/ 2349207 w 2349207"/>
                <a:gd name="connsiteY5" fmla="*/ 0 h 4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9207" h="49749">
                  <a:moveTo>
                    <a:pt x="0" y="25797"/>
                  </a:moveTo>
                  <a:cubicBezTo>
                    <a:pt x="97971" y="34170"/>
                    <a:pt x="126713" y="36024"/>
                    <a:pt x="227385" y="40016"/>
                  </a:cubicBezTo>
                  <a:cubicBezTo>
                    <a:pt x="328057" y="44008"/>
                    <a:pt x="456066" y="48727"/>
                    <a:pt x="604036" y="49749"/>
                  </a:cubicBezTo>
                  <a:lnTo>
                    <a:pt x="1115203" y="46147"/>
                  </a:lnTo>
                  <a:lnTo>
                    <a:pt x="1778559" y="35899"/>
                  </a:lnTo>
                  <a:cubicBezTo>
                    <a:pt x="1935983" y="8322"/>
                    <a:pt x="2248723" y="62802"/>
                    <a:pt x="2349207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 flipV="1">
              <a:off x="2702097" y="5992889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>
            <a:xfrm flipV="1">
              <a:off x="5838641" y="5992889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2696955" y="6049434"/>
              <a:ext cx="3153109" cy="590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</a:t>
              </a:r>
            </a:p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 Segment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974790" y="5194159"/>
              <a:ext cx="773969" cy="6565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66607" y="6479579"/>
              <a:ext cx="393028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705585" y="6479577"/>
              <a:ext cx="393028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96440" y="4527951"/>
              <a:ext cx="596128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66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5429213" y="4074465"/>
              <a:ext cx="656174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95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7805250" y="3851796"/>
              <a:ext cx="645581" cy="90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1.00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548398" y="4165440"/>
              <a:ext cx="624670" cy="4896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91</a:t>
              </a:r>
            </a:p>
          </p:txBody>
        </p:sp>
        <p:cxnSp>
          <p:nvCxnSpPr>
            <p:cNvPr id="88" name="Straight Arrow Connector 87"/>
            <p:cNvCxnSpPr/>
            <p:nvPr/>
          </p:nvCxnSpPr>
          <p:spPr>
            <a:xfrm flipV="1">
              <a:off x="3220789" y="4321453"/>
              <a:ext cx="2126730" cy="9577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/>
            <p:nvPr/>
          </p:nvCxnSpPr>
          <p:spPr>
            <a:xfrm flipV="1">
              <a:off x="6063651" y="4149705"/>
              <a:ext cx="1784949" cy="14904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/>
            <p:cNvCxnSpPr>
              <a:cxnSpLocks/>
            </p:cNvCxnSpPr>
            <p:nvPr/>
          </p:nvCxnSpPr>
          <p:spPr>
            <a:xfrm flipV="1">
              <a:off x="1420640" y="4431281"/>
              <a:ext cx="1212654" cy="35418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/>
            <p:nvPr/>
          </p:nvCxnSpPr>
          <p:spPr>
            <a:xfrm flipH="1" flipV="1">
              <a:off x="1832777" y="6015196"/>
              <a:ext cx="1244" cy="279703"/>
            </a:xfrm>
            <a:prstGeom prst="straightConnector1">
              <a:avLst/>
            </a:prstGeom>
            <a:ln w="158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/>
            <p:cNvSpPr txBox="1"/>
            <p:nvPr/>
          </p:nvSpPr>
          <p:spPr>
            <a:xfrm>
              <a:off x="63432" y="5150425"/>
              <a:ext cx="2939284" cy="495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nosis</a:t>
              </a:r>
            </a:p>
          </p:txBody>
        </p:sp>
      </p:grp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B4398950-F706-4647-B8F9-5450A9605C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8289518"/>
              </p:ext>
            </p:extLst>
          </p:nvPr>
        </p:nvGraphicFramePr>
        <p:xfrm>
          <a:off x="6138351" y="825917"/>
          <a:ext cx="3062000" cy="3018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4" name="TextBox 63">
            <a:extLst>
              <a:ext uri="{FF2B5EF4-FFF2-40B4-BE49-F238E27FC236}">
                <a16:creationId xmlns:a16="http://schemas.microsoft.com/office/drawing/2014/main" id="{4659E362-EB23-4C78-A889-0D739E840C6B}"/>
              </a:ext>
            </a:extLst>
          </p:cNvPr>
          <p:cNvSpPr txBox="1"/>
          <p:nvPr/>
        </p:nvSpPr>
        <p:spPr>
          <a:xfrm>
            <a:off x="1457289" y="253867"/>
            <a:ext cx="6229421" cy="4214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475" b="1" dirty="0">
                <a:solidFill>
                  <a:srgbClr val="002060"/>
                </a:solidFill>
                <a:sym typeface="Helvetica Light"/>
              </a:rPr>
              <a:t>Focal Residual Pressure Gradient Distal to sten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4623DB5-F3F7-4AF4-98C2-1960C77199AA}"/>
              </a:ext>
            </a:extLst>
          </p:cNvPr>
          <p:cNvSpPr/>
          <p:nvPr/>
        </p:nvSpPr>
        <p:spPr>
          <a:xfrm>
            <a:off x="1644684" y="557509"/>
            <a:ext cx="58126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‘Physiologic </a:t>
            </a:r>
            <a:r>
              <a:rPr lang="en-US" sz="1500" dirty="0" err="1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miss’</a:t>
            </a:r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 occurred in 30.1% of focal lesions distally</a:t>
            </a:r>
            <a:endParaRPr lang="en-US" sz="1500" dirty="0">
              <a:solidFill>
                <a:srgbClr val="0B1B39"/>
              </a:solidFill>
              <a:latin typeface="+mj-lt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5BD1968B-426C-48EC-8C78-D7724656841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83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>
            <a:off x="1708536" y="885741"/>
            <a:ext cx="3279360" cy="2199200"/>
            <a:chOff x="1476743" y="499487"/>
            <a:chExt cx="5178590" cy="3525221"/>
          </a:xfrm>
        </p:grpSpPr>
        <p:pic>
          <p:nvPicPr>
            <p:cNvPr id="87" name="Picture 2" descr="N:\IVUS\IVUS TRIALS\Current\Define PCI\Images\Site 060\0001\CASS13\2.16.840.1.113977.6.4580.4.20171201.193318.6.2.4.bmp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33" t="6352" r="2062" b="33156"/>
            <a:stretch/>
          </p:blipFill>
          <p:spPr bwMode="auto">
            <a:xfrm>
              <a:off x="1476743" y="571500"/>
              <a:ext cx="4973918" cy="34532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2" descr="N:\IVUS\IVUS TRIALS\Current\Define PCI\Images\Site 060\0001\CASS13\2.16.840.1.113977.6.4580.4.20171201.193318.6.2.4.bmp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90" t="14594" r="77193" b="61609"/>
            <a:stretch/>
          </p:blipFill>
          <p:spPr bwMode="auto">
            <a:xfrm>
              <a:off x="1890827" y="648981"/>
              <a:ext cx="675771" cy="7515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1" name="Straight Connector 90"/>
            <p:cNvCxnSpPr/>
            <p:nvPr/>
          </p:nvCxnSpPr>
          <p:spPr>
            <a:xfrm flipH="1" flipV="1">
              <a:off x="4327423" y="1542822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 flipH="1" flipV="1">
              <a:off x="5795606" y="1562810"/>
              <a:ext cx="0" cy="128016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/>
            <p:cNvSpPr txBox="1"/>
            <p:nvPr/>
          </p:nvSpPr>
          <p:spPr>
            <a:xfrm>
              <a:off x="4335408" y="2100609"/>
              <a:ext cx="1450674" cy="718146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7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Reference Segment</a:t>
              </a:r>
            </a:p>
          </p:txBody>
        </p:sp>
        <p:cxnSp>
          <p:nvCxnSpPr>
            <p:cNvPr id="94" name="Straight Arrow Connector 93"/>
            <p:cNvCxnSpPr/>
            <p:nvPr/>
          </p:nvCxnSpPr>
          <p:spPr>
            <a:xfrm flipV="1">
              <a:off x="4319439" y="1636692"/>
              <a:ext cx="1476167" cy="1608"/>
            </a:xfrm>
            <a:prstGeom prst="straightConnector1">
              <a:avLst/>
            </a:prstGeom>
            <a:ln w="19050">
              <a:solidFill>
                <a:schemeClr val="bg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/>
            <p:cNvSpPr txBox="1"/>
            <p:nvPr/>
          </p:nvSpPr>
          <p:spPr>
            <a:xfrm>
              <a:off x="2509440" y="530632"/>
              <a:ext cx="78141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al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5625991" y="499487"/>
              <a:ext cx="1029342" cy="3797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88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ximal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708496" y="1314375"/>
              <a:ext cx="709293" cy="3423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</a:t>
              </a:r>
              <a:r>
                <a:rPr lang="en-US" sz="788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25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187367" y="1760422"/>
              <a:ext cx="1285822" cy="3488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p-up</a:t>
              </a:r>
            </a:p>
          </p:txBody>
        </p:sp>
        <p:cxnSp>
          <p:nvCxnSpPr>
            <p:cNvPr id="99" name="Straight Arrow Connector 98"/>
            <p:cNvCxnSpPr/>
            <p:nvPr/>
          </p:nvCxnSpPr>
          <p:spPr>
            <a:xfrm flipV="1">
              <a:off x="3757395" y="1270366"/>
              <a:ext cx="0" cy="333619"/>
            </a:xfrm>
            <a:prstGeom prst="straightConnector1">
              <a:avLst/>
            </a:prstGeom>
            <a:ln w="15875">
              <a:solidFill>
                <a:srgbClr val="FFFF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1379882" y="2980535"/>
            <a:ext cx="5388308" cy="2019641"/>
            <a:chOff x="96440" y="3851796"/>
            <a:chExt cx="8404553" cy="2953570"/>
          </a:xfrm>
        </p:grpSpPr>
        <p:grpSp>
          <p:nvGrpSpPr>
            <p:cNvPr id="12" name="Group 11"/>
            <p:cNvGrpSpPr/>
            <p:nvPr/>
          </p:nvGrpSpPr>
          <p:grpSpPr>
            <a:xfrm>
              <a:off x="169128" y="4568522"/>
              <a:ext cx="8303740" cy="1406916"/>
              <a:chOff x="1097190" y="1247011"/>
              <a:chExt cx="6923179" cy="1058156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1097190" y="1247011"/>
                <a:ext cx="6894513" cy="386402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430529"/>
                  <a:gd name="connsiteY0" fmla="*/ 142210 h 172234"/>
                  <a:gd name="connsiteX1" fmla="*/ 1260389 w 7430529"/>
                  <a:gd name="connsiteY1" fmla="*/ 166923 h 172234"/>
                  <a:gd name="connsiteX2" fmla="*/ 2265405 w 7430529"/>
                  <a:gd name="connsiteY2" fmla="*/ 51594 h 172234"/>
                  <a:gd name="connsiteX3" fmla="*/ 3525794 w 7430529"/>
                  <a:gd name="connsiteY3" fmla="*/ 2167 h 172234"/>
                  <a:gd name="connsiteX4" fmla="*/ 4926227 w 7430529"/>
                  <a:gd name="connsiteY4" fmla="*/ 117496 h 172234"/>
                  <a:gd name="connsiteX5" fmla="*/ 5791200 w 7430529"/>
                  <a:gd name="connsiteY5" fmla="*/ 125734 h 172234"/>
                  <a:gd name="connsiteX6" fmla="*/ 7430529 w 7430529"/>
                  <a:gd name="connsiteY6" fmla="*/ 133971 h 172234"/>
                  <a:gd name="connsiteX0" fmla="*/ 0 w 8138983"/>
                  <a:gd name="connsiteY0" fmla="*/ 166924 h 181598"/>
                  <a:gd name="connsiteX1" fmla="*/ 1968843 w 8138983"/>
                  <a:gd name="connsiteY1" fmla="*/ 166923 h 181598"/>
                  <a:gd name="connsiteX2" fmla="*/ 2973859 w 8138983"/>
                  <a:gd name="connsiteY2" fmla="*/ 51594 h 181598"/>
                  <a:gd name="connsiteX3" fmla="*/ 4234248 w 8138983"/>
                  <a:gd name="connsiteY3" fmla="*/ 2167 h 181598"/>
                  <a:gd name="connsiteX4" fmla="*/ 5634681 w 8138983"/>
                  <a:gd name="connsiteY4" fmla="*/ 117496 h 181598"/>
                  <a:gd name="connsiteX5" fmla="*/ 6499654 w 8138983"/>
                  <a:gd name="connsiteY5" fmla="*/ 125734 h 181598"/>
                  <a:gd name="connsiteX6" fmla="*/ 8138983 w 8138983"/>
                  <a:gd name="connsiteY6" fmla="*/ 133971 h 181598"/>
                  <a:gd name="connsiteX0" fmla="*/ 0 w 8138983"/>
                  <a:gd name="connsiteY0" fmla="*/ 164926 h 177145"/>
                  <a:gd name="connsiteX1" fmla="*/ 1968843 w 8138983"/>
                  <a:gd name="connsiteY1" fmla="*/ 164925 h 177145"/>
                  <a:gd name="connsiteX2" fmla="*/ 2931914 w 8138983"/>
                  <a:gd name="connsiteY2" fmla="*/ 91541 h 177145"/>
                  <a:gd name="connsiteX3" fmla="*/ 4234248 w 8138983"/>
                  <a:gd name="connsiteY3" fmla="*/ 169 h 177145"/>
                  <a:gd name="connsiteX4" fmla="*/ 5634681 w 8138983"/>
                  <a:gd name="connsiteY4" fmla="*/ 115498 h 177145"/>
                  <a:gd name="connsiteX5" fmla="*/ 6499654 w 8138983"/>
                  <a:gd name="connsiteY5" fmla="*/ 123736 h 177145"/>
                  <a:gd name="connsiteX6" fmla="*/ 8138983 w 8138983"/>
                  <a:gd name="connsiteY6" fmla="*/ 131973 h 177145"/>
                  <a:gd name="connsiteX0" fmla="*/ 0 w 8155761"/>
                  <a:gd name="connsiteY0" fmla="*/ 290760 h 293103"/>
                  <a:gd name="connsiteX1" fmla="*/ 1985621 w 8155761"/>
                  <a:gd name="connsiteY1" fmla="*/ 164925 h 293103"/>
                  <a:gd name="connsiteX2" fmla="*/ 2948692 w 8155761"/>
                  <a:gd name="connsiteY2" fmla="*/ 91541 h 293103"/>
                  <a:gd name="connsiteX3" fmla="*/ 4251026 w 8155761"/>
                  <a:gd name="connsiteY3" fmla="*/ 169 h 293103"/>
                  <a:gd name="connsiteX4" fmla="*/ 5651459 w 8155761"/>
                  <a:gd name="connsiteY4" fmla="*/ 115498 h 293103"/>
                  <a:gd name="connsiteX5" fmla="*/ 6516432 w 8155761"/>
                  <a:gd name="connsiteY5" fmla="*/ 123736 h 293103"/>
                  <a:gd name="connsiteX6" fmla="*/ 8155761 w 8155761"/>
                  <a:gd name="connsiteY6" fmla="*/ 131973 h 293103"/>
                  <a:gd name="connsiteX0" fmla="*/ 0 w 8155761"/>
                  <a:gd name="connsiteY0" fmla="*/ 290770 h 290770"/>
                  <a:gd name="connsiteX1" fmla="*/ 1994010 w 8155761"/>
                  <a:gd name="connsiteY1" fmla="*/ 190102 h 290770"/>
                  <a:gd name="connsiteX2" fmla="*/ 2948692 w 8155761"/>
                  <a:gd name="connsiteY2" fmla="*/ 91551 h 290770"/>
                  <a:gd name="connsiteX3" fmla="*/ 4251026 w 8155761"/>
                  <a:gd name="connsiteY3" fmla="*/ 179 h 290770"/>
                  <a:gd name="connsiteX4" fmla="*/ 5651459 w 8155761"/>
                  <a:gd name="connsiteY4" fmla="*/ 115508 h 290770"/>
                  <a:gd name="connsiteX5" fmla="*/ 6516432 w 8155761"/>
                  <a:gd name="connsiteY5" fmla="*/ 123746 h 290770"/>
                  <a:gd name="connsiteX6" fmla="*/ 8155761 w 8155761"/>
                  <a:gd name="connsiteY6" fmla="*/ 131983 h 290770"/>
                  <a:gd name="connsiteX0" fmla="*/ 0 w 8155761"/>
                  <a:gd name="connsiteY0" fmla="*/ 202941 h 202941"/>
                  <a:gd name="connsiteX1" fmla="*/ 1994010 w 8155761"/>
                  <a:gd name="connsiteY1" fmla="*/ 102273 h 202941"/>
                  <a:gd name="connsiteX2" fmla="*/ 2948692 w 8155761"/>
                  <a:gd name="connsiteY2" fmla="*/ 3722 h 202941"/>
                  <a:gd name="connsiteX3" fmla="*/ 4318137 w 8155761"/>
                  <a:gd name="connsiteY3" fmla="*/ 21407 h 202941"/>
                  <a:gd name="connsiteX4" fmla="*/ 5651459 w 8155761"/>
                  <a:gd name="connsiteY4" fmla="*/ 27679 h 202941"/>
                  <a:gd name="connsiteX5" fmla="*/ 6516432 w 8155761"/>
                  <a:gd name="connsiteY5" fmla="*/ 35917 h 202941"/>
                  <a:gd name="connsiteX6" fmla="*/ 8155761 w 8155761"/>
                  <a:gd name="connsiteY6" fmla="*/ 44154 h 202941"/>
                  <a:gd name="connsiteX0" fmla="*/ 0 w 8155761"/>
                  <a:gd name="connsiteY0" fmla="*/ 242374 h 242374"/>
                  <a:gd name="connsiteX1" fmla="*/ 1994010 w 8155761"/>
                  <a:gd name="connsiteY1" fmla="*/ 141706 h 242374"/>
                  <a:gd name="connsiteX2" fmla="*/ 2948692 w 8155761"/>
                  <a:gd name="connsiteY2" fmla="*/ 43155 h 242374"/>
                  <a:gd name="connsiteX3" fmla="*/ 4318137 w 8155761"/>
                  <a:gd name="connsiteY3" fmla="*/ 60840 h 242374"/>
                  <a:gd name="connsiteX4" fmla="*/ 5735349 w 8155761"/>
                  <a:gd name="connsiteY4" fmla="*/ 0 h 242374"/>
                  <a:gd name="connsiteX5" fmla="*/ 6516432 w 8155761"/>
                  <a:gd name="connsiteY5" fmla="*/ 75350 h 242374"/>
                  <a:gd name="connsiteX6" fmla="*/ 8155761 w 8155761"/>
                  <a:gd name="connsiteY6" fmla="*/ 83587 h 242374"/>
                  <a:gd name="connsiteX0" fmla="*/ 0 w 8155761"/>
                  <a:gd name="connsiteY0" fmla="*/ 259303 h 259303"/>
                  <a:gd name="connsiteX1" fmla="*/ 1994010 w 8155761"/>
                  <a:gd name="connsiteY1" fmla="*/ 158635 h 259303"/>
                  <a:gd name="connsiteX2" fmla="*/ 2948692 w 8155761"/>
                  <a:gd name="connsiteY2" fmla="*/ 60084 h 259303"/>
                  <a:gd name="connsiteX3" fmla="*/ 4318137 w 8155761"/>
                  <a:gd name="connsiteY3" fmla="*/ 77769 h 259303"/>
                  <a:gd name="connsiteX4" fmla="*/ 5735349 w 8155761"/>
                  <a:gd name="connsiteY4" fmla="*/ 16929 h 259303"/>
                  <a:gd name="connsiteX5" fmla="*/ 6474487 w 8155761"/>
                  <a:gd name="connsiteY5" fmla="*/ 0 h 259303"/>
                  <a:gd name="connsiteX6" fmla="*/ 8155761 w 8155761"/>
                  <a:gd name="connsiteY6" fmla="*/ 100516 h 259303"/>
                  <a:gd name="connsiteX0" fmla="*/ 0 w 7895703"/>
                  <a:gd name="connsiteY0" fmla="*/ 259303 h 259303"/>
                  <a:gd name="connsiteX1" fmla="*/ 1994010 w 7895703"/>
                  <a:gd name="connsiteY1" fmla="*/ 158635 h 259303"/>
                  <a:gd name="connsiteX2" fmla="*/ 2948692 w 7895703"/>
                  <a:gd name="connsiteY2" fmla="*/ 60084 h 259303"/>
                  <a:gd name="connsiteX3" fmla="*/ 4318137 w 7895703"/>
                  <a:gd name="connsiteY3" fmla="*/ 77769 h 259303"/>
                  <a:gd name="connsiteX4" fmla="*/ 5735349 w 7895703"/>
                  <a:gd name="connsiteY4" fmla="*/ 16929 h 259303"/>
                  <a:gd name="connsiteX5" fmla="*/ 6474487 w 7895703"/>
                  <a:gd name="connsiteY5" fmla="*/ 0 h 259303"/>
                  <a:gd name="connsiteX6" fmla="*/ 7895703 w 7895703"/>
                  <a:gd name="connsiteY6" fmla="*/ 58571 h 259303"/>
                  <a:gd name="connsiteX0" fmla="*/ 0 w 6474487"/>
                  <a:gd name="connsiteY0" fmla="*/ 259303 h 259303"/>
                  <a:gd name="connsiteX1" fmla="*/ 1994010 w 6474487"/>
                  <a:gd name="connsiteY1" fmla="*/ 158635 h 259303"/>
                  <a:gd name="connsiteX2" fmla="*/ 2948692 w 6474487"/>
                  <a:gd name="connsiteY2" fmla="*/ 60084 h 259303"/>
                  <a:gd name="connsiteX3" fmla="*/ 4318137 w 6474487"/>
                  <a:gd name="connsiteY3" fmla="*/ 77769 h 259303"/>
                  <a:gd name="connsiteX4" fmla="*/ 5735349 w 6474487"/>
                  <a:gd name="connsiteY4" fmla="*/ 16929 h 259303"/>
                  <a:gd name="connsiteX5" fmla="*/ 6474487 w 6474487"/>
                  <a:gd name="connsiteY5" fmla="*/ 0 h 259303"/>
                  <a:gd name="connsiteX0" fmla="*/ 0 w 6508043"/>
                  <a:gd name="connsiteY0" fmla="*/ 326415 h 326415"/>
                  <a:gd name="connsiteX1" fmla="*/ 1994010 w 6508043"/>
                  <a:gd name="connsiteY1" fmla="*/ 225747 h 326415"/>
                  <a:gd name="connsiteX2" fmla="*/ 2948692 w 6508043"/>
                  <a:gd name="connsiteY2" fmla="*/ 127196 h 326415"/>
                  <a:gd name="connsiteX3" fmla="*/ 4318137 w 6508043"/>
                  <a:gd name="connsiteY3" fmla="*/ 144881 h 326415"/>
                  <a:gd name="connsiteX4" fmla="*/ 5735349 w 6508043"/>
                  <a:gd name="connsiteY4" fmla="*/ 84041 h 326415"/>
                  <a:gd name="connsiteX5" fmla="*/ 6508043 w 6508043"/>
                  <a:gd name="connsiteY5" fmla="*/ 0 h 326415"/>
                  <a:gd name="connsiteX0" fmla="*/ 0 w 6508043"/>
                  <a:gd name="connsiteY0" fmla="*/ 335879 h 335879"/>
                  <a:gd name="connsiteX1" fmla="*/ 1994010 w 6508043"/>
                  <a:gd name="connsiteY1" fmla="*/ 235211 h 335879"/>
                  <a:gd name="connsiteX2" fmla="*/ 2948692 w 6508043"/>
                  <a:gd name="connsiteY2" fmla="*/ 136660 h 335879"/>
                  <a:gd name="connsiteX3" fmla="*/ 4318137 w 6508043"/>
                  <a:gd name="connsiteY3" fmla="*/ 154345 h 335879"/>
                  <a:gd name="connsiteX4" fmla="*/ 5894740 w 6508043"/>
                  <a:gd name="connsiteY4" fmla="*/ 9615 h 335879"/>
                  <a:gd name="connsiteX5" fmla="*/ 6508043 w 6508043"/>
                  <a:gd name="connsiteY5" fmla="*/ 9464 h 33587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18137 w 6759713"/>
                  <a:gd name="connsiteY3" fmla="*/ 19521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48692 w 6759713"/>
                  <a:gd name="connsiteY2" fmla="*/ 177530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6759713"/>
                  <a:gd name="connsiteY0" fmla="*/ 376749 h 376749"/>
                  <a:gd name="connsiteX1" fmla="*/ 1994010 w 6759713"/>
                  <a:gd name="connsiteY1" fmla="*/ 276081 h 376749"/>
                  <a:gd name="connsiteX2" fmla="*/ 2906747 w 6759713"/>
                  <a:gd name="connsiteY2" fmla="*/ 127196 h 376749"/>
                  <a:gd name="connsiteX3" fmla="*/ 4301360 w 6759713"/>
                  <a:gd name="connsiteY3" fmla="*/ 111325 h 376749"/>
                  <a:gd name="connsiteX4" fmla="*/ 5894740 w 6759713"/>
                  <a:gd name="connsiteY4" fmla="*/ 50485 h 376749"/>
                  <a:gd name="connsiteX5" fmla="*/ 6759713 w 6759713"/>
                  <a:gd name="connsiteY5" fmla="*/ 0 h 376749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62461 w 5920814"/>
                  <a:gd name="connsiteY3" fmla="*/ 111325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067848 w 5920814"/>
                  <a:gd name="connsiteY2" fmla="*/ 127196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487628 w 5920814"/>
                  <a:gd name="connsiteY3" fmla="*/ 10658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55841 w 5920814"/>
                  <a:gd name="connsiteY4" fmla="*/ 50485 h 343193"/>
                  <a:gd name="connsiteX5" fmla="*/ 5920814 w 5920814"/>
                  <a:gd name="connsiteY5" fmla="*/ 0 h 343193"/>
                  <a:gd name="connsiteX0" fmla="*/ 0 w 5920814"/>
                  <a:gd name="connsiteY0" fmla="*/ 343193 h 343193"/>
                  <a:gd name="connsiteX1" fmla="*/ 1155111 w 5920814"/>
                  <a:gd name="connsiteY1" fmla="*/ 276081 h 343193"/>
                  <a:gd name="connsiteX2" fmla="*/ 2302740 w 5920814"/>
                  <a:gd name="connsiteY2" fmla="*/ 169141 h 343193"/>
                  <a:gd name="connsiteX3" fmla="*/ 3563129 w 5920814"/>
                  <a:gd name="connsiteY3" fmla="*/ 94547 h 343193"/>
                  <a:gd name="connsiteX4" fmla="*/ 5047452 w 5920814"/>
                  <a:gd name="connsiteY4" fmla="*/ 16930 h 343193"/>
                  <a:gd name="connsiteX5" fmla="*/ 5920814 w 5920814"/>
                  <a:gd name="connsiteY5" fmla="*/ 0 h 343193"/>
                  <a:gd name="connsiteX0" fmla="*/ 0 w 6029871"/>
                  <a:gd name="connsiteY0" fmla="*/ 343193 h 343193"/>
                  <a:gd name="connsiteX1" fmla="*/ 1155111 w 6029871"/>
                  <a:gd name="connsiteY1" fmla="*/ 276081 h 343193"/>
                  <a:gd name="connsiteX2" fmla="*/ 2302740 w 6029871"/>
                  <a:gd name="connsiteY2" fmla="*/ 169141 h 343193"/>
                  <a:gd name="connsiteX3" fmla="*/ 3563129 w 6029871"/>
                  <a:gd name="connsiteY3" fmla="*/ 94547 h 343193"/>
                  <a:gd name="connsiteX4" fmla="*/ 5047452 w 6029871"/>
                  <a:gd name="connsiteY4" fmla="*/ 16930 h 343193"/>
                  <a:gd name="connsiteX5" fmla="*/ 6029871 w 6029871"/>
                  <a:gd name="connsiteY5" fmla="*/ 0 h 343193"/>
                  <a:gd name="connsiteX0" fmla="*/ 0 w 6441853"/>
                  <a:gd name="connsiteY0" fmla="*/ 333148 h 333148"/>
                  <a:gd name="connsiteX1" fmla="*/ 1155111 w 6441853"/>
                  <a:gd name="connsiteY1" fmla="*/ 266036 h 333148"/>
                  <a:gd name="connsiteX2" fmla="*/ 2302740 w 6441853"/>
                  <a:gd name="connsiteY2" fmla="*/ 159096 h 333148"/>
                  <a:gd name="connsiteX3" fmla="*/ 3563129 w 6441853"/>
                  <a:gd name="connsiteY3" fmla="*/ 84502 h 333148"/>
                  <a:gd name="connsiteX4" fmla="*/ 5047452 w 6441853"/>
                  <a:gd name="connsiteY4" fmla="*/ 6885 h 333148"/>
                  <a:gd name="connsiteX5" fmla="*/ 6441853 w 6441853"/>
                  <a:gd name="connsiteY5" fmla="*/ 3 h 333148"/>
                  <a:gd name="connsiteX0" fmla="*/ 0 w 6894513"/>
                  <a:gd name="connsiteY0" fmla="*/ 347476 h 347476"/>
                  <a:gd name="connsiteX1" fmla="*/ 1607771 w 6894513"/>
                  <a:gd name="connsiteY1" fmla="*/ 266036 h 347476"/>
                  <a:gd name="connsiteX2" fmla="*/ 2755400 w 6894513"/>
                  <a:gd name="connsiteY2" fmla="*/ 159096 h 347476"/>
                  <a:gd name="connsiteX3" fmla="*/ 4015789 w 6894513"/>
                  <a:gd name="connsiteY3" fmla="*/ 84502 h 347476"/>
                  <a:gd name="connsiteX4" fmla="*/ 5500112 w 6894513"/>
                  <a:gd name="connsiteY4" fmla="*/ 6885 h 347476"/>
                  <a:gd name="connsiteX5" fmla="*/ 6894513 w 6894513"/>
                  <a:gd name="connsiteY5" fmla="*/ 3 h 347476"/>
                  <a:gd name="connsiteX0" fmla="*/ 0 w 6894513"/>
                  <a:gd name="connsiteY0" fmla="*/ 347473 h 347473"/>
                  <a:gd name="connsiteX1" fmla="*/ 1607771 w 6894513"/>
                  <a:gd name="connsiteY1" fmla="*/ 266033 h 347473"/>
                  <a:gd name="connsiteX2" fmla="*/ 2755400 w 6894513"/>
                  <a:gd name="connsiteY2" fmla="*/ 159093 h 347473"/>
                  <a:gd name="connsiteX3" fmla="*/ 4015789 w 6894513"/>
                  <a:gd name="connsiteY3" fmla="*/ 84499 h 347473"/>
                  <a:gd name="connsiteX4" fmla="*/ 5492920 w 6894513"/>
                  <a:gd name="connsiteY4" fmla="*/ 32834 h 347473"/>
                  <a:gd name="connsiteX5" fmla="*/ 6894513 w 6894513"/>
                  <a:gd name="connsiteY5" fmla="*/ 0 h 347473"/>
                  <a:gd name="connsiteX0" fmla="*/ 0 w 6894513"/>
                  <a:gd name="connsiteY0" fmla="*/ 386402 h 386402"/>
                  <a:gd name="connsiteX1" fmla="*/ 1607771 w 6894513"/>
                  <a:gd name="connsiteY1" fmla="*/ 266033 h 386402"/>
                  <a:gd name="connsiteX2" fmla="*/ 2755400 w 6894513"/>
                  <a:gd name="connsiteY2" fmla="*/ 159093 h 386402"/>
                  <a:gd name="connsiteX3" fmla="*/ 4015789 w 6894513"/>
                  <a:gd name="connsiteY3" fmla="*/ 84499 h 386402"/>
                  <a:gd name="connsiteX4" fmla="*/ 5492920 w 6894513"/>
                  <a:gd name="connsiteY4" fmla="*/ 32834 h 386402"/>
                  <a:gd name="connsiteX5" fmla="*/ 6894513 w 6894513"/>
                  <a:gd name="connsiteY5" fmla="*/ 0 h 386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94513" h="386402">
                    <a:moveTo>
                      <a:pt x="0" y="386402"/>
                    </a:moveTo>
                    <a:lnTo>
                      <a:pt x="1607771" y="266033"/>
                    </a:lnTo>
                    <a:cubicBezTo>
                      <a:pt x="1991561" y="237024"/>
                      <a:pt x="2354064" y="189349"/>
                      <a:pt x="2755400" y="159093"/>
                    </a:cubicBezTo>
                    <a:cubicBezTo>
                      <a:pt x="3156736" y="128837"/>
                      <a:pt x="3559536" y="105542"/>
                      <a:pt x="4015789" y="84499"/>
                    </a:cubicBezTo>
                    <a:cubicBezTo>
                      <a:pt x="4472042" y="63456"/>
                      <a:pt x="5013133" y="46917"/>
                      <a:pt x="5492920" y="32834"/>
                    </a:cubicBezTo>
                    <a:lnTo>
                      <a:pt x="6894513" y="0"/>
                    </a:ln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  <p:sp>
            <p:nvSpPr>
              <p:cNvPr id="14" name="Freeform 13"/>
              <p:cNvSpPr/>
              <p:nvPr/>
            </p:nvSpPr>
            <p:spPr>
              <a:xfrm rot="10800000">
                <a:off x="1121126" y="2137694"/>
                <a:ext cx="6899243" cy="167473"/>
              </a:xfrm>
              <a:custGeom>
                <a:avLst/>
                <a:gdLst>
                  <a:gd name="connsiteX0" fmla="*/ 0 w 6928021"/>
                  <a:gd name="connsiteY0" fmla="*/ 142210 h 172234"/>
                  <a:gd name="connsiteX1" fmla="*/ 1260389 w 6928021"/>
                  <a:gd name="connsiteY1" fmla="*/ 166923 h 172234"/>
                  <a:gd name="connsiteX2" fmla="*/ 2265405 w 6928021"/>
                  <a:gd name="connsiteY2" fmla="*/ 51594 h 172234"/>
                  <a:gd name="connsiteX3" fmla="*/ 3525794 w 6928021"/>
                  <a:gd name="connsiteY3" fmla="*/ 2167 h 172234"/>
                  <a:gd name="connsiteX4" fmla="*/ 4926227 w 6928021"/>
                  <a:gd name="connsiteY4" fmla="*/ 117496 h 172234"/>
                  <a:gd name="connsiteX5" fmla="*/ 5791200 w 6928021"/>
                  <a:gd name="connsiteY5" fmla="*/ 125734 h 172234"/>
                  <a:gd name="connsiteX6" fmla="*/ 6928021 w 6928021"/>
                  <a:gd name="connsiteY6" fmla="*/ 117496 h 172234"/>
                  <a:gd name="connsiteX0" fmla="*/ 0 w 7603523"/>
                  <a:gd name="connsiteY0" fmla="*/ 109259 h 168194"/>
                  <a:gd name="connsiteX1" fmla="*/ 1935891 w 7603523"/>
                  <a:gd name="connsiteY1" fmla="*/ 166923 h 168194"/>
                  <a:gd name="connsiteX2" fmla="*/ 2940907 w 7603523"/>
                  <a:gd name="connsiteY2" fmla="*/ 51594 h 168194"/>
                  <a:gd name="connsiteX3" fmla="*/ 4201296 w 7603523"/>
                  <a:gd name="connsiteY3" fmla="*/ 2167 h 168194"/>
                  <a:gd name="connsiteX4" fmla="*/ 5601729 w 7603523"/>
                  <a:gd name="connsiteY4" fmla="*/ 117496 h 168194"/>
                  <a:gd name="connsiteX5" fmla="*/ 6466702 w 7603523"/>
                  <a:gd name="connsiteY5" fmla="*/ 125734 h 168194"/>
                  <a:gd name="connsiteX6" fmla="*/ 7603523 w 7603523"/>
                  <a:gd name="connsiteY6" fmla="*/ 117496 h 168194"/>
                  <a:gd name="connsiteX0" fmla="*/ 0 w 8270788"/>
                  <a:gd name="connsiteY0" fmla="*/ 109259 h 168194"/>
                  <a:gd name="connsiteX1" fmla="*/ 1935891 w 8270788"/>
                  <a:gd name="connsiteY1" fmla="*/ 166923 h 168194"/>
                  <a:gd name="connsiteX2" fmla="*/ 2940907 w 8270788"/>
                  <a:gd name="connsiteY2" fmla="*/ 51594 h 168194"/>
                  <a:gd name="connsiteX3" fmla="*/ 4201296 w 8270788"/>
                  <a:gd name="connsiteY3" fmla="*/ 2167 h 168194"/>
                  <a:gd name="connsiteX4" fmla="*/ 5601729 w 8270788"/>
                  <a:gd name="connsiteY4" fmla="*/ 117496 h 168194"/>
                  <a:gd name="connsiteX5" fmla="*/ 6466702 w 8270788"/>
                  <a:gd name="connsiteY5" fmla="*/ 125734 h 168194"/>
                  <a:gd name="connsiteX6" fmla="*/ 8270788 w 8270788"/>
                  <a:gd name="connsiteY6" fmla="*/ 109258 h 168194"/>
                  <a:gd name="connsiteX0" fmla="*/ 0 w 8270788"/>
                  <a:gd name="connsiteY0" fmla="*/ 107179 h 166114"/>
                  <a:gd name="connsiteX1" fmla="*/ 1935891 w 8270788"/>
                  <a:gd name="connsiteY1" fmla="*/ 164843 h 166114"/>
                  <a:gd name="connsiteX2" fmla="*/ 2940907 w 8270788"/>
                  <a:gd name="connsiteY2" fmla="*/ 49514 h 166114"/>
                  <a:gd name="connsiteX3" fmla="*/ 4201296 w 8270788"/>
                  <a:gd name="connsiteY3" fmla="*/ 87 h 166114"/>
                  <a:gd name="connsiteX4" fmla="*/ 5400393 w 8270788"/>
                  <a:gd name="connsiteY4" fmla="*/ 39916 h 166114"/>
                  <a:gd name="connsiteX5" fmla="*/ 6466702 w 8270788"/>
                  <a:gd name="connsiteY5" fmla="*/ 123654 h 166114"/>
                  <a:gd name="connsiteX6" fmla="*/ 8270788 w 8270788"/>
                  <a:gd name="connsiteY6" fmla="*/ 107178 h 166114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466702 w 8270788"/>
                  <a:gd name="connsiteY5" fmla="*/ 98400 h 140860"/>
                  <a:gd name="connsiteX6" fmla="*/ 8270788 w 8270788"/>
                  <a:gd name="connsiteY6" fmla="*/ 81924 h 140860"/>
                  <a:gd name="connsiteX0" fmla="*/ 0 w 8270788"/>
                  <a:gd name="connsiteY0" fmla="*/ 81925 h 140860"/>
                  <a:gd name="connsiteX1" fmla="*/ 1935891 w 8270788"/>
                  <a:gd name="connsiteY1" fmla="*/ 139589 h 140860"/>
                  <a:gd name="connsiteX2" fmla="*/ 2940907 w 8270788"/>
                  <a:gd name="connsiteY2" fmla="*/ 24260 h 140860"/>
                  <a:gd name="connsiteX3" fmla="*/ 4159351 w 8270788"/>
                  <a:gd name="connsiteY3" fmla="*/ 0 h 140860"/>
                  <a:gd name="connsiteX4" fmla="*/ 5400393 w 8270788"/>
                  <a:gd name="connsiteY4" fmla="*/ 14662 h 140860"/>
                  <a:gd name="connsiteX5" fmla="*/ 6273755 w 8270788"/>
                  <a:gd name="connsiteY5" fmla="*/ 56455 h 140860"/>
                  <a:gd name="connsiteX6" fmla="*/ 8270788 w 8270788"/>
                  <a:gd name="connsiteY6" fmla="*/ 81924 h 140860"/>
                  <a:gd name="connsiteX0" fmla="*/ 0 w 7423500"/>
                  <a:gd name="connsiteY0" fmla="*/ 81925 h 140860"/>
                  <a:gd name="connsiteX1" fmla="*/ 1935891 w 7423500"/>
                  <a:gd name="connsiteY1" fmla="*/ 139589 h 140860"/>
                  <a:gd name="connsiteX2" fmla="*/ 2940907 w 7423500"/>
                  <a:gd name="connsiteY2" fmla="*/ 24260 h 140860"/>
                  <a:gd name="connsiteX3" fmla="*/ 4159351 w 7423500"/>
                  <a:gd name="connsiteY3" fmla="*/ 0 h 140860"/>
                  <a:gd name="connsiteX4" fmla="*/ 5400393 w 7423500"/>
                  <a:gd name="connsiteY4" fmla="*/ 14662 h 140860"/>
                  <a:gd name="connsiteX5" fmla="*/ 6273755 w 7423500"/>
                  <a:gd name="connsiteY5" fmla="*/ 56455 h 140860"/>
                  <a:gd name="connsiteX6" fmla="*/ 7423500 w 7423500"/>
                  <a:gd name="connsiteY6" fmla="*/ 31591 h 140860"/>
                  <a:gd name="connsiteX0" fmla="*/ 0 w 6358098"/>
                  <a:gd name="connsiteY0" fmla="*/ 190981 h 196030"/>
                  <a:gd name="connsiteX1" fmla="*/ 870489 w 6358098"/>
                  <a:gd name="connsiteY1" fmla="*/ 139589 h 196030"/>
                  <a:gd name="connsiteX2" fmla="*/ 1875505 w 6358098"/>
                  <a:gd name="connsiteY2" fmla="*/ 24260 h 196030"/>
                  <a:gd name="connsiteX3" fmla="*/ 3093949 w 6358098"/>
                  <a:gd name="connsiteY3" fmla="*/ 0 h 196030"/>
                  <a:gd name="connsiteX4" fmla="*/ 4334991 w 6358098"/>
                  <a:gd name="connsiteY4" fmla="*/ 14662 h 196030"/>
                  <a:gd name="connsiteX5" fmla="*/ 5208353 w 6358098"/>
                  <a:gd name="connsiteY5" fmla="*/ 56455 h 196030"/>
                  <a:gd name="connsiteX6" fmla="*/ 6358098 w 6358098"/>
                  <a:gd name="connsiteY6" fmla="*/ 31591 h 196030"/>
                  <a:gd name="connsiteX0" fmla="*/ 0 w 6358098"/>
                  <a:gd name="connsiteY0" fmla="*/ 190981 h 193533"/>
                  <a:gd name="connsiteX1" fmla="*/ 987935 w 6358098"/>
                  <a:gd name="connsiteY1" fmla="*/ 80867 h 193533"/>
                  <a:gd name="connsiteX2" fmla="*/ 1875505 w 6358098"/>
                  <a:gd name="connsiteY2" fmla="*/ 24260 h 193533"/>
                  <a:gd name="connsiteX3" fmla="*/ 3093949 w 6358098"/>
                  <a:gd name="connsiteY3" fmla="*/ 0 h 193533"/>
                  <a:gd name="connsiteX4" fmla="*/ 4334991 w 6358098"/>
                  <a:gd name="connsiteY4" fmla="*/ 14662 h 193533"/>
                  <a:gd name="connsiteX5" fmla="*/ 5208353 w 6358098"/>
                  <a:gd name="connsiteY5" fmla="*/ 56455 h 193533"/>
                  <a:gd name="connsiteX6" fmla="*/ 6358098 w 6358098"/>
                  <a:gd name="connsiteY6" fmla="*/ 31591 h 193533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98629 w 6148374"/>
                  <a:gd name="connsiteY5" fmla="*/ 56455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6148374 w 6148374"/>
                  <a:gd name="connsiteY6" fmla="*/ 31591 h 160779"/>
                  <a:gd name="connsiteX0" fmla="*/ 0 w 6148374"/>
                  <a:gd name="connsiteY0" fmla="*/ 157425 h 160779"/>
                  <a:gd name="connsiteX1" fmla="*/ 778211 w 6148374"/>
                  <a:gd name="connsiteY1" fmla="*/ 80867 h 160779"/>
                  <a:gd name="connsiteX2" fmla="*/ 1665781 w 6148374"/>
                  <a:gd name="connsiteY2" fmla="*/ 24260 h 160779"/>
                  <a:gd name="connsiteX3" fmla="*/ 2884225 w 6148374"/>
                  <a:gd name="connsiteY3" fmla="*/ 0 h 160779"/>
                  <a:gd name="connsiteX4" fmla="*/ 4125267 w 6148374"/>
                  <a:gd name="connsiteY4" fmla="*/ 14662 h 160779"/>
                  <a:gd name="connsiteX5" fmla="*/ 4939906 w 6148374"/>
                  <a:gd name="connsiteY5" fmla="*/ 14510 h 160779"/>
                  <a:gd name="connsiteX6" fmla="*/ 5938818 w 6148374"/>
                  <a:gd name="connsiteY6" fmla="*/ 24625 h 160779"/>
                  <a:gd name="connsiteX7" fmla="*/ 6148374 w 6148374"/>
                  <a:gd name="connsiteY7" fmla="*/ 31591 h 160779"/>
                  <a:gd name="connsiteX0" fmla="*/ 0 w 6148374"/>
                  <a:gd name="connsiteY0" fmla="*/ 157425 h 162750"/>
                  <a:gd name="connsiteX1" fmla="*/ 828545 w 6148374"/>
                  <a:gd name="connsiteY1" fmla="*/ 114422 h 162750"/>
                  <a:gd name="connsiteX2" fmla="*/ 1665781 w 6148374"/>
                  <a:gd name="connsiteY2" fmla="*/ 24260 h 162750"/>
                  <a:gd name="connsiteX3" fmla="*/ 2884225 w 6148374"/>
                  <a:gd name="connsiteY3" fmla="*/ 0 h 162750"/>
                  <a:gd name="connsiteX4" fmla="*/ 4125267 w 6148374"/>
                  <a:gd name="connsiteY4" fmla="*/ 14662 h 162750"/>
                  <a:gd name="connsiteX5" fmla="*/ 4939906 w 6148374"/>
                  <a:gd name="connsiteY5" fmla="*/ 14510 h 162750"/>
                  <a:gd name="connsiteX6" fmla="*/ 5938818 w 6148374"/>
                  <a:gd name="connsiteY6" fmla="*/ 24625 h 162750"/>
                  <a:gd name="connsiteX7" fmla="*/ 6148374 w 6148374"/>
                  <a:gd name="connsiteY7" fmla="*/ 31591 h 162750"/>
                  <a:gd name="connsiteX0" fmla="*/ 0 w 6148374"/>
                  <a:gd name="connsiteY0" fmla="*/ 157425 h 157425"/>
                  <a:gd name="connsiteX1" fmla="*/ 828545 w 6148374"/>
                  <a:gd name="connsiteY1" fmla="*/ 114422 h 157425"/>
                  <a:gd name="connsiteX2" fmla="*/ 1749670 w 6148374"/>
                  <a:gd name="connsiteY2" fmla="*/ 66205 h 157425"/>
                  <a:gd name="connsiteX3" fmla="*/ 2884225 w 6148374"/>
                  <a:gd name="connsiteY3" fmla="*/ 0 h 157425"/>
                  <a:gd name="connsiteX4" fmla="*/ 4125267 w 6148374"/>
                  <a:gd name="connsiteY4" fmla="*/ 14662 h 157425"/>
                  <a:gd name="connsiteX5" fmla="*/ 4939906 w 6148374"/>
                  <a:gd name="connsiteY5" fmla="*/ 14510 h 157425"/>
                  <a:gd name="connsiteX6" fmla="*/ 5938818 w 6148374"/>
                  <a:gd name="connsiteY6" fmla="*/ 24625 h 157425"/>
                  <a:gd name="connsiteX7" fmla="*/ 6148374 w 6148374"/>
                  <a:gd name="connsiteY7" fmla="*/ 31591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38818 w 5938818"/>
                  <a:gd name="connsiteY6" fmla="*/ 24625 h 157425"/>
                  <a:gd name="connsiteX0" fmla="*/ 0 w 5938818"/>
                  <a:gd name="connsiteY0" fmla="*/ 157425 h 157425"/>
                  <a:gd name="connsiteX1" fmla="*/ 828545 w 5938818"/>
                  <a:gd name="connsiteY1" fmla="*/ 114422 h 157425"/>
                  <a:gd name="connsiteX2" fmla="*/ 1749670 w 5938818"/>
                  <a:gd name="connsiteY2" fmla="*/ 66205 h 157425"/>
                  <a:gd name="connsiteX3" fmla="*/ 2884225 w 5938818"/>
                  <a:gd name="connsiteY3" fmla="*/ 0 h 157425"/>
                  <a:gd name="connsiteX4" fmla="*/ 4125267 w 5938818"/>
                  <a:gd name="connsiteY4" fmla="*/ 14662 h 157425"/>
                  <a:gd name="connsiteX5" fmla="*/ 4939906 w 5938818"/>
                  <a:gd name="connsiteY5" fmla="*/ 14510 h 157425"/>
                  <a:gd name="connsiteX6" fmla="*/ 5925174 w 5938818"/>
                  <a:gd name="connsiteY6" fmla="*/ 40665 h 157425"/>
                  <a:gd name="connsiteX7" fmla="*/ 5938818 w 5938818"/>
                  <a:gd name="connsiteY7" fmla="*/ 24625 h 157425"/>
                  <a:gd name="connsiteX0" fmla="*/ 0 w 6360849"/>
                  <a:gd name="connsiteY0" fmla="*/ 157425 h 157425"/>
                  <a:gd name="connsiteX1" fmla="*/ 1250576 w 6360849"/>
                  <a:gd name="connsiteY1" fmla="*/ 114422 h 157425"/>
                  <a:gd name="connsiteX2" fmla="*/ 2171701 w 6360849"/>
                  <a:gd name="connsiteY2" fmla="*/ 66205 h 157425"/>
                  <a:gd name="connsiteX3" fmla="*/ 3306256 w 6360849"/>
                  <a:gd name="connsiteY3" fmla="*/ 0 h 157425"/>
                  <a:gd name="connsiteX4" fmla="*/ 4547298 w 6360849"/>
                  <a:gd name="connsiteY4" fmla="*/ 14662 h 157425"/>
                  <a:gd name="connsiteX5" fmla="*/ 5361937 w 6360849"/>
                  <a:gd name="connsiteY5" fmla="*/ 14510 h 157425"/>
                  <a:gd name="connsiteX6" fmla="*/ 6347205 w 6360849"/>
                  <a:gd name="connsiteY6" fmla="*/ 40665 h 157425"/>
                  <a:gd name="connsiteX7" fmla="*/ 6360849 w 6360849"/>
                  <a:gd name="connsiteY7" fmla="*/ 24625 h 157425"/>
                  <a:gd name="connsiteX0" fmla="*/ 0 w 6390994"/>
                  <a:gd name="connsiteY0" fmla="*/ 167473 h 167473"/>
                  <a:gd name="connsiteX1" fmla="*/ 1280721 w 6390994"/>
                  <a:gd name="connsiteY1" fmla="*/ 114422 h 167473"/>
                  <a:gd name="connsiteX2" fmla="*/ 2201846 w 6390994"/>
                  <a:gd name="connsiteY2" fmla="*/ 66205 h 167473"/>
                  <a:gd name="connsiteX3" fmla="*/ 3336401 w 6390994"/>
                  <a:gd name="connsiteY3" fmla="*/ 0 h 167473"/>
                  <a:gd name="connsiteX4" fmla="*/ 4577443 w 6390994"/>
                  <a:gd name="connsiteY4" fmla="*/ 14662 h 167473"/>
                  <a:gd name="connsiteX5" fmla="*/ 5392082 w 6390994"/>
                  <a:gd name="connsiteY5" fmla="*/ 14510 h 167473"/>
                  <a:gd name="connsiteX6" fmla="*/ 6377350 w 6390994"/>
                  <a:gd name="connsiteY6" fmla="*/ 40665 h 167473"/>
                  <a:gd name="connsiteX7" fmla="*/ 6390994 w 6390994"/>
                  <a:gd name="connsiteY7" fmla="*/ 24625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92082 w 6899243"/>
                  <a:gd name="connsiteY5" fmla="*/ 14510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05776 w 6899243"/>
                  <a:gd name="connsiteY5" fmla="*/ 20997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  <a:gd name="connsiteX0" fmla="*/ 0 w 6899243"/>
                  <a:gd name="connsiteY0" fmla="*/ 167473 h 167473"/>
                  <a:gd name="connsiteX1" fmla="*/ 1280721 w 6899243"/>
                  <a:gd name="connsiteY1" fmla="*/ 114422 h 167473"/>
                  <a:gd name="connsiteX2" fmla="*/ 2201846 w 6899243"/>
                  <a:gd name="connsiteY2" fmla="*/ 66205 h 167473"/>
                  <a:gd name="connsiteX3" fmla="*/ 3336401 w 6899243"/>
                  <a:gd name="connsiteY3" fmla="*/ 0 h 167473"/>
                  <a:gd name="connsiteX4" fmla="*/ 4577443 w 6899243"/>
                  <a:gd name="connsiteY4" fmla="*/ 14662 h 167473"/>
                  <a:gd name="connsiteX5" fmla="*/ 5305776 w 6899243"/>
                  <a:gd name="connsiteY5" fmla="*/ 20997 h 167473"/>
                  <a:gd name="connsiteX6" fmla="*/ 6377350 w 6899243"/>
                  <a:gd name="connsiteY6" fmla="*/ 40665 h 167473"/>
                  <a:gd name="connsiteX7" fmla="*/ 6899243 w 6899243"/>
                  <a:gd name="connsiteY7" fmla="*/ 38953 h 167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9243" h="167473">
                    <a:moveTo>
                      <a:pt x="0" y="167473"/>
                    </a:moveTo>
                    <a:lnTo>
                      <a:pt x="1280721" y="114422"/>
                    </a:lnTo>
                    <a:lnTo>
                      <a:pt x="2201846" y="66205"/>
                    </a:lnTo>
                    <a:cubicBezTo>
                      <a:pt x="2544459" y="47135"/>
                      <a:pt x="2940468" y="8590"/>
                      <a:pt x="3336401" y="0"/>
                    </a:cubicBezTo>
                    <a:lnTo>
                      <a:pt x="4577443" y="14662"/>
                    </a:lnTo>
                    <a:cubicBezTo>
                      <a:pt x="4820221" y="16774"/>
                      <a:pt x="5062998" y="25373"/>
                      <a:pt x="5305776" y="20997"/>
                    </a:cubicBezTo>
                    <a:cubicBezTo>
                      <a:pt x="5617451" y="23016"/>
                      <a:pt x="6065675" y="38646"/>
                      <a:pt x="6377350" y="40665"/>
                    </a:cubicBezTo>
                    <a:cubicBezTo>
                      <a:pt x="6381898" y="35318"/>
                      <a:pt x="6894695" y="44300"/>
                      <a:pt x="6899243" y="38953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13" dirty="0"/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2692430" y="4848892"/>
              <a:ext cx="265399" cy="1126547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565329" y="4640267"/>
              <a:ext cx="265399" cy="1265425"/>
            </a:xfrm>
            <a:prstGeom prst="rect">
              <a:avLst/>
            </a:prstGeom>
            <a:solidFill>
              <a:schemeClr val="accent6">
                <a:lumMod val="60000"/>
                <a:lumOff val="40000"/>
                <a:alpha val="5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2970734" y="4661794"/>
              <a:ext cx="2595958" cy="198971"/>
            </a:xfrm>
            <a:custGeom>
              <a:avLst/>
              <a:gdLst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57013 w 2164360"/>
                <a:gd name="connsiteY2" fmla="*/ 75501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33556 h 125835"/>
                <a:gd name="connsiteX4" fmla="*/ 2164360 w 2164360"/>
                <a:gd name="connsiteY4" fmla="*/ 0 h 125835"/>
                <a:gd name="connsiteX0" fmla="*/ 0 w 2164360"/>
                <a:gd name="connsiteY0" fmla="*/ 125835 h 125835"/>
                <a:gd name="connsiteX1" fmla="*/ 520118 w 2164360"/>
                <a:gd name="connsiteY1" fmla="*/ 83890 h 125835"/>
                <a:gd name="connsiteX2" fmla="*/ 1077110 w 2164360"/>
                <a:gd name="connsiteY2" fmla="*/ 45356 h 125835"/>
                <a:gd name="connsiteX3" fmla="*/ 1661020 w 2164360"/>
                <a:gd name="connsiteY3" fmla="*/ 14506 h 125835"/>
                <a:gd name="connsiteX4" fmla="*/ 2164360 w 2164360"/>
                <a:gd name="connsiteY4" fmla="*/ 0 h 125835"/>
                <a:gd name="connsiteX0" fmla="*/ 0 w 2164360"/>
                <a:gd name="connsiteY0" fmla="*/ 149648 h 149648"/>
                <a:gd name="connsiteX1" fmla="*/ 520118 w 2164360"/>
                <a:gd name="connsiteY1" fmla="*/ 107703 h 149648"/>
                <a:gd name="connsiteX2" fmla="*/ 1077110 w 2164360"/>
                <a:gd name="connsiteY2" fmla="*/ 69169 h 149648"/>
                <a:gd name="connsiteX3" fmla="*/ 1661020 w 2164360"/>
                <a:gd name="connsiteY3" fmla="*/ 38319 h 149648"/>
                <a:gd name="connsiteX4" fmla="*/ 2164360 w 2164360"/>
                <a:gd name="connsiteY4" fmla="*/ 0 h 14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4360" h="149648">
                  <a:moveTo>
                    <a:pt x="0" y="149648"/>
                  </a:moveTo>
                  <a:cubicBezTo>
                    <a:pt x="171974" y="132870"/>
                    <a:pt x="340600" y="121116"/>
                    <a:pt x="520118" y="107703"/>
                  </a:cubicBezTo>
                  <a:lnTo>
                    <a:pt x="1077110" y="69169"/>
                  </a:lnTo>
                  <a:lnTo>
                    <a:pt x="1661020" y="38319"/>
                  </a:lnTo>
                  <a:cubicBezTo>
                    <a:pt x="1842228" y="26791"/>
                    <a:pt x="1996580" y="11185"/>
                    <a:pt x="2164360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982908" y="5885821"/>
              <a:ext cx="2553599" cy="81404"/>
            </a:xfrm>
            <a:custGeom>
              <a:avLst/>
              <a:gdLst>
                <a:gd name="connsiteX0" fmla="*/ 6628 w 2129043"/>
                <a:gd name="connsiteY0" fmla="*/ 58723 h 75814"/>
                <a:gd name="connsiteX1" fmla="*/ 73740 w 2129043"/>
                <a:gd name="connsiteY1" fmla="*/ 58723 h 75814"/>
                <a:gd name="connsiteX2" fmla="*/ 803582 w 2129043"/>
                <a:gd name="connsiteY2" fmla="*/ 75501 h 75814"/>
                <a:gd name="connsiteX3" fmla="*/ 1390812 w 2129043"/>
                <a:gd name="connsiteY3" fmla="*/ 41945 h 75814"/>
                <a:gd name="connsiteX4" fmla="*/ 1801872 w 2129043"/>
                <a:gd name="connsiteY4" fmla="*/ 41945 h 75814"/>
                <a:gd name="connsiteX5" fmla="*/ 2129043 w 2129043"/>
                <a:gd name="connsiteY5" fmla="*/ 0 h 75814"/>
                <a:gd name="connsiteX0" fmla="*/ 6628 w 2129043"/>
                <a:gd name="connsiteY0" fmla="*/ 58723 h 75512"/>
                <a:gd name="connsiteX1" fmla="*/ 73740 w 2129043"/>
                <a:gd name="connsiteY1" fmla="*/ 58723 h 75512"/>
                <a:gd name="connsiteX2" fmla="*/ 803582 w 2129043"/>
                <a:gd name="connsiteY2" fmla="*/ 75501 h 75512"/>
                <a:gd name="connsiteX3" fmla="*/ 1305087 w 2129043"/>
                <a:gd name="connsiteY3" fmla="*/ 60995 h 75512"/>
                <a:gd name="connsiteX4" fmla="*/ 1801872 w 2129043"/>
                <a:gd name="connsiteY4" fmla="*/ 41945 h 75512"/>
                <a:gd name="connsiteX5" fmla="*/ 2129043 w 2129043"/>
                <a:gd name="connsiteY5" fmla="*/ 0 h 75512"/>
                <a:gd name="connsiteX0" fmla="*/ 6628 w 2129043"/>
                <a:gd name="connsiteY0" fmla="*/ 44436 h 61225"/>
                <a:gd name="connsiteX1" fmla="*/ 73740 w 2129043"/>
                <a:gd name="connsiteY1" fmla="*/ 44436 h 61225"/>
                <a:gd name="connsiteX2" fmla="*/ 803582 w 2129043"/>
                <a:gd name="connsiteY2" fmla="*/ 61214 h 61225"/>
                <a:gd name="connsiteX3" fmla="*/ 1305087 w 2129043"/>
                <a:gd name="connsiteY3" fmla="*/ 46708 h 61225"/>
                <a:gd name="connsiteX4" fmla="*/ 1801872 w 2129043"/>
                <a:gd name="connsiteY4" fmla="*/ 27658 h 61225"/>
                <a:gd name="connsiteX5" fmla="*/ 2129043 w 2129043"/>
                <a:gd name="connsiteY5" fmla="*/ 0 h 6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29043" h="61225">
                  <a:moveTo>
                    <a:pt x="6628" y="44436"/>
                  </a:moveTo>
                  <a:cubicBezTo>
                    <a:pt x="-26229" y="43038"/>
                    <a:pt x="73740" y="44436"/>
                    <a:pt x="73740" y="44436"/>
                  </a:cubicBezTo>
                  <a:lnTo>
                    <a:pt x="803582" y="61214"/>
                  </a:lnTo>
                  <a:cubicBezTo>
                    <a:pt x="1008806" y="61593"/>
                    <a:pt x="1138705" y="52301"/>
                    <a:pt x="1305087" y="46708"/>
                  </a:cubicBezTo>
                  <a:lnTo>
                    <a:pt x="1801872" y="27658"/>
                  </a:lnTo>
                  <a:cubicBezTo>
                    <a:pt x="1939198" y="19873"/>
                    <a:pt x="2026976" y="17477"/>
                    <a:pt x="2129043" y="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27" name="Straight Connector 26"/>
            <p:cNvCxnSpPr>
              <a:stCxn id="24" idx="1"/>
              <a:endCxn id="14" idx="4"/>
            </p:cNvCxnSpPr>
            <p:nvPr/>
          </p:nvCxnSpPr>
          <p:spPr>
            <a:xfrm flipH="1">
              <a:off x="2982630" y="4804995"/>
              <a:ext cx="611939" cy="115094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3518793" y="4752918"/>
              <a:ext cx="611940" cy="115094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4094551" y="4751241"/>
              <a:ext cx="533390" cy="116009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endCxn id="14" idx="3"/>
            </p:cNvCxnSpPr>
            <p:nvPr/>
          </p:nvCxnSpPr>
          <p:spPr>
            <a:xfrm flipH="1">
              <a:off x="4471150" y="4687556"/>
              <a:ext cx="571506" cy="128788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24" idx="4"/>
            </p:cNvCxnSpPr>
            <p:nvPr/>
          </p:nvCxnSpPr>
          <p:spPr>
            <a:xfrm flipH="1">
              <a:off x="4994544" y="4661794"/>
              <a:ext cx="572148" cy="124953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3017766" y="4860765"/>
              <a:ext cx="497029" cy="107617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3575856" y="4812461"/>
              <a:ext cx="518695" cy="116297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endCxn id="14" idx="3"/>
            </p:cNvCxnSpPr>
            <p:nvPr/>
          </p:nvCxnSpPr>
          <p:spPr>
            <a:xfrm>
              <a:off x="4130733" y="4804995"/>
              <a:ext cx="340417" cy="117044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616934" y="4743428"/>
              <a:ext cx="377608" cy="120723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054077" y="4724700"/>
              <a:ext cx="457015" cy="116393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Freeform 41"/>
            <p:cNvSpPr/>
            <p:nvPr/>
          </p:nvSpPr>
          <p:spPr>
            <a:xfrm>
              <a:off x="210357" y="5675394"/>
              <a:ext cx="2754952" cy="261940"/>
            </a:xfrm>
            <a:custGeom>
              <a:avLst/>
              <a:gdLst>
                <a:gd name="connsiteX0" fmla="*/ 0 w 1698172"/>
                <a:gd name="connsiteY0" fmla="*/ 50566 h 60614"/>
                <a:gd name="connsiteX1" fmla="*/ 311499 w 1698172"/>
                <a:gd name="connsiteY1" fmla="*/ 20421 h 60614"/>
                <a:gd name="connsiteX2" fmla="*/ 663191 w 1698172"/>
                <a:gd name="connsiteY2" fmla="*/ 324 h 60614"/>
                <a:gd name="connsiteX3" fmla="*/ 914400 w 1698172"/>
                <a:gd name="connsiteY3" fmla="*/ 10372 h 60614"/>
                <a:gd name="connsiteX4" fmla="*/ 1286189 w 1698172"/>
                <a:gd name="connsiteY4" fmla="*/ 40517 h 60614"/>
                <a:gd name="connsiteX5" fmla="*/ 1698172 w 1698172"/>
                <a:gd name="connsiteY5" fmla="*/ 60614 h 60614"/>
                <a:gd name="connsiteX0" fmla="*/ 0 w 1698172"/>
                <a:gd name="connsiteY0" fmla="*/ 50530 h 60578"/>
                <a:gd name="connsiteX1" fmla="*/ 311499 w 1698172"/>
                <a:gd name="connsiteY1" fmla="*/ 20385 h 60578"/>
                <a:gd name="connsiteX2" fmla="*/ 663191 w 1698172"/>
                <a:gd name="connsiteY2" fmla="*/ 288 h 60578"/>
                <a:gd name="connsiteX3" fmla="*/ 914400 w 1698172"/>
                <a:gd name="connsiteY3" fmla="*/ 10336 h 60578"/>
                <a:gd name="connsiteX4" fmla="*/ 1376624 w 1698172"/>
                <a:gd name="connsiteY4" fmla="*/ 34929 h 60578"/>
                <a:gd name="connsiteX5" fmla="*/ 1698172 w 1698172"/>
                <a:gd name="connsiteY5" fmla="*/ 60578 h 60578"/>
                <a:gd name="connsiteX0" fmla="*/ 0 w 1698172"/>
                <a:gd name="connsiteY0" fmla="*/ 50500 h 60548"/>
                <a:gd name="connsiteX1" fmla="*/ 311499 w 1698172"/>
                <a:gd name="connsiteY1" fmla="*/ 20355 h 60548"/>
                <a:gd name="connsiteX2" fmla="*/ 663191 w 1698172"/>
                <a:gd name="connsiteY2" fmla="*/ 258 h 60548"/>
                <a:gd name="connsiteX3" fmla="*/ 914400 w 1698172"/>
                <a:gd name="connsiteY3" fmla="*/ 10306 h 60548"/>
                <a:gd name="connsiteX4" fmla="*/ 1436914 w 1698172"/>
                <a:gd name="connsiteY4" fmla="*/ 29346 h 60548"/>
                <a:gd name="connsiteX5" fmla="*/ 1698172 w 1698172"/>
                <a:gd name="connsiteY5" fmla="*/ 60548 h 60548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4036 h 64084"/>
                <a:gd name="connsiteX1" fmla="*/ 311499 w 1698172"/>
                <a:gd name="connsiteY1" fmla="*/ 23891 h 64084"/>
                <a:gd name="connsiteX2" fmla="*/ 663191 w 1698172"/>
                <a:gd name="connsiteY2" fmla="*/ 3794 h 64084"/>
                <a:gd name="connsiteX3" fmla="*/ 1045028 w 1698172"/>
                <a:gd name="connsiteY3" fmla="*/ 2738 h 64084"/>
                <a:gd name="connsiteX4" fmla="*/ 1436914 w 1698172"/>
                <a:gd name="connsiteY4" fmla="*/ 32882 h 64084"/>
                <a:gd name="connsiteX5" fmla="*/ 1698172 w 1698172"/>
                <a:gd name="connsiteY5" fmla="*/ 64084 h 64084"/>
                <a:gd name="connsiteX0" fmla="*/ 0 w 1698172"/>
                <a:gd name="connsiteY0" fmla="*/ 50360 h 60408"/>
                <a:gd name="connsiteX1" fmla="*/ 311499 w 1698172"/>
                <a:gd name="connsiteY1" fmla="*/ 20215 h 60408"/>
                <a:gd name="connsiteX2" fmla="*/ 663191 w 1698172"/>
                <a:gd name="connsiteY2" fmla="*/ 118 h 60408"/>
                <a:gd name="connsiteX3" fmla="*/ 1436914 w 1698172"/>
                <a:gd name="connsiteY3" fmla="*/ 29206 h 60408"/>
                <a:gd name="connsiteX4" fmla="*/ 1698172 w 1698172"/>
                <a:gd name="connsiteY4" fmla="*/ 60408 h 60408"/>
                <a:gd name="connsiteX0" fmla="*/ 0 w 1698172"/>
                <a:gd name="connsiteY0" fmla="*/ 32033 h 42081"/>
                <a:gd name="connsiteX1" fmla="*/ 311499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2033 h 42081"/>
                <a:gd name="connsiteX1" fmla="*/ 271306 w 1698172"/>
                <a:gd name="connsiteY1" fmla="*/ 1888 h 42081"/>
                <a:gd name="connsiteX2" fmla="*/ 803868 w 1698172"/>
                <a:gd name="connsiteY2" fmla="*/ 4000 h 42081"/>
                <a:gd name="connsiteX3" fmla="*/ 1436914 w 1698172"/>
                <a:gd name="connsiteY3" fmla="*/ 10879 h 42081"/>
                <a:gd name="connsiteX4" fmla="*/ 1698172 w 1698172"/>
                <a:gd name="connsiteY4" fmla="*/ 42081 h 42081"/>
                <a:gd name="connsiteX0" fmla="*/ 0 w 1698172"/>
                <a:gd name="connsiteY0" fmla="*/ 38904 h 48952"/>
                <a:gd name="connsiteX1" fmla="*/ 271306 w 1698172"/>
                <a:gd name="connsiteY1" fmla="*/ 8759 h 48952"/>
                <a:gd name="connsiteX2" fmla="*/ 918168 w 1698172"/>
                <a:gd name="connsiteY2" fmla="*/ 345 h 48952"/>
                <a:gd name="connsiteX3" fmla="*/ 1436914 w 1698172"/>
                <a:gd name="connsiteY3" fmla="*/ 17750 h 48952"/>
                <a:gd name="connsiteX4" fmla="*/ 1698172 w 1698172"/>
                <a:gd name="connsiteY4" fmla="*/ 48952 h 48952"/>
                <a:gd name="connsiteX0" fmla="*/ 0 w 1698172"/>
                <a:gd name="connsiteY0" fmla="*/ 38559 h 48607"/>
                <a:gd name="connsiteX1" fmla="*/ 271306 w 1698172"/>
                <a:gd name="connsiteY1" fmla="*/ 8414 h 48607"/>
                <a:gd name="connsiteX2" fmla="*/ 918168 w 1698172"/>
                <a:gd name="connsiteY2" fmla="*/ 0 h 48607"/>
                <a:gd name="connsiteX3" fmla="*/ 1408339 w 1698172"/>
                <a:gd name="connsiteY3" fmla="*/ 1616 h 48607"/>
                <a:gd name="connsiteX4" fmla="*/ 1698172 w 1698172"/>
                <a:gd name="connsiteY4" fmla="*/ 48607 h 48607"/>
                <a:gd name="connsiteX0" fmla="*/ 0 w 1698172"/>
                <a:gd name="connsiteY0" fmla="*/ 54348 h 64396"/>
                <a:gd name="connsiteX1" fmla="*/ 271306 w 1698172"/>
                <a:gd name="connsiteY1" fmla="*/ 24203 h 64396"/>
                <a:gd name="connsiteX2" fmla="*/ 927693 w 1698172"/>
                <a:gd name="connsiteY2" fmla="*/ 0 h 64396"/>
                <a:gd name="connsiteX3" fmla="*/ 1408339 w 1698172"/>
                <a:gd name="connsiteY3" fmla="*/ 17405 h 64396"/>
                <a:gd name="connsiteX4" fmla="*/ 1698172 w 1698172"/>
                <a:gd name="connsiteY4" fmla="*/ 64396 h 64396"/>
                <a:gd name="connsiteX0" fmla="*/ 0 w 1698172"/>
                <a:gd name="connsiteY0" fmla="*/ 44945 h 54993"/>
                <a:gd name="connsiteX1" fmla="*/ 271306 w 1698172"/>
                <a:gd name="connsiteY1" fmla="*/ 14800 h 54993"/>
                <a:gd name="connsiteX2" fmla="*/ 870543 w 1698172"/>
                <a:gd name="connsiteY2" fmla="*/ 0 h 54993"/>
                <a:gd name="connsiteX3" fmla="*/ 1408339 w 1698172"/>
                <a:gd name="connsiteY3" fmla="*/ 8002 h 54993"/>
                <a:gd name="connsiteX4" fmla="*/ 1698172 w 1698172"/>
                <a:gd name="connsiteY4" fmla="*/ 54993 h 54993"/>
                <a:gd name="connsiteX0" fmla="*/ 0 w 1698172"/>
                <a:gd name="connsiteY0" fmla="*/ 45462 h 55510"/>
                <a:gd name="connsiteX1" fmla="*/ 271306 w 1698172"/>
                <a:gd name="connsiteY1" fmla="*/ 15317 h 55510"/>
                <a:gd name="connsiteX2" fmla="*/ 870543 w 1698172"/>
                <a:gd name="connsiteY2" fmla="*/ 517 h 55510"/>
                <a:gd name="connsiteX3" fmla="*/ 1408339 w 1698172"/>
                <a:gd name="connsiteY3" fmla="*/ 8519 h 55510"/>
                <a:gd name="connsiteX4" fmla="*/ 1698172 w 1698172"/>
                <a:gd name="connsiteY4" fmla="*/ 55510 h 5551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55322"/>
                <a:gd name="connsiteY0" fmla="*/ 45220 h 45220"/>
                <a:gd name="connsiteX1" fmla="*/ 271306 w 1755322"/>
                <a:gd name="connsiteY1" fmla="*/ 15075 h 45220"/>
                <a:gd name="connsiteX2" fmla="*/ 870543 w 1755322"/>
                <a:gd name="connsiteY2" fmla="*/ 275 h 45220"/>
                <a:gd name="connsiteX3" fmla="*/ 1408339 w 1755322"/>
                <a:gd name="connsiteY3" fmla="*/ 8277 h 45220"/>
                <a:gd name="connsiteX4" fmla="*/ 1755322 w 1755322"/>
                <a:gd name="connsiteY4" fmla="*/ 41164 h 45220"/>
                <a:gd name="connsiteX0" fmla="*/ 0 w 1764847"/>
                <a:gd name="connsiteY0" fmla="*/ 35817 h 42434"/>
                <a:gd name="connsiteX1" fmla="*/ 280831 w 1764847"/>
                <a:gd name="connsiteY1" fmla="*/ 15075 h 42434"/>
                <a:gd name="connsiteX2" fmla="*/ 880068 w 1764847"/>
                <a:gd name="connsiteY2" fmla="*/ 275 h 42434"/>
                <a:gd name="connsiteX3" fmla="*/ 1417864 w 1764847"/>
                <a:gd name="connsiteY3" fmla="*/ 8277 h 42434"/>
                <a:gd name="connsiteX4" fmla="*/ 1764847 w 1764847"/>
                <a:gd name="connsiteY4" fmla="*/ 41164 h 42434"/>
                <a:gd name="connsiteX0" fmla="*/ 0 w 1764847"/>
                <a:gd name="connsiteY0" fmla="*/ 81529 h 88146"/>
                <a:gd name="connsiteX1" fmla="*/ 280831 w 1764847"/>
                <a:gd name="connsiteY1" fmla="*/ 60787 h 88146"/>
                <a:gd name="connsiteX2" fmla="*/ 919775 w 1764847"/>
                <a:gd name="connsiteY2" fmla="*/ 19 h 88146"/>
                <a:gd name="connsiteX3" fmla="*/ 1417864 w 1764847"/>
                <a:gd name="connsiteY3" fmla="*/ 53989 h 88146"/>
                <a:gd name="connsiteX4" fmla="*/ 1764847 w 1764847"/>
                <a:gd name="connsiteY4" fmla="*/ 86876 h 88146"/>
                <a:gd name="connsiteX0" fmla="*/ 0 w 1764847"/>
                <a:gd name="connsiteY0" fmla="*/ 83862 h 90479"/>
                <a:gd name="connsiteX1" fmla="*/ 606428 w 1764847"/>
                <a:gd name="connsiteY1" fmla="*/ 17152 h 90479"/>
                <a:gd name="connsiteX2" fmla="*/ 919775 w 1764847"/>
                <a:gd name="connsiteY2" fmla="*/ 2352 h 90479"/>
                <a:gd name="connsiteX3" fmla="*/ 1417864 w 1764847"/>
                <a:gd name="connsiteY3" fmla="*/ 56322 h 90479"/>
                <a:gd name="connsiteX4" fmla="*/ 1764847 w 1764847"/>
                <a:gd name="connsiteY4" fmla="*/ 89209 h 90479"/>
                <a:gd name="connsiteX0" fmla="*/ 0 w 1764847"/>
                <a:gd name="connsiteY0" fmla="*/ 81512 h 87505"/>
                <a:gd name="connsiteX1" fmla="*/ 606428 w 1764847"/>
                <a:gd name="connsiteY1" fmla="*/ 14802 h 87505"/>
                <a:gd name="connsiteX2" fmla="*/ 919775 w 1764847"/>
                <a:gd name="connsiteY2" fmla="*/ 2 h 87505"/>
                <a:gd name="connsiteX3" fmla="*/ 1290802 w 1764847"/>
                <a:gd name="connsiteY3" fmla="*/ 15076 h 87505"/>
                <a:gd name="connsiteX4" fmla="*/ 1764847 w 1764847"/>
                <a:gd name="connsiteY4" fmla="*/ 86859 h 87505"/>
                <a:gd name="connsiteX0" fmla="*/ 0 w 1764847"/>
                <a:gd name="connsiteY0" fmla="*/ 81987 h 88080"/>
                <a:gd name="connsiteX1" fmla="*/ 606428 w 1764847"/>
                <a:gd name="connsiteY1" fmla="*/ 15277 h 88080"/>
                <a:gd name="connsiteX2" fmla="*/ 919775 w 1764847"/>
                <a:gd name="connsiteY2" fmla="*/ 477 h 88080"/>
                <a:gd name="connsiteX3" fmla="*/ 1370216 w 1764847"/>
                <a:gd name="connsiteY3" fmla="*/ 26159 h 88080"/>
                <a:gd name="connsiteX4" fmla="*/ 1764847 w 1764847"/>
                <a:gd name="connsiteY4" fmla="*/ 87334 h 88080"/>
                <a:gd name="connsiteX0" fmla="*/ 0 w 1764847"/>
                <a:gd name="connsiteY0" fmla="*/ 82654 h 88884"/>
                <a:gd name="connsiteX1" fmla="*/ 606428 w 1764847"/>
                <a:gd name="connsiteY1" fmla="*/ 15944 h 88884"/>
                <a:gd name="connsiteX2" fmla="*/ 919775 w 1764847"/>
                <a:gd name="connsiteY2" fmla="*/ 1144 h 88884"/>
                <a:gd name="connsiteX3" fmla="*/ 1179622 w 1764847"/>
                <a:gd name="connsiteY3" fmla="*/ 37434 h 88884"/>
                <a:gd name="connsiteX4" fmla="*/ 1764847 w 1764847"/>
                <a:gd name="connsiteY4" fmla="*/ 88001 h 88884"/>
                <a:gd name="connsiteX0" fmla="*/ 0 w 1764847"/>
                <a:gd name="connsiteY0" fmla="*/ 82654 h 88884"/>
                <a:gd name="connsiteX1" fmla="*/ 606428 w 1764847"/>
                <a:gd name="connsiteY1" fmla="*/ 15944 h 88884"/>
                <a:gd name="connsiteX2" fmla="*/ 895951 w 1764847"/>
                <a:gd name="connsiteY2" fmla="*/ 1144 h 88884"/>
                <a:gd name="connsiteX3" fmla="*/ 1179622 w 1764847"/>
                <a:gd name="connsiteY3" fmla="*/ 37434 h 88884"/>
                <a:gd name="connsiteX4" fmla="*/ 1764847 w 1764847"/>
                <a:gd name="connsiteY4" fmla="*/ 88001 h 88884"/>
                <a:gd name="connsiteX0" fmla="*/ 0 w 1764847"/>
                <a:gd name="connsiteY0" fmla="*/ 76842 h 83072"/>
                <a:gd name="connsiteX1" fmla="*/ 606428 w 1764847"/>
                <a:gd name="connsiteY1" fmla="*/ 10132 h 83072"/>
                <a:gd name="connsiteX2" fmla="*/ 840362 w 1764847"/>
                <a:gd name="connsiteY2" fmla="*/ 2404 h 83072"/>
                <a:gd name="connsiteX3" fmla="*/ 1179622 w 1764847"/>
                <a:gd name="connsiteY3" fmla="*/ 31622 h 83072"/>
                <a:gd name="connsiteX4" fmla="*/ 1764847 w 1764847"/>
                <a:gd name="connsiteY4" fmla="*/ 82189 h 83072"/>
                <a:gd name="connsiteX0" fmla="*/ 0 w 1764847"/>
                <a:gd name="connsiteY0" fmla="*/ 76842 h 83072"/>
                <a:gd name="connsiteX1" fmla="*/ 582603 w 1764847"/>
                <a:gd name="connsiteY1" fmla="*/ 10132 h 83072"/>
                <a:gd name="connsiteX2" fmla="*/ 840362 w 1764847"/>
                <a:gd name="connsiteY2" fmla="*/ 2404 h 83072"/>
                <a:gd name="connsiteX3" fmla="*/ 1179622 w 1764847"/>
                <a:gd name="connsiteY3" fmla="*/ 31622 h 83072"/>
                <a:gd name="connsiteX4" fmla="*/ 1764847 w 1764847"/>
                <a:gd name="connsiteY4" fmla="*/ 82189 h 83072"/>
                <a:gd name="connsiteX0" fmla="*/ 0 w 1764847"/>
                <a:gd name="connsiteY0" fmla="*/ 77098 h 83385"/>
                <a:gd name="connsiteX1" fmla="*/ 582603 w 1764847"/>
                <a:gd name="connsiteY1" fmla="*/ 10388 h 83385"/>
                <a:gd name="connsiteX2" fmla="*/ 840362 w 1764847"/>
                <a:gd name="connsiteY2" fmla="*/ 2660 h 83385"/>
                <a:gd name="connsiteX3" fmla="*/ 1100208 w 1764847"/>
                <a:gd name="connsiteY3" fmla="*/ 35414 h 83385"/>
                <a:gd name="connsiteX4" fmla="*/ 1764847 w 1764847"/>
                <a:gd name="connsiteY4" fmla="*/ 82445 h 83385"/>
                <a:gd name="connsiteX0" fmla="*/ 0 w 1764847"/>
                <a:gd name="connsiteY0" fmla="*/ 77098 h 82445"/>
                <a:gd name="connsiteX1" fmla="*/ 582603 w 1764847"/>
                <a:gd name="connsiteY1" fmla="*/ 10388 h 82445"/>
                <a:gd name="connsiteX2" fmla="*/ 840362 w 1764847"/>
                <a:gd name="connsiteY2" fmla="*/ 2660 h 82445"/>
                <a:gd name="connsiteX3" fmla="*/ 1100208 w 1764847"/>
                <a:gd name="connsiteY3" fmla="*/ 35414 h 82445"/>
                <a:gd name="connsiteX4" fmla="*/ 1381136 w 1764847"/>
                <a:gd name="connsiteY4" fmla="*/ 27667 h 82445"/>
                <a:gd name="connsiteX5" fmla="*/ 1764847 w 1764847"/>
                <a:gd name="connsiteY5" fmla="*/ 82445 h 82445"/>
                <a:gd name="connsiteX0" fmla="*/ 0 w 1764847"/>
                <a:gd name="connsiteY0" fmla="*/ 77873 h 83220"/>
                <a:gd name="connsiteX1" fmla="*/ 582603 w 1764847"/>
                <a:gd name="connsiteY1" fmla="*/ 11163 h 83220"/>
                <a:gd name="connsiteX2" fmla="*/ 840362 w 1764847"/>
                <a:gd name="connsiteY2" fmla="*/ 3435 h 83220"/>
                <a:gd name="connsiteX3" fmla="*/ 1131974 w 1764847"/>
                <a:gd name="connsiteY3" fmla="*/ 46797 h 83220"/>
                <a:gd name="connsiteX4" fmla="*/ 1381136 w 1764847"/>
                <a:gd name="connsiteY4" fmla="*/ 28442 h 83220"/>
                <a:gd name="connsiteX5" fmla="*/ 1764847 w 1764847"/>
                <a:gd name="connsiteY5" fmla="*/ 83220 h 83220"/>
                <a:gd name="connsiteX0" fmla="*/ 0 w 1764847"/>
                <a:gd name="connsiteY0" fmla="*/ 74804 h 80151"/>
                <a:gd name="connsiteX1" fmla="*/ 590545 w 1764847"/>
                <a:gd name="connsiteY1" fmla="*/ 25774 h 80151"/>
                <a:gd name="connsiteX2" fmla="*/ 840362 w 1764847"/>
                <a:gd name="connsiteY2" fmla="*/ 366 h 80151"/>
                <a:gd name="connsiteX3" fmla="*/ 1131974 w 1764847"/>
                <a:gd name="connsiteY3" fmla="*/ 43728 h 80151"/>
                <a:gd name="connsiteX4" fmla="*/ 1381136 w 1764847"/>
                <a:gd name="connsiteY4" fmla="*/ 25373 h 80151"/>
                <a:gd name="connsiteX5" fmla="*/ 1764847 w 1764847"/>
                <a:gd name="connsiteY5" fmla="*/ 80151 h 80151"/>
                <a:gd name="connsiteX0" fmla="*/ 0 w 2296921"/>
                <a:gd name="connsiteY0" fmla="*/ 74804 h 80151"/>
                <a:gd name="connsiteX1" fmla="*/ 1122619 w 2296921"/>
                <a:gd name="connsiteY1" fmla="*/ 25774 h 80151"/>
                <a:gd name="connsiteX2" fmla="*/ 1372436 w 2296921"/>
                <a:gd name="connsiteY2" fmla="*/ 366 h 80151"/>
                <a:gd name="connsiteX3" fmla="*/ 1664048 w 2296921"/>
                <a:gd name="connsiteY3" fmla="*/ 43728 h 80151"/>
                <a:gd name="connsiteX4" fmla="*/ 1913210 w 2296921"/>
                <a:gd name="connsiteY4" fmla="*/ 25373 h 80151"/>
                <a:gd name="connsiteX5" fmla="*/ 2296921 w 2296921"/>
                <a:gd name="connsiteY5" fmla="*/ 80151 h 80151"/>
                <a:gd name="connsiteX0" fmla="*/ 0 w 2296921"/>
                <a:gd name="connsiteY0" fmla="*/ 74752 h 80099"/>
                <a:gd name="connsiteX1" fmla="*/ 698172 w 2296921"/>
                <a:gd name="connsiteY1" fmla="*/ 55801 h 80099"/>
                <a:gd name="connsiteX2" fmla="*/ 1122619 w 2296921"/>
                <a:gd name="connsiteY2" fmla="*/ 25722 h 80099"/>
                <a:gd name="connsiteX3" fmla="*/ 1372436 w 2296921"/>
                <a:gd name="connsiteY3" fmla="*/ 314 h 80099"/>
                <a:gd name="connsiteX4" fmla="*/ 1664048 w 2296921"/>
                <a:gd name="connsiteY4" fmla="*/ 43676 h 80099"/>
                <a:gd name="connsiteX5" fmla="*/ 1913210 w 2296921"/>
                <a:gd name="connsiteY5" fmla="*/ 25321 h 80099"/>
                <a:gd name="connsiteX6" fmla="*/ 2296921 w 2296921"/>
                <a:gd name="connsiteY6" fmla="*/ 80099 h 80099"/>
                <a:gd name="connsiteX0" fmla="*/ 0 w 2296921"/>
                <a:gd name="connsiteY0" fmla="*/ 74752 h 80099"/>
                <a:gd name="connsiteX1" fmla="*/ 698172 w 2296921"/>
                <a:gd name="connsiteY1" fmla="*/ 55801 h 80099"/>
                <a:gd name="connsiteX2" fmla="*/ 1122619 w 2296921"/>
                <a:gd name="connsiteY2" fmla="*/ 25722 h 80099"/>
                <a:gd name="connsiteX3" fmla="*/ 1372436 w 2296921"/>
                <a:gd name="connsiteY3" fmla="*/ 314 h 80099"/>
                <a:gd name="connsiteX4" fmla="*/ 1664048 w 2296921"/>
                <a:gd name="connsiteY4" fmla="*/ 43676 h 80099"/>
                <a:gd name="connsiteX5" fmla="*/ 1913210 w 2296921"/>
                <a:gd name="connsiteY5" fmla="*/ 25321 h 80099"/>
                <a:gd name="connsiteX6" fmla="*/ 2296921 w 2296921"/>
                <a:gd name="connsiteY6" fmla="*/ 80099 h 8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96921" h="80099">
                  <a:moveTo>
                    <a:pt x="0" y="74752"/>
                  </a:moveTo>
                  <a:cubicBezTo>
                    <a:pt x="211547" y="65522"/>
                    <a:pt x="486625" y="65031"/>
                    <a:pt x="698172" y="55801"/>
                  </a:cubicBezTo>
                  <a:lnTo>
                    <a:pt x="1122619" y="25722"/>
                  </a:lnTo>
                  <a:cubicBezTo>
                    <a:pt x="1234996" y="16474"/>
                    <a:pt x="1282198" y="-2678"/>
                    <a:pt x="1372436" y="314"/>
                  </a:cubicBezTo>
                  <a:cubicBezTo>
                    <a:pt x="1462674" y="3306"/>
                    <a:pt x="1568625" y="34793"/>
                    <a:pt x="1664048" y="43676"/>
                  </a:cubicBezTo>
                  <a:cubicBezTo>
                    <a:pt x="1759471" y="52559"/>
                    <a:pt x="1802437" y="17482"/>
                    <a:pt x="1913210" y="25321"/>
                  </a:cubicBezTo>
                  <a:cubicBezTo>
                    <a:pt x="2023983" y="33160"/>
                    <a:pt x="2238264" y="75684"/>
                    <a:pt x="2296921" y="80099"/>
                  </a:cubicBezTo>
                </a:path>
              </a:pathLst>
            </a:custGeom>
            <a:solidFill>
              <a:schemeClr val="bg1">
                <a:lumMod val="65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151996" y="4841515"/>
              <a:ext cx="2877341" cy="245054"/>
            </a:xfrm>
            <a:custGeom>
              <a:avLst/>
              <a:gdLst>
                <a:gd name="connsiteX0" fmla="*/ 0 w 1858946"/>
                <a:gd name="connsiteY0" fmla="*/ 120580 h 141257"/>
                <a:gd name="connsiteX1" fmla="*/ 522515 w 1858946"/>
                <a:gd name="connsiteY1" fmla="*/ 140677 h 141257"/>
                <a:gd name="connsiteX2" fmla="*/ 1034981 w 1858946"/>
                <a:gd name="connsiteY2" fmla="*/ 100483 h 141257"/>
                <a:gd name="connsiteX3" fmla="*/ 1597688 w 1858946"/>
                <a:gd name="connsiteY3" fmla="*/ 60290 h 141257"/>
                <a:gd name="connsiteX4" fmla="*/ 1858946 w 1858946"/>
                <a:gd name="connsiteY4" fmla="*/ 0 h 141257"/>
                <a:gd name="connsiteX0" fmla="*/ 0 w 1858946"/>
                <a:gd name="connsiteY0" fmla="*/ 120580 h 140953"/>
                <a:gd name="connsiteX1" fmla="*/ 522515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0953"/>
                <a:gd name="connsiteX1" fmla="*/ 474890 w 1858946"/>
                <a:gd name="connsiteY1" fmla="*/ 140677 h 140953"/>
                <a:gd name="connsiteX2" fmla="*/ 1025456 w 1858946"/>
                <a:gd name="connsiteY2" fmla="*/ 107807 h 140953"/>
                <a:gd name="connsiteX3" fmla="*/ 1597688 w 1858946"/>
                <a:gd name="connsiteY3" fmla="*/ 60290 h 140953"/>
                <a:gd name="connsiteX4" fmla="*/ 1858946 w 1858946"/>
                <a:gd name="connsiteY4" fmla="*/ 0 h 140953"/>
                <a:gd name="connsiteX0" fmla="*/ 0 w 1858946"/>
                <a:gd name="connsiteY0" fmla="*/ 120580 h 147579"/>
                <a:gd name="connsiteX1" fmla="*/ 474890 w 1858946"/>
                <a:gd name="connsiteY1" fmla="*/ 140677 h 147579"/>
                <a:gd name="connsiteX2" fmla="*/ 946042 w 1858946"/>
                <a:gd name="connsiteY2" fmla="*/ 140858 h 147579"/>
                <a:gd name="connsiteX3" fmla="*/ 1597688 w 1858946"/>
                <a:gd name="connsiteY3" fmla="*/ 60290 h 147579"/>
                <a:gd name="connsiteX4" fmla="*/ 1858946 w 1858946"/>
                <a:gd name="connsiteY4" fmla="*/ 0 h 147579"/>
                <a:gd name="connsiteX0" fmla="*/ 0 w 1858946"/>
                <a:gd name="connsiteY0" fmla="*/ 120580 h 151694"/>
                <a:gd name="connsiteX1" fmla="*/ 411359 w 1858946"/>
                <a:gd name="connsiteY1" fmla="*/ 151694 h 151694"/>
                <a:gd name="connsiteX2" fmla="*/ 946042 w 1858946"/>
                <a:gd name="connsiteY2" fmla="*/ 140858 h 151694"/>
                <a:gd name="connsiteX3" fmla="*/ 1597688 w 1858946"/>
                <a:gd name="connsiteY3" fmla="*/ 60290 h 151694"/>
                <a:gd name="connsiteX4" fmla="*/ 1858946 w 1858946"/>
                <a:gd name="connsiteY4" fmla="*/ 0 h 151694"/>
                <a:gd name="connsiteX0" fmla="*/ 0 w 1858946"/>
                <a:gd name="connsiteY0" fmla="*/ 120580 h 151694"/>
                <a:gd name="connsiteX1" fmla="*/ 411359 w 1858946"/>
                <a:gd name="connsiteY1" fmla="*/ 151694 h 151694"/>
                <a:gd name="connsiteX2" fmla="*/ 946042 w 1858946"/>
                <a:gd name="connsiteY2" fmla="*/ 140858 h 151694"/>
                <a:gd name="connsiteX3" fmla="*/ 1502391 w 1858946"/>
                <a:gd name="connsiteY3" fmla="*/ 104359 h 151694"/>
                <a:gd name="connsiteX4" fmla="*/ 1858946 w 1858946"/>
                <a:gd name="connsiteY4" fmla="*/ 0 h 151694"/>
                <a:gd name="connsiteX0" fmla="*/ 0 w 2398961"/>
                <a:gd name="connsiteY0" fmla="*/ 137106 h 151763"/>
                <a:gd name="connsiteX1" fmla="*/ 951374 w 2398961"/>
                <a:gd name="connsiteY1" fmla="*/ 151694 h 151763"/>
                <a:gd name="connsiteX2" fmla="*/ 1486057 w 2398961"/>
                <a:gd name="connsiteY2" fmla="*/ 140858 h 151763"/>
                <a:gd name="connsiteX3" fmla="*/ 2042406 w 2398961"/>
                <a:gd name="connsiteY3" fmla="*/ 104359 h 151763"/>
                <a:gd name="connsiteX4" fmla="*/ 2398961 w 2398961"/>
                <a:gd name="connsiteY4" fmla="*/ 0 h 151763"/>
                <a:gd name="connsiteX0" fmla="*/ 0 w 2398961"/>
                <a:gd name="connsiteY0" fmla="*/ 137106 h 152477"/>
                <a:gd name="connsiteX1" fmla="*/ 858010 w 2398961"/>
                <a:gd name="connsiteY1" fmla="*/ 122989 h 152477"/>
                <a:gd name="connsiteX2" fmla="*/ 951374 w 2398961"/>
                <a:gd name="connsiteY2" fmla="*/ 151694 h 152477"/>
                <a:gd name="connsiteX3" fmla="*/ 1486057 w 2398961"/>
                <a:gd name="connsiteY3" fmla="*/ 140858 h 152477"/>
                <a:gd name="connsiteX4" fmla="*/ 2042406 w 2398961"/>
                <a:gd name="connsiteY4" fmla="*/ 104359 h 152477"/>
                <a:gd name="connsiteX5" fmla="*/ 2398961 w 2398961"/>
                <a:gd name="connsiteY5" fmla="*/ 0 h 152477"/>
                <a:gd name="connsiteX0" fmla="*/ 0 w 2398961"/>
                <a:gd name="connsiteY0" fmla="*/ 137106 h 141721"/>
                <a:gd name="connsiteX1" fmla="*/ 858010 w 2398961"/>
                <a:gd name="connsiteY1" fmla="*/ 122989 h 141721"/>
                <a:gd name="connsiteX2" fmla="*/ 1181675 w 2398961"/>
                <a:gd name="connsiteY2" fmla="*/ 129660 h 141721"/>
                <a:gd name="connsiteX3" fmla="*/ 1486057 w 2398961"/>
                <a:gd name="connsiteY3" fmla="*/ 140858 h 141721"/>
                <a:gd name="connsiteX4" fmla="*/ 2042406 w 2398961"/>
                <a:gd name="connsiteY4" fmla="*/ 104359 h 141721"/>
                <a:gd name="connsiteX5" fmla="*/ 2398961 w 2398961"/>
                <a:gd name="connsiteY5" fmla="*/ 0 h 141721"/>
                <a:gd name="connsiteX0" fmla="*/ 0 w 2398961"/>
                <a:gd name="connsiteY0" fmla="*/ 137106 h 141721"/>
                <a:gd name="connsiteX1" fmla="*/ 858010 w 2398961"/>
                <a:gd name="connsiteY1" fmla="*/ 122989 h 141721"/>
                <a:gd name="connsiteX2" fmla="*/ 1189616 w 2398961"/>
                <a:gd name="connsiteY2" fmla="*/ 129660 h 141721"/>
                <a:gd name="connsiteX3" fmla="*/ 1486057 w 2398961"/>
                <a:gd name="connsiteY3" fmla="*/ 140858 h 141721"/>
                <a:gd name="connsiteX4" fmla="*/ 2042406 w 2398961"/>
                <a:gd name="connsiteY4" fmla="*/ 104359 h 141721"/>
                <a:gd name="connsiteX5" fmla="*/ 2398961 w 2398961"/>
                <a:gd name="connsiteY5" fmla="*/ 0 h 141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8961" h="141721">
                  <a:moveTo>
                    <a:pt x="0" y="137106"/>
                  </a:moveTo>
                  <a:lnTo>
                    <a:pt x="858010" y="122989"/>
                  </a:lnTo>
                  <a:lnTo>
                    <a:pt x="1189616" y="129660"/>
                  </a:lnTo>
                  <a:cubicBezTo>
                    <a:pt x="1294290" y="132638"/>
                    <a:pt x="1343925" y="145075"/>
                    <a:pt x="1486057" y="140858"/>
                  </a:cubicBezTo>
                  <a:cubicBezTo>
                    <a:pt x="1628189" y="136641"/>
                    <a:pt x="1903491" y="122327"/>
                    <a:pt x="2042406" y="104359"/>
                  </a:cubicBezTo>
                  <a:cubicBezTo>
                    <a:pt x="2181321" y="86391"/>
                    <a:pt x="2336996" y="21771"/>
                    <a:pt x="2398961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5584383" y="5702833"/>
              <a:ext cx="2916610" cy="199356"/>
            </a:xfrm>
            <a:custGeom>
              <a:avLst/>
              <a:gdLst>
                <a:gd name="connsiteX0" fmla="*/ 0 w 1999622"/>
                <a:gd name="connsiteY0" fmla="*/ 222955 h 222955"/>
                <a:gd name="connsiteX1" fmla="*/ 261257 w 1999622"/>
                <a:gd name="connsiteY1" fmla="*/ 202858 h 222955"/>
                <a:gd name="connsiteX2" fmla="*/ 562708 w 1999622"/>
                <a:gd name="connsiteY2" fmla="*/ 152617 h 222955"/>
                <a:gd name="connsiteX3" fmla="*/ 924448 w 1999622"/>
                <a:gd name="connsiteY3" fmla="*/ 102375 h 222955"/>
                <a:gd name="connsiteX4" fmla="*/ 1205802 w 1999622"/>
                <a:gd name="connsiteY4" fmla="*/ 11940 h 222955"/>
                <a:gd name="connsiteX5" fmla="*/ 1557495 w 1999622"/>
                <a:gd name="connsiteY5" fmla="*/ 11940 h 222955"/>
                <a:gd name="connsiteX6" fmla="*/ 1899139 w 1999622"/>
                <a:gd name="connsiteY6" fmla="*/ 112423 h 222955"/>
                <a:gd name="connsiteX7" fmla="*/ 1999622 w 1999622"/>
                <a:gd name="connsiteY7" fmla="*/ 142568 h 222955"/>
                <a:gd name="connsiteX0" fmla="*/ 0 w 2431701"/>
                <a:gd name="connsiteY0" fmla="*/ 222955 h 222955"/>
                <a:gd name="connsiteX1" fmla="*/ 261257 w 2431701"/>
                <a:gd name="connsiteY1" fmla="*/ 202858 h 222955"/>
                <a:gd name="connsiteX2" fmla="*/ 562708 w 2431701"/>
                <a:gd name="connsiteY2" fmla="*/ 152617 h 222955"/>
                <a:gd name="connsiteX3" fmla="*/ 924448 w 2431701"/>
                <a:gd name="connsiteY3" fmla="*/ 102375 h 222955"/>
                <a:gd name="connsiteX4" fmla="*/ 1205802 w 2431701"/>
                <a:gd name="connsiteY4" fmla="*/ 11940 h 222955"/>
                <a:gd name="connsiteX5" fmla="*/ 1557495 w 2431701"/>
                <a:gd name="connsiteY5" fmla="*/ 11940 h 222955"/>
                <a:gd name="connsiteX6" fmla="*/ 1899139 w 2431701"/>
                <a:gd name="connsiteY6" fmla="*/ 112423 h 222955"/>
                <a:gd name="connsiteX7" fmla="*/ 2431701 w 2431701"/>
                <a:gd name="connsiteY7" fmla="*/ 142568 h 222955"/>
                <a:gd name="connsiteX0" fmla="*/ 0 w 2431701"/>
                <a:gd name="connsiteY0" fmla="*/ 220976 h 220976"/>
                <a:gd name="connsiteX1" fmla="*/ 261257 w 2431701"/>
                <a:gd name="connsiteY1" fmla="*/ 200879 h 220976"/>
                <a:gd name="connsiteX2" fmla="*/ 562708 w 2431701"/>
                <a:gd name="connsiteY2" fmla="*/ 150638 h 220976"/>
                <a:gd name="connsiteX3" fmla="*/ 924448 w 2431701"/>
                <a:gd name="connsiteY3" fmla="*/ 100396 h 220976"/>
                <a:gd name="connsiteX4" fmla="*/ 1205802 w 2431701"/>
                <a:gd name="connsiteY4" fmla="*/ 9961 h 220976"/>
                <a:gd name="connsiteX5" fmla="*/ 1557495 w 2431701"/>
                <a:gd name="connsiteY5" fmla="*/ 9961 h 220976"/>
                <a:gd name="connsiteX6" fmla="*/ 1949381 w 2431701"/>
                <a:gd name="connsiteY6" fmla="*/ 78120 h 220976"/>
                <a:gd name="connsiteX7" fmla="*/ 2431701 w 2431701"/>
                <a:gd name="connsiteY7" fmla="*/ 140589 h 220976"/>
                <a:gd name="connsiteX0" fmla="*/ 0 w 2431701"/>
                <a:gd name="connsiteY0" fmla="*/ 223477 h 223477"/>
                <a:gd name="connsiteX1" fmla="*/ 261257 w 2431701"/>
                <a:gd name="connsiteY1" fmla="*/ 203380 h 223477"/>
                <a:gd name="connsiteX2" fmla="*/ 562708 w 2431701"/>
                <a:gd name="connsiteY2" fmla="*/ 153139 h 223477"/>
                <a:gd name="connsiteX3" fmla="*/ 924448 w 2431701"/>
                <a:gd name="connsiteY3" fmla="*/ 102897 h 223477"/>
                <a:gd name="connsiteX4" fmla="*/ 1205802 w 2431701"/>
                <a:gd name="connsiteY4" fmla="*/ 12462 h 223477"/>
                <a:gd name="connsiteX5" fmla="*/ 1557495 w 2431701"/>
                <a:gd name="connsiteY5" fmla="*/ 12462 h 223477"/>
                <a:gd name="connsiteX6" fmla="*/ 1949381 w 2431701"/>
                <a:gd name="connsiteY6" fmla="*/ 121025 h 223477"/>
                <a:gd name="connsiteX7" fmla="*/ 2431701 w 2431701"/>
                <a:gd name="connsiteY7" fmla="*/ 143090 h 223477"/>
                <a:gd name="connsiteX0" fmla="*/ 0 w 2431701"/>
                <a:gd name="connsiteY0" fmla="*/ 211110 h 211110"/>
                <a:gd name="connsiteX1" fmla="*/ 261257 w 2431701"/>
                <a:gd name="connsiteY1" fmla="*/ 191013 h 211110"/>
                <a:gd name="connsiteX2" fmla="*/ 562708 w 2431701"/>
                <a:gd name="connsiteY2" fmla="*/ 140772 h 211110"/>
                <a:gd name="connsiteX3" fmla="*/ 924448 w 2431701"/>
                <a:gd name="connsiteY3" fmla="*/ 90530 h 211110"/>
                <a:gd name="connsiteX4" fmla="*/ 1557495 w 2431701"/>
                <a:gd name="connsiteY4" fmla="*/ 95 h 211110"/>
                <a:gd name="connsiteX5" fmla="*/ 1949381 w 2431701"/>
                <a:gd name="connsiteY5" fmla="*/ 108658 h 211110"/>
                <a:gd name="connsiteX6" fmla="*/ 2431701 w 2431701"/>
                <a:gd name="connsiteY6" fmla="*/ 130723 h 211110"/>
                <a:gd name="connsiteX0" fmla="*/ 0 w 2431701"/>
                <a:gd name="connsiteY0" fmla="*/ 120580 h 120580"/>
                <a:gd name="connsiteX1" fmla="*/ 261257 w 2431701"/>
                <a:gd name="connsiteY1" fmla="*/ 100483 h 120580"/>
                <a:gd name="connsiteX2" fmla="*/ 562708 w 2431701"/>
                <a:gd name="connsiteY2" fmla="*/ 50242 h 120580"/>
                <a:gd name="connsiteX3" fmla="*/ 924448 w 2431701"/>
                <a:gd name="connsiteY3" fmla="*/ 0 h 120580"/>
                <a:gd name="connsiteX4" fmla="*/ 1949381 w 2431701"/>
                <a:gd name="connsiteY4" fmla="*/ 18128 h 120580"/>
                <a:gd name="connsiteX5" fmla="*/ 2431701 w 2431701"/>
                <a:gd name="connsiteY5" fmla="*/ 40193 h 120580"/>
                <a:gd name="connsiteX0" fmla="*/ 0 w 2431701"/>
                <a:gd name="connsiteY0" fmla="*/ 120580 h 120580"/>
                <a:gd name="connsiteX1" fmla="*/ 261257 w 2431701"/>
                <a:gd name="connsiteY1" fmla="*/ 100483 h 120580"/>
                <a:gd name="connsiteX2" fmla="*/ 562708 w 2431701"/>
                <a:gd name="connsiteY2" fmla="*/ 50242 h 120580"/>
                <a:gd name="connsiteX3" fmla="*/ 1361225 w 2431701"/>
                <a:gd name="connsiteY3" fmla="*/ 0 h 120580"/>
                <a:gd name="connsiteX4" fmla="*/ 1949381 w 2431701"/>
                <a:gd name="connsiteY4" fmla="*/ 18128 h 120580"/>
                <a:gd name="connsiteX5" fmla="*/ 2431701 w 2431701"/>
                <a:gd name="connsiteY5" fmla="*/ 40193 h 120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1701" h="120580">
                  <a:moveTo>
                    <a:pt x="0" y="120580"/>
                  </a:moveTo>
                  <a:cubicBezTo>
                    <a:pt x="83736" y="116393"/>
                    <a:pt x="167472" y="112206"/>
                    <a:pt x="261257" y="100483"/>
                  </a:cubicBezTo>
                  <a:cubicBezTo>
                    <a:pt x="355042" y="88760"/>
                    <a:pt x="379380" y="66989"/>
                    <a:pt x="562708" y="50242"/>
                  </a:cubicBezTo>
                  <a:cubicBezTo>
                    <a:pt x="746036" y="33495"/>
                    <a:pt x="1130113" y="5352"/>
                    <a:pt x="1361225" y="0"/>
                  </a:cubicBezTo>
                  <a:lnTo>
                    <a:pt x="1949381" y="18128"/>
                  </a:lnTo>
                  <a:cubicBezTo>
                    <a:pt x="2095082" y="39899"/>
                    <a:pt x="2254180" y="30145"/>
                    <a:pt x="2431701" y="40193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5596437" y="4561890"/>
              <a:ext cx="2817666" cy="160037"/>
            </a:xfrm>
            <a:custGeom>
              <a:avLst/>
              <a:gdLst>
                <a:gd name="connsiteX0" fmla="*/ 0 w 1979525"/>
                <a:gd name="connsiteY0" fmla="*/ 80387 h 161890"/>
                <a:gd name="connsiteX1" fmla="*/ 291402 w 1979525"/>
                <a:gd name="connsiteY1" fmla="*/ 100484 h 161890"/>
                <a:gd name="connsiteX2" fmla="*/ 572756 w 1979525"/>
                <a:gd name="connsiteY2" fmla="*/ 100484 h 161890"/>
                <a:gd name="connsiteX3" fmla="*/ 854110 w 1979525"/>
                <a:gd name="connsiteY3" fmla="*/ 100484 h 161890"/>
                <a:gd name="connsiteX4" fmla="*/ 1135464 w 1979525"/>
                <a:gd name="connsiteY4" fmla="*/ 150726 h 161890"/>
                <a:gd name="connsiteX5" fmla="*/ 1436914 w 1979525"/>
                <a:gd name="connsiteY5" fmla="*/ 150726 h 161890"/>
                <a:gd name="connsiteX6" fmla="*/ 1688123 w 1979525"/>
                <a:gd name="connsiteY6" fmla="*/ 150726 h 161890"/>
                <a:gd name="connsiteX7" fmla="*/ 1979525 w 1979525"/>
                <a:gd name="connsiteY7" fmla="*/ 0 h 161890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54110 w 1979525"/>
                <a:gd name="connsiteY3" fmla="*/ 100484 h 221064"/>
                <a:gd name="connsiteX4" fmla="*/ 1135464 w 1979525"/>
                <a:gd name="connsiteY4" fmla="*/ 150726 h 221064"/>
                <a:gd name="connsiteX5" fmla="*/ 1436914 w 1979525"/>
                <a:gd name="connsiteY5" fmla="*/ 221064 h 221064"/>
                <a:gd name="connsiteX6" fmla="*/ 1688123 w 1979525"/>
                <a:gd name="connsiteY6" fmla="*/ 150726 h 221064"/>
                <a:gd name="connsiteX7" fmla="*/ 1979525 w 1979525"/>
                <a:gd name="connsiteY7" fmla="*/ 0 h 221064"/>
                <a:gd name="connsiteX0" fmla="*/ 0 w 1979525"/>
                <a:gd name="connsiteY0" fmla="*/ 80387 h 221297"/>
                <a:gd name="connsiteX1" fmla="*/ 291402 w 1979525"/>
                <a:gd name="connsiteY1" fmla="*/ 100484 h 221297"/>
                <a:gd name="connsiteX2" fmla="*/ 572756 w 1979525"/>
                <a:gd name="connsiteY2" fmla="*/ 100484 h 221297"/>
                <a:gd name="connsiteX3" fmla="*/ 854110 w 1979525"/>
                <a:gd name="connsiteY3" fmla="*/ 100484 h 221297"/>
                <a:gd name="connsiteX4" fmla="*/ 1095271 w 1979525"/>
                <a:gd name="connsiteY4" fmla="*/ 170823 h 221297"/>
                <a:gd name="connsiteX5" fmla="*/ 1436914 w 1979525"/>
                <a:gd name="connsiteY5" fmla="*/ 221064 h 221297"/>
                <a:gd name="connsiteX6" fmla="*/ 1688123 w 1979525"/>
                <a:gd name="connsiteY6" fmla="*/ 150726 h 221297"/>
                <a:gd name="connsiteX7" fmla="*/ 1979525 w 1979525"/>
                <a:gd name="connsiteY7" fmla="*/ 0 h 221297"/>
                <a:gd name="connsiteX0" fmla="*/ 0 w 1979525"/>
                <a:gd name="connsiteY0" fmla="*/ 80387 h 221261"/>
                <a:gd name="connsiteX1" fmla="*/ 291402 w 1979525"/>
                <a:gd name="connsiteY1" fmla="*/ 100484 h 221261"/>
                <a:gd name="connsiteX2" fmla="*/ 572756 w 1979525"/>
                <a:gd name="connsiteY2" fmla="*/ 100484 h 221261"/>
                <a:gd name="connsiteX3" fmla="*/ 813916 w 1979525"/>
                <a:gd name="connsiteY3" fmla="*/ 140678 h 221261"/>
                <a:gd name="connsiteX4" fmla="*/ 1095271 w 1979525"/>
                <a:gd name="connsiteY4" fmla="*/ 170823 h 221261"/>
                <a:gd name="connsiteX5" fmla="*/ 1436914 w 1979525"/>
                <a:gd name="connsiteY5" fmla="*/ 221064 h 221261"/>
                <a:gd name="connsiteX6" fmla="*/ 1688123 w 1979525"/>
                <a:gd name="connsiteY6" fmla="*/ 150726 h 221261"/>
                <a:gd name="connsiteX7" fmla="*/ 1979525 w 1979525"/>
                <a:gd name="connsiteY7" fmla="*/ 0 h 221261"/>
                <a:gd name="connsiteX0" fmla="*/ 0 w 1979525"/>
                <a:gd name="connsiteY0" fmla="*/ 80387 h 221064"/>
                <a:gd name="connsiteX1" fmla="*/ 291402 w 1979525"/>
                <a:gd name="connsiteY1" fmla="*/ 100484 h 221064"/>
                <a:gd name="connsiteX2" fmla="*/ 572756 w 1979525"/>
                <a:gd name="connsiteY2" fmla="*/ 100484 h 221064"/>
                <a:gd name="connsiteX3" fmla="*/ 813916 w 1979525"/>
                <a:gd name="connsiteY3" fmla="*/ 140678 h 221064"/>
                <a:gd name="connsiteX4" fmla="*/ 1095271 w 1979525"/>
                <a:gd name="connsiteY4" fmla="*/ 170823 h 221064"/>
                <a:gd name="connsiteX5" fmla="*/ 1436914 w 1979525"/>
                <a:gd name="connsiteY5" fmla="*/ 221064 h 221064"/>
                <a:gd name="connsiteX6" fmla="*/ 1748414 w 1979525"/>
                <a:gd name="connsiteY6" fmla="*/ 170823 h 221064"/>
                <a:gd name="connsiteX7" fmla="*/ 1979525 w 1979525"/>
                <a:gd name="connsiteY7" fmla="*/ 0 h 221064"/>
                <a:gd name="connsiteX0" fmla="*/ 0 w 1979525"/>
                <a:gd name="connsiteY0" fmla="*/ 80387 h 221480"/>
                <a:gd name="connsiteX1" fmla="*/ 291402 w 1979525"/>
                <a:gd name="connsiteY1" fmla="*/ 100484 h 221480"/>
                <a:gd name="connsiteX2" fmla="*/ 572756 w 1979525"/>
                <a:gd name="connsiteY2" fmla="*/ 100484 h 221480"/>
                <a:gd name="connsiteX3" fmla="*/ 813916 w 1979525"/>
                <a:gd name="connsiteY3" fmla="*/ 140678 h 221480"/>
                <a:gd name="connsiteX4" fmla="*/ 1095271 w 1979525"/>
                <a:gd name="connsiteY4" fmla="*/ 170823 h 221480"/>
                <a:gd name="connsiteX5" fmla="*/ 1436914 w 1979525"/>
                <a:gd name="connsiteY5" fmla="*/ 221064 h 221480"/>
                <a:gd name="connsiteX6" fmla="*/ 1738366 w 1979525"/>
                <a:gd name="connsiteY6" fmla="*/ 140678 h 221480"/>
                <a:gd name="connsiteX7" fmla="*/ 1979525 w 1979525"/>
                <a:gd name="connsiteY7" fmla="*/ 0 h 221480"/>
                <a:gd name="connsiteX0" fmla="*/ 0 w 2351314"/>
                <a:gd name="connsiteY0" fmla="*/ 62471 h 203564"/>
                <a:gd name="connsiteX1" fmla="*/ 291402 w 2351314"/>
                <a:gd name="connsiteY1" fmla="*/ 82568 h 203564"/>
                <a:gd name="connsiteX2" fmla="*/ 572756 w 2351314"/>
                <a:gd name="connsiteY2" fmla="*/ 82568 h 203564"/>
                <a:gd name="connsiteX3" fmla="*/ 813916 w 2351314"/>
                <a:gd name="connsiteY3" fmla="*/ 122762 h 203564"/>
                <a:gd name="connsiteX4" fmla="*/ 1095271 w 2351314"/>
                <a:gd name="connsiteY4" fmla="*/ 152907 h 203564"/>
                <a:gd name="connsiteX5" fmla="*/ 1436914 w 2351314"/>
                <a:gd name="connsiteY5" fmla="*/ 203148 h 203564"/>
                <a:gd name="connsiteX6" fmla="*/ 1738366 w 2351314"/>
                <a:gd name="connsiteY6" fmla="*/ 122762 h 203564"/>
                <a:gd name="connsiteX7" fmla="*/ 2351314 w 2351314"/>
                <a:gd name="connsiteY7" fmla="*/ 0 h 203564"/>
                <a:gd name="connsiteX0" fmla="*/ 0 w 2351314"/>
                <a:gd name="connsiteY0" fmla="*/ 62471 h 205155"/>
                <a:gd name="connsiteX1" fmla="*/ 291402 w 2351314"/>
                <a:gd name="connsiteY1" fmla="*/ 82568 h 205155"/>
                <a:gd name="connsiteX2" fmla="*/ 572756 w 2351314"/>
                <a:gd name="connsiteY2" fmla="*/ 82568 h 205155"/>
                <a:gd name="connsiteX3" fmla="*/ 813916 w 2351314"/>
                <a:gd name="connsiteY3" fmla="*/ 122762 h 205155"/>
                <a:gd name="connsiteX4" fmla="*/ 1095271 w 2351314"/>
                <a:gd name="connsiteY4" fmla="*/ 152907 h 205155"/>
                <a:gd name="connsiteX5" fmla="*/ 1436914 w 2351314"/>
                <a:gd name="connsiteY5" fmla="*/ 203148 h 205155"/>
                <a:gd name="connsiteX6" fmla="*/ 1818752 w 2351314"/>
                <a:gd name="connsiteY6" fmla="*/ 77974 h 205155"/>
                <a:gd name="connsiteX7" fmla="*/ 2351314 w 2351314"/>
                <a:gd name="connsiteY7" fmla="*/ 0 h 205155"/>
                <a:gd name="connsiteX0" fmla="*/ 0 w 2381459"/>
                <a:gd name="connsiteY0" fmla="*/ 24785 h 167469"/>
                <a:gd name="connsiteX1" fmla="*/ 291402 w 2381459"/>
                <a:gd name="connsiteY1" fmla="*/ 44882 h 167469"/>
                <a:gd name="connsiteX2" fmla="*/ 572756 w 2381459"/>
                <a:gd name="connsiteY2" fmla="*/ 44882 h 167469"/>
                <a:gd name="connsiteX3" fmla="*/ 813916 w 2381459"/>
                <a:gd name="connsiteY3" fmla="*/ 85076 h 167469"/>
                <a:gd name="connsiteX4" fmla="*/ 1095271 w 2381459"/>
                <a:gd name="connsiteY4" fmla="*/ 115221 h 167469"/>
                <a:gd name="connsiteX5" fmla="*/ 1436914 w 2381459"/>
                <a:gd name="connsiteY5" fmla="*/ 165462 h 167469"/>
                <a:gd name="connsiteX6" fmla="*/ 1818752 w 2381459"/>
                <a:gd name="connsiteY6" fmla="*/ 40288 h 167469"/>
                <a:gd name="connsiteX7" fmla="*/ 2381459 w 2381459"/>
                <a:gd name="connsiteY7" fmla="*/ 0 h 167469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81459"/>
                <a:gd name="connsiteY0" fmla="*/ 24785 h 166844"/>
                <a:gd name="connsiteX1" fmla="*/ 291402 w 2381459"/>
                <a:gd name="connsiteY1" fmla="*/ 44882 h 166844"/>
                <a:gd name="connsiteX2" fmla="*/ 572756 w 2381459"/>
                <a:gd name="connsiteY2" fmla="*/ 44882 h 166844"/>
                <a:gd name="connsiteX3" fmla="*/ 813916 w 2381459"/>
                <a:gd name="connsiteY3" fmla="*/ 85076 h 166844"/>
                <a:gd name="connsiteX4" fmla="*/ 1095271 w 2381459"/>
                <a:gd name="connsiteY4" fmla="*/ 115221 h 166844"/>
                <a:gd name="connsiteX5" fmla="*/ 1436914 w 2381459"/>
                <a:gd name="connsiteY5" fmla="*/ 165462 h 166844"/>
                <a:gd name="connsiteX6" fmla="*/ 1818752 w 2381459"/>
                <a:gd name="connsiteY6" fmla="*/ 55363 h 166844"/>
                <a:gd name="connsiteX7" fmla="*/ 2381459 w 2381459"/>
                <a:gd name="connsiteY7" fmla="*/ 0 h 166844"/>
                <a:gd name="connsiteX0" fmla="*/ 0 w 2341266"/>
                <a:gd name="connsiteY0" fmla="*/ 45261 h 166844"/>
                <a:gd name="connsiteX1" fmla="*/ 251209 w 2341266"/>
                <a:gd name="connsiteY1" fmla="*/ 44882 h 166844"/>
                <a:gd name="connsiteX2" fmla="*/ 532563 w 2341266"/>
                <a:gd name="connsiteY2" fmla="*/ 44882 h 166844"/>
                <a:gd name="connsiteX3" fmla="*/ 773723 w 2341266"/>
                <a:gd name="connsiteY3" fmla="*/ 85076 h 166844"/>
                <a:gd name="connsiteX4" fmla="*/ 1055078 w 2341266"/>
                <a:gd name="connsiteY4" fmla="*/ 115221 h 166844"/>
                <a:gd name="connsiteX5" fmla="*/ 1396721 w 2341266"/>
                <a:gd name="connsiteY5" fmla="*/ 165462 h 166844"/>
                <a:gd name="connsiteX6" fmla="*/ 1778559 w 2341266"/>
                <a:gd name="connsiteY6" fmla="*/ 55363 h 166844"/>
                <a:gd name="connsiteX7" fmla="*/ 2341266 w 2341266"/>
                <a:gd name="connsiteY7" fmla="*/ 0 h 166844"/>
                <a:gd name="connsiteX0" fmla="*/ 0 w 2341266"/>
                <a:gd name="connsiteY0" fmla="*/ 45261 h 115899"/>
                <a:gd name="connsiteX1" fmla="*/ 251209 w 2341266"/>
                <a:gd name="connsiteY1" fmla="*/ 44882 h 115899"/>
                <a:gd name="connsiteX2" fmla="*/ 532563 w 2341266"/>
                <a:gd name="connsiteY2" fmla="*/ 44882 h 115899"/>
                <a:gd name="connsiteX3" fmla="*/ 773723 w 2341266"/>
                <a:gd name="connsiteY3" fmla="*/ 85076 h 115899"/>
                <a:gd name="connsiteX4" fmla="*/ 1055078 w 2341266"/>
                <a:gd name="connsiteY4" fmla="*/ 115221 h 115899"/>
                <a:gd name="connsiteX5" fmla="*/ 1778559 w 2341266"/>
                <a:gd name="connsiteY5" fmla="*/ 55363 h 115899"/>
                <a:gd name="connsiteX6" fmla="*/ 2341266 w 2341266"/>
                <a:gd name="connsiteY6" fmla="*/ 0 h 115899"/>
                <a:gd name="connsiteX0" fmla="*/ 0 w 2341266"/>
                <a:gd name="connsiteY0" fmla="*/ 45261 h 85198"/>
                <a:gd name="connsiteX1" fmla="*/ 251209 w 2341266"/>
                <a:gd name="connsiteY1" fmla="*/ 44882 h 85198"/>
                <a:gd name="connsiteX2" fmla="*/ 532563 w 2341266"/>
                <a:gd name="connsiteY2" fmla="*/ 44882 h 85198"/>
                <a:gd name="connsiteX3" fmla="*/ 773723 w 2341266"/>
                <a:gd name="connsiteY3" fmla="*/ 85076 h 85198"/>
                <a:gd name="connsiteX4" fmla="*/ 1778559 w 2341266"/>
                <a:gd name="connsiteY4" fmla="*/ 55363 h 85198"/>
                <a:gd name="connsiteX5" fmla="*/ 2341266 w 2341266"/>
                <a:gd name="connsiteY5" fmla="*/ 0 h 85198"/>
                <a:gd name="connsiteX0" fmla="*/ 0 w 2341266"/>
                <a:gd name="connsiteY0" fmla="*/ 45261 h 65611"/>
                <a:gd name="connsiteX1" fmla="*/ 251209 w 2341266"/>
                <a:gd name="connsiteY1" fmla="*/ 44882 h 65611"/>
                <a:gd name="connsiteX2" fmla="*/ 532563 w 2341266"/>
                <a:gd name="connsiteY2" fmla="*/ 44882 h 65611"/>
                <a:gd name="connsiteX3" fmla="*/ 1115203 w 2341266"/>
                <a:gd name="connsiteY3" fmla="*/ 65611 h 65611"/>
                <a:gd name="connsiteX4" fmla="*/ 1778559 w 2341266"/>
                <a:gd name="connsiteY4" fmla="*/ 55363 h 65611"/>
                <a:gd name="connsiteX5" fmla="*/ 2341266 w 2341266"/>
                <a:gd name="connsiteY5" fmla="*/ 0 h 65611"/>
                <a:gd name="connsiteX0" fmla="*/ 0 w 2341266"/>
                <a:gd name="connsiteY0" fmla="*/ 45261 h 70432"/>
                <a:gd name="connsiteX1" fmla="*/ 251209 w 2341266"/>
                <a:gd name="connsiteY1" fmla="*/ 44882 h 70432"/>
                <a:gd name="connsiteX2" fmla="*/ 604036 w 2341266"/>
                <a:gd name="connsiteY2" fmla="*/ 69213 h 70432"/>
                <a:gd name="connsiteX3" fmla="*/ 1115203 w 2341266"/>
                <a:gd name="connsiteY3" fmla="*/ 65611 h 70432"/>
                <a:gd name="connsiteX4" fmla="*/ 1778559 w 2341266"/>
                <a:gd name="connsiteY4" fmla="*/ 55363 h 70432"/>
                <a:gd name="connsiteX5" fmla="*/ 2341266 w 2341266"/>
                <a:gd name="connsiteY5" fmla="*/ 0 h 70432"/>
                <a:gd name="connsiteX0" fmla="*/ 0 w 2341266"/>
                <a:gd name="connsiteY0" fmla="*/ 45261 h 69213"/>
                <a:gd name="connsiteX1" fmla="*/ 227385 w 2341266"/>
                <a:gd name="connsiteY1" fmla="*/ 59480 h 69213"/>
                <a:gd name="connsiteX2" fmla="*/ 604036 w 2341266"/>
                <a:gd name="connsiteY2" fmla="*/ 69213 h 69213"/>
                <a:gd name="connsiteX3" fmla="*/ 1115203 w 2341266"/>
                <a:gd name="connsiteY3" fmla="*/ 65611 h 69213"/>
                <a:gd name="connsiteX4" fmla="*/ 1778559 w 2341266"/>
                <a:gd name="connsiteY4" fmla="*/ 55363 h 69213"/>
                <a:gd name="connsiteX5" fmla="*/ 2341266 w 2341266"/>
                <a:gd name="connsiteY5" fmla="*/ 0 h 69213"/>
                <a:gd name="connsiteX0" fmla="*/ 0 w 2349207"/>
                <a:gd name="connsiteY0" fmla="*/ 25797 h 49749"/>
                <a:gd name="connsiteX1" fmla="*/ 227385 w 2349207"/>
                <a:gd name="connsiteY1" fmla="*/ 40016 h 49749"/>
                <a:gd name="connsiteX2" fmla="*/ 604036 w 2349207"/>
                <a:gd name="connsiteY2" fmla="*/ 49749 h 49749"/>
                <a:gd name="connsiteX3" fmla="*/ 1115203 w 2349207"/>
                <a:gd name="connsiteY3" fmla="*/ 46147 h 49749"/>
                <a:gd name="connsiteX4" fmla="*/ 1778559 w 2349207"/>
                <a:gd name="connsiteY4" fmla="*/ 35899 h 49749"/>
                <a:gd name="connsiteX5" fmla="*/ 2349207 w 2349207"/>
                <a:gd name="connsiteY5" fmla="*/ 0 h 4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49207" h="49749">
                  <a:moveTo>
                    <a:pt x="0" y="25797"/>
                  </a:moveTo>
                  <a:cubicBezTo>
                    <a:pt x="97971" y="34170"/>
                    <a:pt x="126713" y="36024"/>
                    <a:pt x="227385" y="40016"/>
                  </a:cubicBezTo>
                  <a:cubicBezTo>
                    <a:pt x="328057" y="44008"/>
                    <a:pt x="456066" y="48727"/>
                    <a:pt x="604036" y="49749"/>
                  </a:cubicBezTo>
                  <a:lnTo>
                    <a:pt x="1115203" y="46147"/>
                  </a:lnTo>
                  <a:lnTo>
                    <a:pt x="1778559" y="35899"/>
                  </a:lnTo>
                  <a:cubicBezTo>
                    <a:pt x="1935983" y="8322"/>
                    <a:pt x="2248723" y="62802"/>
                    <a:pt x="2349207" y="0"/>
                  </a:cubicBezTo>
                </a:path>
              </a:pathLst>
            </a:custGeom>
            <a:solidFill>
              <a:schemeClr val="bg1">
                <a:lumMod val="50000"/>
                <a:alpha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 flipV="1">
              <a:off x="2702097" y="5992889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>
            <a:xfrm flipV="1">
              <a:off x="5838641" y="5992889"/>
              <a:ext cx="0" cy="485519"/>
            </a:xfrm>
            <a:prstGeom prst="straightConnector1">
              <a:avLst/>
            </a:prstGeom>
            <a:ln w="158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2696955" y="6049434"/>
              <a:ext cx="3153109" cy="590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 + 5 mm </a:t>
              </a:r>
            </a:p>
            <a:p>
              <a:pPr algn="ctr"/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erence Segment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974790" y="5194159"/>
              <a:ext cx="773969" cy="6565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nt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66607" y="6479579"/>
              <a:ext cx="393028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705585" y="6479577"/>
              <a:ext cx="393028" cy="325787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r>
                <a:rPr lang="en-US" sz="59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96440" y="4527951"/>
              <a:ext cx="596128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66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5429213" y="4074465"/>
              <a:ext cx="656174" cy="810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latin typeface="Arial" panose="020B0604020202020204" pitchFamily="34" charset="0"/>
                  <a:cs typeface="Arial" panose="020B0604020202020204" pitchFamily="34" charset="0"/>
                </a:rPr>
                <a:t>0.95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7805250" y="3851796"/>
              <a:ext cx="645581" cy="90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 err="1"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1.00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548398" y="4165440"/>
              <a:ext cx="624670" cy="4896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88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FR</a:t>
              </a:r>
              <a:endParaRPr lang="en-US" sz="788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788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91</a:t>
              </a:r>
            </a:p>
          </p:txBody>
        </p:sp>
        <p:cxnSp>
          <p:nvCxnSpPr>
            <p:cNvPr id="88" name="Straight Arrow Connector 87"/>
            <p:cNvCxnSpPr/>
            <p:nvPr/>
          </p:nvCxnSpPr>
          <p:spPr>
            <a:xfrm flipV="1">
              <a:off x="3220789" y="4321453"/>
              <a:ext cx="2126730" cy="95773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/>
            <p:cNvCxnSpPr/>
            <p:nvPr/>
          </p:nvCxnSpPr>
          <p:spPr>
            <a:xfrm flipV="1">
              <a:off x="6063651" y="4149705"/>
              <a:ext cx="1784949" cy="14904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/>
            <p:cNvCxnSpPr>
              <a:cxnSpLocks/>
            </p:cNvCxnSpPr>
            <p:nvPr/>
          </p:nvCxnSpPr>
          <p:spPr>
            <a:xfrm flipV="1">
              <a:off x="1420640" y="4431281"/>
              <a:ext cx="1212654" cy="354184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/>
            <p:nvPr/>
          </p:nvCxnSpPr>
          <p:spPr>
            <a:xfrm flipH="1" flipV="1">
              <a:off x="1832777" y="6015196"/>
              <a:ext cx="1244" cy="279703"/>
            </a:xfrm>
            <a:prstGeom prst="straightConnector1">
              <a:avLst/>
            </a:prstGeom>
            <a:ln w="15875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TextBox 102"/>
            <p:cNvSpPr txBox="1"/>
            <p:nvPr/>
          </p:nvSpPr>
          <p:spPr>
            <a:xfrm>
              <a:off x="935955" y="6282893"/>
              <a:ext cx="1823985" cy="362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13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cal Stenosis</a:t>
              </a:r>
            </a:p>
          </p:txBody>
        </p:sp>
      </p:grp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B4398950-F706-4647-B8F9-5450A9605CB7}"/>
              </a:ext>
            </a:extLst>
          </p:cNvPr>
          <p:cNvGraphicFramePr/>
          <p:nvPr>
            <p:extLst/>
          </p:nvPr>
        </p:nvGraphicFramePr>
        <p:xfrm>
          <a:off x="6138351" y="825917"/>
          <a:ext cx="3062000" cy="3018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4" name="TextBox 63">
            <a:extLst>
              <a:ext uri="{FF2B5EF4-FFF2-40B4-BE49-F238E27FC236}">
                <a16:creationId xmlns:a16="http://schemas.microsoft.com/office/drawing/2014/main" id="{4659E362-EB23-4C78-A889-0D739E840C6B}"/>
              </a:ext>
            </a:extLst>
          </p:cNvPr>
          <p:cNvSpPr txBox="1"/>
          <p:nvPr/>
        </p:nvSpPr>
        <p:spPr>
          <a:xfrm>
            <a:off x="1588839" y="256690"/>
            <a:ext cx="6229421" cy="4214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475" b="1" dirty="0">
                <a:solidFill>
                  <a:srgbClr val="002060"/>
                </a:solidFill>
                <a:sym typeface="Helvetica Light"/>
              </a:rPr>
              <a:t>Focal Residual Pressure Gradient Distal to sten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4623DB5-F3F7-4AF4-98C2-1960C77199AA}"/>
              </a:ext>
            </a:extLst>
          </p:cNvPr>
          <p:cNvSpPr/>
          <p:nvPr/>
        </p:nvSpPr>
        <p:spPr>
          <a:xfrm>
            <a:off x="1613837" y="581791"/>
            <a:ext cx="58126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‘Physiologic </a:t>
            </a:r>
            <a:r>
              <a:rPr lang="en-US" sz="1500" dirty="0" err="1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miss’</a:t>
            </a:r>
            <a:r>
              <a:rPr lang="en-US" sz="1500" dirty="0">
                <a:solidFill>
                  <a:srgbClr val="0B1B39"/>
                </a:solidFill>
                <a:latin typeface="+mj-lt"/>
                <a:ea typeface="Times New Roman" panose="02020603050405020304" pitchFamily="18" charset="0"/>
              </a:rPr>
              <a:t> occurred in 30.1% of focal lesions distally</a:t>
            </a:r>
            <a:endParaRPr lang="en-US" sz="1500" dirty="0">
              <a:solidFill>
                <a:srgbClr val="0B1B39"/>
              </a:solidFill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78A9ACC-67B3-49E5-B006-58A231F7B018}"/>
              </a:ext>
            </a:extLst>
          </p:cNvPr>
          <p:cNvSpPr txBox="1"/>
          <p:nvPr/>
        </p:nvSpPr>
        <p:spPr>
          <a:xfrm>
            <a:off x="1071753" y="1305071"/>
            <a:ext cx="7000492" cy="206210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If all residual focal lesions could be treated with additional PCI, the rate of significant ischemia could be theoretically reduced from 24% to 5%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868DB73B-308B-49C7-A3B4-8F5ECAB84E9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5907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93AB52A-FDD8-4E35-8586-6657CA7B4E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259473"/>
              </p:ext>
            </p:extLst>
          </p:nvPr>
        </p:nvGraphicFramePr>
        <p:xfrm>
          <a:off x="2250280" y="1232807"/>
          <a:ext cx="4643440" cy="868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0860">
                  <a:extLst>
                    <a:ext uri="{9D8B030D-6E8A-4147-A177-3AD203B41FA5}">
                      <a16:colId xmlns:a16="http://schemas.microsoft.com/office/drawing/2014/main" val="3669588383"/>
                    </a:ext>
                  </a:extLst>
                </a:gridCol>
                <a:gridCol w="1160860">
                  <a:extLst>
                    <a:ext uri="{9D8B030D-6E8A-4147-A177-3AD203B41FA5}">
                      <a16:colId xmlns:a16="http://schemas.microsoft.com/office/drawing/2014/main" val="626860428"/>
                    </a:ext>
                  </a:extLst>
                </a:gridCol>
                <a:gridCol w="1160860">
                  <a:extLst>
                    <a:ext uri="{9D8B030D-6E8A-4147-A177-3AD203B41FA5}">
                      <a16:colId xmlns:a16="http://schemas.microsoft.com/office/drawing/2014/main" val="3336734204"/>
                    </a:ext>
                  </a:extLst>
                </a:gridCol>
                <a:gridCol w="1160860">
                  <a:extLst>
                    <a:ext uri="{9D8B030D-6E8A-4147-A177-3AD203B41FA5}">
                      <a16:colId xmlns:a16="http://schemas.microsoft.com/office/drawing/2014/main" val="500317342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Residual DS ≥50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sidual DS &lt;50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-Valu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10907115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600" b="1" dirty="0" err="1">
                          <a:solidFill>
                            <a:srgbClr val="002060"/>
                          </a:solidFill>
                        </a:rPr>
                        <a:t>iFR</a:t>
                      </a:r>
                      <a:r>
                        <a:rPr lang="en-US" sz="1600" b="1" dirty="0">
                          <a:solidFill>
                            <a:srgbClr val="002060"/>
                          </a:solidFill>
                        </a:rPr>
                        <a:t> ≤0.8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9.7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1.4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24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53387862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860D6F3-CEEF-4D13-B1A6-983C23FE60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41128"/>
              </p:ext>
            </p:extLst>
          </p:nvPr>
        </p:nvGraphicFramePr>
        <p:xfrm>
          <a:off x="1371600" y="2768390"/>
          <a:ext cx="6400800" cy="149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3373201333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2398501744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1618378203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3834168394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5% C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-valu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10100887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0B1B39"/>
                          </a:solidFill>
                        </a:rPr>
                        <a:t>Reference Vessel Diamet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3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18-0.5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000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1749656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0B1B39"/>
                          </a:solidFill>
                        </a:rPr>
                        <a:t>LAD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.6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.07-10.4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&lt;0.000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14207868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0B1B39"/>
                          </a:solidFill>
                        </a:rPr>
                        <a:t>Post-PCI D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.0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.00-1.0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.0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80929672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E1216FB-5136-4F4E-98C8-A5C25F7EEE65}"/>
              </a:ext>
            </a:extLst>
          </p:cNvPr>
          <p:cNvSpPr/>
          <p:nvPr/>
        </p:nvSpPr>
        <p:spPr>
          <a:xfrm>
            <a:off x="1371600" y="333154"/>
            <a:ext cx="6400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  <a:ea typeface="Times New Roman" panose="02020603050405020304" pitchFamily="18" charset="0"/>
              </a:rPr>
              <a:t>Angiographic diameter stenosis correlates poorly with post PCI </a:t>
            </a:r>
            <a:r>
              <a:rPr lang="en-US" sz="2400" b="1" dirty="0" err="1">
                <a:solidFill>
                  <a:srgbClr val="002060"/>
                </a:solidFill>
                <a:ea typeface="Times New Roman" panose="02020603050405020304" pitchFamily="18" charset="0"/>
              </a:rPr>
              <a:t>iFR</a:t>
            </a:r>
            <a:endParaRPr lang="en-US" sz="2400" b="1" dirty="0">
              <a:solidFill>
                <a:srgbClr val="002060"/>
              </a:solidFill>
            </a:endParaRPr>
          </a:p>
          <a:p>
            <a:pPr algn="ctr"/>
            <a:endParaRPr lang="en-US" sz="24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FD60BF8-5BFF-49FE-AAC6-B00A379F4327}"/>
              </a:ext>
            </a:extLst>
          </p:cNvPr>
          <p:cNvSpPr txBox="1"/>
          <p:nvPr/>
        </p:nvSpPr>
        <p:spPr>
          <a:xfrm>
            <a:off x="1853467" y="2387084"/>
            <a:ext cx="54370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Predictors of post-PCI iFR≤0.89 by multi-variate analysi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051FBD-F09F-4F7D-8B5E-1EEDB97B36B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896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857250" y="1028700"/>
            <a:ext cx="7315200" cy="2343150"/>
          </a:xfrm>
        </p:spPr>
        <p:txBody>
          <a:bodyPr/>
          <a:lstStyle/>
          <a:p>
            <a:pPr>
              <a:spcBef>
                <a:spcPts val="675"/>
              </a:spcBef>
              <a:buFont typeface="+mj-lt"/>
              <a:buAutoNum type="arabicPeriod"/>
            </a:pPr>
            <a:r>
              <a:rPr lang="en-US" sz="1950" dirty="0">
                <a:latin typeface="+mj-lt"/>
              </a:rPr>
              <a:t>Intravascular imaging was not routinely performed, and thus the specific stent-related and untreated lesion-related characteristics that contributed to the decrement in pressure gradient are unknown</a:t>
            </a:r>
          </a:p>
          <a:p>
            <a:pPr>
              <a:spcBef>
                <a:spcPts val="675"/>
              </a:spcBef>
              <a:buFont typeface="+mj-lt"/>
              <a:buAutoNum type="arabicPeriod"/>
            </a:pPr>
            <a:r>
              <a:rPr lang="en-US" sz="1950" dirty="0">
                <a:latin typeface="+mj-lt"/>
              </a:rPr>
              <a:t>Given the specific enrollment criteria, the actual proportion of “real-world” cases in which post-PCI physiology could be further optimized with additional PCI remains speculative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1257300" y="84343"/>
            <a:ext cx="6172200" cy="85725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+mj-lt"/>
              </a:rPr>
              <a:t>Limit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8C1E7D-8E36-4F23-9257-05951DB0B23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0747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857250" y="1085850"/>
            <a:ext cx="7862207" cy="2343150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US" sz="2200" dirty="0">
                <a:latin typeface="+mj-lt"/>
              </a:rPr>
              <a:t>Significant epicardial residual ischemia after angiographically successful PCI is not uncommon, occurring in nearly 25% of patients in the present study</a:t>
            </a:r>
          </a:p>
          <a:p>
            <a:pPr>
              <a:buFont typeface="+mj-lt"/>
              <a:buAutoNum type="arabicPeriod"/>
            </a:pPr>
            <a:endParaRPr lang="en-US" sz="800" dirty="0">
              <a:latin typeface="+mj-lt"/>
            </a:endParaRPr>
          </a:p>
          <a:p>
            <a:pPr>
              <a:buFont typeface="+mj-lt"/>
              <a:buAutoNum type="arabicPeriod"/>
            </a:pPr>
            <a:r>
              <a:rPr lang="en-US" sz="2200" dirty="0">
                <a:latin typeface="+mj-lt"/>
              </a:rPr>
              <a:t>Post-PCI angiography poorly correlated with physiologic measures</a:t>
            </a:r>
          </a:p>
          <a:p>
            <a:pPr>
              <a:buFont typeface="+mj-lt"/>
              <a:buAutoNum type="arabicPeriod"/>
            </a:pPr>
            <a:endParaRPr lang="en-US" sz="800" dirty="0">
              <a:latin typeface="+mj-lt"/>
            </a:endParaRPr>
          </a:p>
          <a:p>
            <a:pPr>
              <a:buFont typeface="+mj-lt"/>
              <a:buAutoNum type="arabicPeriod"/>
            </a:pPr>
            <a:r>
              <a:rPr lang="en-US" sz="2200" dirty="0">
                <a:latin typeface="+mj-lt"/>
              </a:rPr>
              <a:t>In a large majority of cases residual pressure gradients were focal and thus potentially amenable to treatment with additional PCI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1485900" y="171450"/>
            <a:ext cx="6172200" cy="85725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+mj-lt"/>
              </a:rPr>
              <a:t>Conclu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EB46E0-5984-41A1-A5C2-1C2C761BA06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2344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1CBD9BC-5A2B-4A2E-807E-533CE9FA449F}"/>
              </a:ext>
            </a:extLst>
          </p:cNvPr>
          <p:cNvCxnSpPr>
            <a:cxnSpLocks/>
          </p:cNvCxnSpPr>
          <p:nvPr/>
        </p:nvCxnSpPr>
        <p:spPr>
          <a:xfrm flipH="1">
            <a:off x="4428066" y="956733"/>
            <a:ext cx="4234" cy="61806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CE062B0-9D28-4C7F-AA94-89ECF15358D9}"/>
              </a:ext>
            </a:extLst>
          </p:cNvPr>
          <p:cNvSpPr/>
          <p:nvPr/>
        </p:nvSpPr>
        <p:spPr>
          <a:xfrm>
            <a:off x="1337735" y="300566"/>
            <a:ext cx="6121400" cy="905934"/>
          </a:xfrm>
          <a:prstGeom prst="roundRect">
            <a:avLst/>
          </a:prstGeom>
          <a:solidFill>
            <a:srgbClr val="002060"/>
          </a:solidFill>
          <a:ln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FINE GPS (Guided Physiologic Stenting)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E18824-F067-41A6-9332-8200173B8083}"/>
              </a:ext>
            </a:extLst>
          </p:cNvPr>
          <p:cNvCxnSpPr>
            <a:cxnSpLocks/>
          </p:cNvCxnSpPr>
          <p:nvPr/>
        </p:nvCxnSpPr>
        <p:spPr>
          <a:xfrm>
            <a:off x="2607729" y="1568450"/>
            <a:ext cx="3649137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52E732-E3D4-41A0-B6D9-836956917BBF}"/>
              </a:ext>
            </a:extLst>
          </p:cNvPr>
          <p:cNvCxnSpPr>
            <a:cxnSpLocks/>
          </p:cNvCxnSpPr>
          <p:nvPr/>
        </p:nvCxnSpPr>
        <p:spPr>
          <a:xfrm>
            <a:off x="6244167" y="1566333"/>
            <a:ext cx="0" cy="2438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4D7903F-D2B1-48CB-9BEB-BDB4A54323BE}"/>
              </a:ext>
            </a:extLst>
          </p:cNvPr>
          <p:cNvCxnSpPr>
            <a:cxnSpLocks/>
          </p:cNvCxnSpPr>
          <p:nvPr/>
        </p:nvCxnSpPr>
        <p:spPr>
          <a:xfrm>
            <a:off x="2611966" y="1557866"/>
            <a:ext cx="0" cy="2438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7110AA3-A958-4E20-AF6F-4A5AE034400C}"/>
              </a:ext>
            </a:extLst>
          </p:cNvPr>
          <p:cNvSpPr/>
          <p:nvPr/>
        </p:nvSpPr>
        <p:spPr>
          <a:xfrm>
            <a:off x="1502832" y="1915583"/>
            <a:ext cx="2235191" cy="685771"/>
          </a:xfrm>
          <a:prstGeom prst="roundRect">
            <a:avLst/>
          </a:prstGeom>
          <a:solidFill>
            <a:srgbClr val="3276C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016BA52-0F8F-4C30-ABCA-B1FC3109A87F}"/>
              </a:ext>
            </a:extLst>
          </p:cNvPr>
          <p:cNvSpPr/>
          <p:nvPr/>
        </p:nvSpPr>
        <p:spPr>
          <a:xfrm>
            <a:off x="1502832" y="2766483"/>
            <a:ext cx="2235191" cy="685771"/>
          </a:xfrm>
          <a:prstGeom prst="roundRect">
            <a:avLst/>
          </a:prstGeom>
          <a:solidFill>
            <a:srgbClr val="3276C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C8BDE8A-52C6-4676-B779-4001D74FB2BE}"/>
              </a:ext>
            </a:extLst>
          </p:cNvPr>
          <p:cNvSpPr/>
          <p:nvPr/>
        </p:nvSpPr>
        <p:spPr>
          <a:xfrm>
            <a:off x="1502832" y="3597317"/>
            <a:ext cx="2235191" cy="685771"/>
          </a:xfrm>
          <a:prstGeom prst="roundRect">
            <a:avLst/>
          </a:prstGeom>
          <a:solidFill>
            <a:srgbClr val="3276C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A0898294-6728-4339-8C6F-0BA06F3FBBCF}"/>
              </a:ext>
            </a:extLst>
          </p:cNvPr>
          <p:cNvSpPr/>
          <p:nvPr/>
        </p:nvSpPr>
        <p:spPr>
          <a:xfrm>
            <a:off x="5137151" y="3597317"/>
            <a:ext cx="2235191" cy="78641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7683AEE-2B10-4D31-BDA3-E68B14719502}"/>
              </a:ext>
            </a:extLst>
          </p:cNvPr>
          <p:cNvSpPr/>
          <p:nvPr/>
        </p:nvSpPr>
        <p:spPr>
          <a:xfrm>
            <a:off x="5137151" y="2766483"/>
            <a:ext cx="2235191" cy="68577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8B23817-B634-4A0F-B783-B7FD731AE1C2}"/>
              </a:ext>
            </a:extLst>
          </p:cNvPr>
          <p:cNvSpPr/>
          <p:nvPr/>
        </p:nvSpPr>
        <p:spPr>
          <a:xfrm>
            <a:off x="5137151" y="1915583"/>
            <a:ext cx="2235191" cy="68577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09CA7F-616E-4D8F-BC45-03541DDD60F6}"/>
              </a:ext>
            </a:extLst>
          </p:cNvPr>
          <p:cNvSpPr/>
          <p:nvPr/>
        </p:nvSpPr>
        <p:spPr>
          <a:xfrm>
            <a:off x="1509181" y="2081221"/>
            <a:ext cx="223519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uided Therap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B615AA-5024-4A70-BCD3-56F9A671110F}"/>
              </a:ext>
            </a:extLst>
          </p:cNvPr>
          <p:cNvSpPr/>
          <p:nvPr/>
        </p:nvSpPr>
        <p:spPr>
          <a:xfrm>
            <a:off x="1490133" y="2868292"/>
            <a:ext cx="223519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R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llback with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Vision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F47C6A8-96E0-4AAA-BCA2-2E14CA333C12}"/>
              </a:ext>
            </a:extLst>
          </p:cNvPr>
          <p:cNvSpPr/>
          <p:nvPr/>
        </p:nvSpPr>
        <p:spPr>
          <a:xfrm>
            <a:off x="1507059" y="3689228"/>
            <a:ext cx="223519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CI based on </a:t>
            </a:r>
            <a:r>
              <a:rPr lang="en-US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Vision</a:t>
            </a:r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D2EADD-D718-491A-8368-F9FA70752DE6}"/>
              </a:ext>
            </a:extLst>
          </p:cNvPr>
          <p:cNvSpPr/>
          <p:nvPr/>
        </p:nvSpPr>
        <p:spPr>
          <a:xfrm>
            <a:off x="5156205" y="2090016"/>
            <a:ext cx="223519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of Ca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34E6CF2-8CDC-421C-A3E2-AB81BAA255F9}"/>
              </a:ext>
            </a:extLst>
          </p:cNvPr>
          <p:cNvSpPr/>
          <p:nvPr/>
        </p:nvSpPr>
        <p:spPr>
          <a:xfrm>
            <a:off x="5128698" y="2854072"/>
            <a:ext cx="223519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iographically Guided PCI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F594235-94E1-4DC8-B71C-47A38E046F67}"/>
              </a:ext>
            </a:extLst>
          </p:cNvPr>
          <p:cNvSpPr/>
          <p:nvPr/>
        </p:nvSpPr>
        <p:spPr>
          <a:xfrm>
            <a:off x="5128698" y="3598901"/>
            <a:ext cx="230079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Physiology &amp;  Intravascular Imaging Optional </a:t>
            </a:r>
          </a:p>
        </p:txBody>
      </p:sp>
    </p:spTree>
    <p:extLst>
      <p:ext uri="{BB962C8B-B14F-4D97-AF65-F5344CB8AC3E}">
        <p14:creationId xmlns:p14="http://schemas.microsoft.com/office/powerpoint/2010/main" val="1678449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ChangeArrowheads="1"/>
          </p:cNvSpPr>
          <p:nvPr/>
        </p:nvSpPr>
        <p:spPr bwMode="auto">
          <a:xfrm>
            <a:off x="3167598" y="2378825"/>
            <a:ext cx="18473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Palatino Linotype" panose="02040502050505030304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648F64-376A-409C-AEB3-DEC75E91D8C0}"/>
              </a:ext>
            </a:extLst>
          </p:cNvPr>
          <p:cNvSpPr txBox="1"/>
          <p:nvPr/>
        </p:nvSpPr>
        <p:spPr>
          <a:xfrm>
            <a:off x="2686050" y="98385"/>
            <a:ext cx="3406823" cy="4714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800" b="1" dirty="0">
                <a:solidFill>
                  <a:srgbClr val="002060"/>
                </a:solidFill>
                <a:sym typeface="Helvetica Light"/>
              </a:rPr>
              <a:t>Background (I)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1417666" y="1431981"/>
            <a:ext cx="6172200" cy="2182118"/>
            <a:chOff x="363582" y="1770056"/>
            <a:chExt cx="8229600" cy="2909490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363582" y="4613302"/>
              <a:ext cx="822960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31"/>
            <p:cNvSpPr/>
            <p:nvPr/>
          </p:nvSpPr>
          <p:spPr>
            <a:xfrm>
              <a:off x="668382" y="1770056"/>
              <a:ext cx="457200" cy="283464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683921" y="2437568"/>
              <a:ext cx="457200" cy="216712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697662" y="2355272"/>
              <a:ext cx="457200" cy="224942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723317" y="2272976"/>
              <a:ext cx="457200" cy="233172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743514" y="2849048"/>
              <a:ext cx="457200" cy="175564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6760247" y="2766752"/>
              <a:ext cx="457200" cy="183794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7776547" y="3031928"/>
              <a:ext cx="457200" cy="157276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710117" y="2355272"/>
              <a:ext cx="457200" cy="224942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40" name="Straight Connector 39"/>
            <p:cNvCxnSpPr/>
            <p:nvPr/>
          </p:nvCxnSpPr>
          <p:spPr>
            <a:xfrm>
              <a:off x="2414334" y="4613302"/>
              <a:ext cx="0" cy="51004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2414938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3432629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7496632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4446252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5460997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1401231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6477000" y="4628542"/>
              <a:ext cx="0" cy="5100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/>
          <p:cNvSpPr txBox="1"/>
          <p:nvPr/>
        </p:nvSpPr>
        <p:spPr>
          <a:xfrm>
            <a:off x="1598785" y="1148527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34%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126181" y="1593894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7%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364505" y="1647811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6%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935624" y="2098159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19%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410109" y="1963486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1%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182641" y="1901764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2%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884286" y="1587439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7%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648105" y="1532172"/>
            <a:ext cx="4876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chemeClr val="accent2">
                    <a:lumMod val="75000"/>
                  </a:schemeClr>
                </a:solidFill>
              </a:rPr>
              <a:t>28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90415" y="3530786"/>
            <a:ext cx="6996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urage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BM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155327" y="3530786"/>
            <a:ext cx="8524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10 MVD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RCTs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BMS/PTCA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974614" y="3530786"/>
            <a:ext cx="7312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SPIRIT IV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PE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738774" y="3530786"/>
            <a:ext cx="7312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SPIRIT IV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EE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527537" y="3530786"/>
            <a:ext cx="6616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SYNTAX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PE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218693" y="3530786"/>
            <a:ext cx="8178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FREEDOM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SES/PE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094356" y="3530786"/>
            <a:ext cx="6168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FAME I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DE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755319" y="3530786"/>
            <a:ext cx="7955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FAME I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DES + FF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302190" y="3987055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NEJM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2007;365:1503-16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092699" y="4171178"/>
            <a:ext cx="973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LANCET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2009;373:1190-7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291288" y="4171178"/>
            <a:ext cx="856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SPIRIT IV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UNPUBLISHED</a:t>
            </a:r>
          </a:p>
        </p:txBody>
      </p:sp>
      <p:sp>
        <p:nvSpPr>
          <p:cNvPr id="19" name="Right Brace 18"/>
          <p:cNvSpPr/>
          <p:nvPr/>
        </p:nvSpPr>
        <p:spPr>
          <a:xfrm rot="5400000">
            <a:off x="3589479" y="3634125"/>
            <a:ext cx="259943" cy="814166"/>
          </a:xfrm>
          <a:prstGeom prst="rightBrace">
            <a:avLst>
              <a:gd name="adj1" fmla="val 26561"/>
              <a:gd name="adj2" fmla="val 50000"/>
            </a:avLst>
          </a:prstGeom>
          <a:ln w="127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5" name="Right Brace 64"/>
          <p:cNvSpPr/>
          <p:nvPr/>
        </p:nvSpPr>
        <p:spPr>
          <a:xfrm rot="5400000">
            <a:off x="6691315" y="3634125"/>
            <a:ext cx="259943" cy="814166"/>
          </a:xfrm>
          <a:prstGeom prst="rightBrace">
            <a:avLst>
              <a:gd name="adj1" fmla="val 26561"/>
              <a:gd name="adj2" fmla="val 50000"/>
            </a:avLst>
          </a:prstGeom>
          <a:ln w="12700">
            <a:solidFill>
              <a:srgbClr val="0096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7" name="TextBox 66"/>
          <p:cNvSpPr txBox="1"/>
          <p:nvPr/>
        </p:nvSpPr>
        <p:spPr>
          <a:xfrm>
            <a:off x="4323857" y="3992338"/>
            <a:ext cx="1088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NEJM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20011;364:1016-26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085862" y="4165462"/>
            <a:ext cx="1088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JAMA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20013;310:1581-90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334300" y="4159007"/>
            <a:ext cx="973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dirty="0">
                <a:solidFill>
                  <a:srgbClr val="009644"/>
                </a:solidFill>
              </a:rPr>
              <a:t>NEJM</a:t>
            </a:r>
          </a:p>
          <a:p>
            <a:pPr algn="ctr"/>
            <a:r>
              <a:rPr lang="en-US" sz="900" dirty="0">
                <a:solidFill>
                  <a:srgbClr val="009644"/>
                </a:solidFill>
              </a:rPr>
              <a:t>2009;360:213-24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466542" y="618061"/>
            <a:ext cx="37160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dirty="0">
                <a:solidFill>
                  <a:srgbClr val="0B2965"/>
                </a:solidFill>
              </a:rPr>
              <a:t>Recurrent Angina at 1 Year After PCI remains between 20-30%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722991" y="4792713"/>
            <a:ext cx="17796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Courtesy of Dr. Gregg Stone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70CF34BE-3DD6-41B6-BD74-F4C70AAB108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714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69648F64-376A-409C-AEB3-DEC75E91D8C0}"/>
              </a:ext>
            </a:extLst>
          </p:cNvPr>
          <p:cNvSpPr txBox="1"/>
          <p:nvPr/>
        </p:nvSpPr>
        <p:spPr>
          <a:xfrm>
            <a:off x="2563590" y="72984"/>
            <a:ext cx="3406823" cy="4714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800" b="1" dirty="0">
                <a:solidFill>
                  <a:srgbClr val="002060"/>
                </a:solidFill>
                <a:sym typeface="Helvetica Light"/>
              </a:rPr>
              <a:t>Background (II)</a:t>
            </a:r>
          </a:p>
        </p:txBody>
      </p:sp>
      <p:sp>
        <p:nvSpPr>
          <p:cNvPr id="7" name="Rectangle 6"/>
          <p:cNvSpPr/>
          <p:nvPr/>
        </p:nvSpPr>
        <p:spPr>
          <a:xfrm>
            <a:off x="1363440" y="680061"/>
            <a:ext cx="6172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2060"/>
                </a:solidFill>
                <a:latin typeface="+mj-lt"/>
              </a:rPr>
              <a:t>Post PCI ischemia based on FFR ≤0.80 occurs in 10-20% of cas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7B2F27-D948-4FA6-B455-EBDAEEB7CECD}"/>
              </a:ext>
            </a:extLst>
          </p:cNvPr>
          <p:cNvSpPr txBox="1"/>
          <p:nvPr/>
        </p:nvSpPr>
        <p:spPr>
          <a:xfrm>
            <a:off x="3241760" y="4687269"/>
            <a:ext cx="28511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Lee JM., et al. </a:t>
            </a:r>
            <a:r>
              <a:rPr lang="en-US" sz="900" i="1" dirty="0">
                <a:solidFill>
                  <a:schemeClr val="bg1"/>
                </a:solidFill>
              </a:rPr>
              <a:t>J Am Coll </a:t>
            </a:r>
            <a:r>
              <a:rPr lang="en-US" sz="900" i="1" dirty="0" err="1">
                <a:solidFill>
                  <a:schemeClr val="bg1"/>
                </a:solidFill>
              </a:rPr>
              <a:t>Cardiol</a:t>
            </a:r>
            <a:r>
              <a:rPr lang="en-US" sz="900" i="1" dirty="0">
                <a:solidFill>
                  <a:schemeClr val="bg1"/>
                </a:solidFill>
              </a:rPr>
              <a:t> </a:t>
            </a:r>
            <a:r>
              <a:rPr lang="en-US" sz="900" i="1" dirty="0" err="1">
                <a:solidFill>
                  <a:schemeClr val="bg1"/>
                </a:solidFill>
              </a:rPr>
              <a:t>Intv</a:t>
            </a:r>
            <a:r>
              <a:rPr lang="en-US" sz="900" dirty="0">
                <a:solidFill>
                  <a:schemeClr val="bg1"/>
                </a:solidFill>
              </a:rPr>
              <a:t>. 2018;11:2099–109.  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</a:rPr>
              <a:t>Agarwal SK, et al. J Am Coll </a:t>
            </a:r>
            <a:r>
              <a:rPr lang="en-US" sz="900" dirty="0" err="1">
                <a:solidFill>
                  <a:schemeClr val="bg1"/>
                </a:solidFill>
              </a:rPr>
              <a:t>Cardiol</a:t>
            </a:r>
            <a:r>
              <a:rPr lang="en-US" sz="900" dirty="0">
                <a:solidFill>
                  <a:schemeClr val="bg1"/>
                </a:solidFill>
              </a:rPr>
              <a:t> 2016;9:1022-31.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4A7B51A-0B83-4838-AD6E-5D3A8340E7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7" t="8417"/>
          <a:stretch/>
        </p:blipFill>
        <p:spPr>
          <a:xfrm>
            <a:off x="1244205" y="1229619"/>
            <a:ext cx="3100674" cy="322838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2C1851-095E-427A-921F-A4CD6615DF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9540" y="1224644"/>
            <a:ext cx="3205335" cy="323335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092C3EB-124B-4F9C-ACAC-A02A75D14741}"/>
              </a:ext>
            </a:extLst>
          </p:cNvPr>
          <p:cNvSpPr/>
          <p:nvPr/>
        </p:nvSpPr>
        <p:spPr>
          <a:xfrm>
            <a:off x="1992090" y="3167744"/>
            <a:ext cx="971550" cy="971550"/>
          </a:xfrm>
          <a:prstGeom prst="rect">
            <a:avLst/>
          </a:prstGeom>
          <a:solidFill>
            <a:srgbClr val="FFC000">
              <a:alpha val="22000"/>
            </a:srgbClr>
          </a:solidFill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612B1EE-966E-469F-8C7C-B8B65CA1F356}"/>
              </a:ext>
            </a:extLst>
          </p:cNvPr>
          <p:cNvSpPr/>
          <p:nvPr/>
        </p:nvSpPr>
        <p:spPr>
          <a:xfrm>
            <a:off x="4792440" y="3110594"/>
            <a:ext cx="1028700" cy="1085850"/>
          </a:xfrm>
          <a:prstGeom prst="rect">
            <a:avLst/>
          </a:prstGeom>
          <a:solidFill>
            <a:srgbClr val="FFC000">
              <a:alpha val="22000"/>
            </a:srgbClr>
          </a:solidFill>
          <a:ln w="444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B1531F9-D9FB-46F3-939F-B8A09D4C044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8695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/>
          <a:srcRect l="10962" t="10925" r="26683" b="5082"/>
          <a:stretch/>
        </p:blipFill>
        <p:spPr>
          <a:xfrm>
            <a:off x="919573" y="1310485"/>
            <a:ext cx="3652427" cy="2767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3224917" y="4797251"/>
            <a:ext cx="2874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err="1">
                <a:solidFill>
                  <a:schemeClr val="bg1"/>
                </a:solidFill>
              </a:rPr>
              <a:t>Pijls</a:t>
            </a:r>
            <a:r>
              <a:rPr lang="en-US" sz="900" dirty="0">
                <a:solidFill>
                  <a:schemeClr val="bg1"/>
                </a:solidFill>
              </a:rPr>
              <a:t> N., et al. </a:t>
            </a:r>
            <a:r>
              <a:rPr lang="en-US" sz="900" i="1" dirty="0">
                <a:solidFill>
                  <a:schemeClr val="bg1"/>
                </a:solidFill>
              </a:rPr>
              <a:t>Circulation</a:t>
            </a:r>
            <a:r>
              <a:rPr lang="en-US" sz="900" dirty="0">
                <a:solidFill>
                  <a:schemeClr val="bg1"/>
                </a:solidFill>
              </a:rPr>
              <a:t>. 2002;105:2950-54. 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</a:rPr>
              <a:t>Lee JM., et al. </a:t>
            </a:r>
            <a:r>
              <a:rPr lang="en-US" sz="900" i="1" dirty="0">
                <a:solidFill>
                  <a:schemeClr val="bg1"/>
                </a:solidFill>
              </a:rPr>
              <a:t>J Am Coll </a:t>
            </a:r>
            <a:r>
              <a:rPr lang="en-US" sz="900" i="1" dirty="0" err="1">
                <a:solidFill>
                  <a:schemeClr val="bg1"/>
                </a:solidFill>
              </a:rPr>
              <a:t>Cardiol</a:t>
            </a:r>
            <a:r>
              <a:rPr lang="en-US" sz="900" i="1" dirty="0">
                <a:solidFill>
                  <a:schemeClr val="bg1"/>
                </a:solidFill>
              </a:rPr>
              <a:t> </a:t>
            </a:r>
            <a:r>
              <a:rPr lang="en-US" sz="900" i="1" dirty="0" err="1">
                <a:solidFill>
                  <a:schemeClr val="bg1"/>
                </a:solidFill>
              </a:rPr>
              <a:t>Intv</a:t>
            </a:r>
            <a:r>
              <a:rPr lang="en-US" sz="900" dirty="0">
                <a:solidFill>
                  <a:schemeClr val="bg1"/>
                </a:solidFill>
              </a:rPr>
              <a:t>. 2018;11:2099–109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648F64-376A-409C-AEB3-DEC75E91D8C0}"/>
              </a:ext>
            </a:extLst>
          </p:cNvPr>
          <p:cNvSpPr txBox="1"/>
          <p:nvPr/>
        </p:nvSpPr>
        <p:spPr>
          <a:xfrm>
            <a:off x="2686050" y="158183"/>
            <a:ext cx="3406823" cy="4329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092" tIns="20092" rIns="20092" bIns="20092" numCol="1" spcCol="38100" rtlCol="0" anchor="ctr">
            <a:spAutoFit/>
          </a:bodyPr>
          <a:lstStyle/>
          <a:p>
            <a:pPr algn="ctr" defTabSz="231056" hangingPunct="0"/>
            <a:r>
              <a:rPr lang="en-US" sz="2550" b="1" dirty="0">
                <a:solidFill>
                  <a:srgbClr val="002060"/>
                </a:solidFill>
                <a:sym typeface="Helvetica Light"/>
              </a:rPr>
              <a:t>Background (III)</a:t>
            </a:r>
          </a:p>
        </p:txBody>
      </p:sp>
      <p:sp>
        <p:nvSpPr>
          <p:cNvPr id="9" name="Rectangle 8"/>
          <p:cNvSpPr/>
          <p:nvPr/>
        </p:nvSpPr>
        <p:spPr>
          <a:xfrm>
            <a:off x="1885951" y="653229"/>
            <a:ext cx="531494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100" dirty="0">
                <a:solidFill>
                  <a:srgbClr val="002060"/>
                </a:solidFill>
                <a:latin typeface="+mj-lt"/>
              </a:rPr>
              <a:t>Low post-PCI FFR is related to adverse event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24684" t="21834" r="45850" b="24874"/>
          <a:stretch/>
        </p:blipFill>
        <p:spPr>
          <a:xfrm>
            <a:off x="4861147" y="1196744"/>
            <a:ext cx="2944457" cy="2995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994EFD5-5346-4E1B-9E86-D50D9F7BCB5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727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43074" y="102394"/>
            <a:ext cx="5291287" cy="445771"/>
          </a:xfrm>
        </p:spPr>
        <p:txBody>
          <a:bodyPr>
            <a:noAutofit/>
          </a:bodyPr>
          <a:lstStyle/>
          <a:p>
            <a:pPr algn="ctr"/>
            <a:r>
              <a:rPr lang="en-US" sz="3000" dirty="0">
                <a:solidFill>
                  <a:srgbClr val="002060"/>
                </a:solidFill>
                <a:latin typeface="+mj-lt"/>
              </a:rPr>
              <a:t>Study Objectiv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2EFF16-089C-48F0-A212-4C603175607B}"/>
              </a:ext>
            </a:extLst>
          </p:cNvPr>
          <p:cNvSpPr/>
          <p:nvPr/>
        </p:nvSpPr>
        <p:spPr>
          <a:xfrm>
            <a:off x="1657350" y="2220685"/>
            <a:ext cx="5657850" cy="7886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i="1" dirty="0">
                <a:solidFill>
                  <a:srgbClr val="002060"/>
                </a:solidFill>
              </a:rPr>
              <a:t>Why are the post PCI values ≤0.89?</a:t>
            </a:r>
          </a:p>
          <a:p>
            <a:pPr algn="ctr"/>
            <a:r>
              <a:rPr lang="en-US" sz="1500" dirty="0">
                <a:solidFill>
                  <a:srgbClr val="002060"/>
                </a:solidFill>
              </a:rPr>
              <a:t>Missed focal lesion (‘physiologic </a:t>
            </a:r>
            <a:r>
              <a:rPr lang="en-US" sz="1500" dirty="0" err="1">
                <a:solidFill>
                  <a:srgbClr val="002060"/>
                </a:solidFill>
              </a:rPr>
              <a:t>miss’</a:t>
            </a:r>
            <a:r>
              <a:rPr lang="en-US" sz="1500" dirty="0">
                <a:solidFill>
                  <a:srgbClr val="002060"/>
                </a:solidFill>
              </a:rPr>
              <a:t>), stent related, </a:t>
            </a:r>
            <a:r>
              <a:rPr lang="en-US" sz="1400" dirty="0">
                <a:solidFill>
                  <a:srgbClr val="002060"/>
                </a:solidFill>
              </a:rPr>
              <a:t>diffuse disease</a:t>
            </a:r>
            <a:endParaRPr lang="en-US" sz="1350" dirty="0">
              <a:solidFill>
                <a:srgbClr val="00206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431019F-20C4-4D0D-9E49-59B266DDBF8A}"/>
              </a:ext>
            </a:extLst>
          </p:cNvPr>
          <p:cNvSpPr/>
          <p:nvPr/>
        </p:nvSpPr>
        <p:spPr>
          <a:xfrm>
            <a:off x="1657350" y="3306535"/>
            <a:ext cx="5657850" cy="10287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i="1" dirty="0">
                <a:solidFill>
                  <a:srgbClr val="002060"/>
                </a:solidFill>
              </a:rPr>
              <a:t>What is the impact of residual ischemia on patient outcomes?</a:t>
            </a:r>
            <a:r>
              <a:rPr lang="en-US" sz="1350" b="1" i="1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n-US" sz="1500" dirty="0">
                <a:solidFill>
                  <a:srgbClr val="002060"/>
                </a:solidFill>
              </a:rPr>
              <a:t>MACE, recurrent angina, and quality of life</a:t>
            </a:r>
          </a:p>
          <a:p>
            <a:pPr algn="ctr"/>
            <a:r>
              <a:rPr lang="en-US" sz="1350" i="1" dirty="0">
                <a:solidFill>
                  <a:srgbClr val="002060"/>
                </a:solidFill>
              </a:rPr>
              <a:t>(ongoing follow-up)</a:t>
            </a:r>
          </a:p>
          <a:p>
            <a:pPr algn="ctr"/>
            <a:endParaRPr lang="en-US" sz="1350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EF48FB-604A-4A75-B6FE-79E9E63ABFA0}"/>
              </a:ext>
            </a:extLst>
          </p:cNvPr>
          <p:cNvSpPr/>
          <p:nvPr/>
        </p:nvSpPr>
        <p:spPr>
          <a:xfrm>
            <a:off x="1074017" y="737235"/>
            <a:ext cx="66294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100" i="1" dirty="0">
                <a:solidFill>
                  <a:schemeClr val="bg2"/>
                </a:solidFill>
              </a:rPr>
              <a:t>How often do patients leave the cardiac </a:t>
            </a:r>
            <a:r>
              <a:rPr lang="en-US" sz="2100" i="1" dirty="0" err="1">
                <a:solidFill>
                  <a:schemeClr val="bg2"/>
                </a:solidFill>
              </a:rPr>
              <a:t>cath</a:t>
            </a:r>
            <a:r>
              <a:rPr lang="en-US" sz="2100" i="1" dirty="0">
                <a:solidFill>
                  <a:schemeClr val="bg2"/>
                </a:solidFill>
              </a:rPr>
              <a:t> lab with significant residual ischemia (i.e. </a:t>
            </a:r>
            <a:r>
              <a:rPr lang="en-US" sz="2100" i="1" dirty="0" err="1">
                <a:solidFill>
                  <a:schemeClr val="bg2"/>
                </a:solidFill>
              </a:rPr>
              <a:t>iFR</a:t>
            </a:r>
            <a:r>
              <a:rPr lang="en-US" sz="2100" i="1" dirty="0">
                <a:solidFill>
                  <a:schemeClr val="bg2"/>
                </a:solidFill>
              </a:rPr>
              <a:t> ≤0.89), despite angiographically satisfactory results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A0AB53-24BB-49DC-88CF-F8BA2016B08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4694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1554808" y="685800"/>
            <a:ext cx="6048672" cy="1371600"/>
          </a:xfrm>
          <a:solidFill>
            <a:schemeClr val="tx2"/>
          </a:solidFill>
        </p:spPr>
        <p:txBody>
          <a:bodyPr/>
          <a:lstStyle/>
          <a:p>
            <a:pPr marL="0" indent="0" algn="ctr">
              <a:buNone/>
            </a:pPr>
            <a:r>
              <a:rPr lang="en-US" sz="1800" b="1" u="sng" dirty="0">
                <a:solidFill>
                  <a:schemeClr val="bg1"/>
                </a:solidFill>
                <a:latin typeface="+mn-lt"/>
              </a:rPr>
              <a:t>Primary Endpoint</a:t>
            </a:r>
          </a:p>
          <a:p>
            <a:r>
              <a:rPr lang="en-US" sz="1800" dirty="0">
                <a:solidFill>
                  <a:schemeClr val="bg1"/>
                </a:solidFill>
                <a:latin typeface="+mn-lt"/>
              </a:rPr>
              <a:t>Rate of residual ischemia (</a:t>
            </a:r>
            <a:r>
              <a:rPr lang="en-US" sz="1800" dirty="0" err="1">
                <a:solidFill>
                  <a:schemeClr val="bg1"/>
                </a:solidFill>
                <a:latin typeface="+mn-lt"/>
              </a:rPr>
              <a:t>iFR</a:t>
            </a:r>
            <a:r>
              <a:rPr lang="en-US" sz="1800" i="1" dirty="0">
                <a:solidFill>
                  <a:schemeClr val="bg2"/>
                </a:solidFill>
              </a:rPr>
              <a:t> </a:t>
            </a:r>
            <a:r>
              <a:rPr lang="en-US" sz="1800" dirty="0">
                <a:solidFill>
                  <a:schemeClr val="bg2"/>
                </a:solidFill>
              </a:rPr>
              <a:t>≤</a:t>
            </a:r>
            <a:r>
              <a:rPr lang="en-US" sz="1800" dirty="0">
                <a:solidFill>
                  <a:schemeClr val="bg1"/>
                </a:solidFill>
                <a:latin typeface="+mn-lt"/>
              </a:rPr>
              <a:t>0.89) after operator-assessed angiographically successful PCI (residual DS&lt;50% in any treated lesion)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1319064" y="-106136"/>
            <a:ext cx="6172200" cy="857250"/>
          </a:xfrm>
        </p:spPr>
        <p:txBody>
          <a:bodyPr>
            <a:normAutofit/>
          </a:bodyPr>
          <a:lstStyle/>
          <a:p>
            <a:pPr algn="ctr"/>
            <a:r>
              <a:rPr lang="en-US" sz="2800" dirty="0">
                <a:solidFill>
                  <a:srgbClr val="002060"/>
                </a:solidFill>
              </a:rPr>
              <a:t>Study Endpoints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A0793667-C307-41F7-B7CE-DF560071307E}"/>
              </a:ext>
            </a:extLst>
          </p:cNvPr>
          <p:cNvSpPr txBox="1">
            <a:spLocks/>
          </p:cNvSpPr>
          <p:nvPr/>
        </p:nvSpPr>
        <p:spPr>
          <a:xfrm>
            <a:off x="1547664" y="2171700"/>
            <a:ext cx="6048672" cy="23431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u="sng" dirty="0">
                <a:solidFill>
                  <a:srgbClr val="002060"/>
                </a:solidFill>
              </a:rPr>
              <a:t>Secondary Endpoints</a:t>
            </a:r>
          </a:p>
          <a:p>
            <a:r>
              <a:rPr lang="en-US" sz="1600" dirty="0">
                <a:solidFill>
                  <a:srgbClr val="002060"/>
                </a:solidFill>
              </a:rPr>
              <a:t>Correlation between </a:t>
            </a:r>
            <a:r>
              <a:rPr lang="en-US" sz="1600" dirty="0" err="1">
                <a:solidFill>
                  <a:srgbClr val="002060"/>
                </a:solidFill>
              </a:rPr>
              <a:t>iFR</a:t>
            </a:r>
            <a:r>
              <a:rPr lang="en-US" sz="1600" dirty="0">
                <a:solidFill>
                  <a:srgbClr val="002060"/>
                </a:solidFill>
              </a:rPr>
              <a:t> ≤0.89 and  coronary stenosis &gt;50% </a:t>
            </a:r>
          </a:p>
          <a:p>
            <a:r>
              <a:rPr lang="en-US" sz="1600" dirty="0">
                <a:solidFill>
                  <a:srgbClr val="002060"/>
                </a:solidFill>
              </a:rPr>
              <a:t>Differentiation of the cause for impaired </a:t>
            </a:r>
            <a:r>
              <a:rPr lang="en-US" sz="1600" dirty="0" err="1">
                <a:solidFill>
                  <a:srgbClr val="002060"/>
                </a:solidFill>
              </a:rPr>
              <a:t>iFR</a:t>
            </a:r>
            <a:r>
              <a:rPr lang="en-US" sz="1600" dirty="0">
                <a:solidFill>
                  <a:srgbClr val="002060"/>
                </a:solidFill>
              </a:rPr>
              <a:t> (categorized as stent related, distant focal stenosis, or diffuse atherosclerosis)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oportion of cases in which the </a:t>
            </a:r>
            <a:r>
              <a:rPr lang="en-US" sz="1600" dirty="0" err="1">
                <a:solidFill>
                  <a:srgbClr val="002060"/>
                </a:solidFill>
              </a:rPr>
              <a:t>iFR</a:t>
            </a:r>
            <a:r>
              <a:rPr lang="en-US" sz="1600" dirty="0">
                <a:solidFill>
                  <a:srgbClr val="002060"/>
                </a:solidFill>
              </a:rPr>
              <a:t> would become non-significant if a focal stenosis demonstrated by </a:t>
            </a:r>
            <a:r>
              <a:rPr lang="en-US" sz="1600" dirty="0" err="1">
                <a:solidFill>
                  <a:srgbClr val="002060"/>
                </a:solidFill>
              </a:rPr>
              <a:t>iFR</a:t>
            </a:r>
            <a:r>
              <a:rPr lang="en-US" sz="1600" dirty="0">
                <a:solidFill>
                  <a:srgbClr val="002060"/>
                </a:solidFill>
              </a:rPr>
              <a:t> pullback were treated with PCI</a:t>
            </a:r>
          </a:p>
          <a:p>
            <a:r>
              <a:rPr lang="en-US" sz="1600" dirty="0">
                <a:solidFill>
                  <a:srgbClr val="002060"/>
                </a:solidFill>
              </a:rPr>
              <a:t>Predictors of impaired post PCI </a:t>
            </a:r>
            <a:r>
              <a:rPr lang="en-US" sz="1600" dirty="0" err="1">
                <a:solidFill>
                  <a:srgbClr val="002060"/>
                </a:solidFill>
              </a:rPr>
              <a:t>iFR</a:t>
            </a:r>
            <a:endParaRPr lang="en-US" sz="16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0F9092-49A2-4017-A1A4-64C483A3255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373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300557C5-1163-41F4-97EE-EE2754BDA900}"/>
              </a:ext>
            </a:extLst>
          </p:cNvPr>
          <p:cNvSpPr txBox="1">
            <a:spLocks noChangeArrowheads="1"/>
          </p:cNvSpPr>
          <p:nvPr/>
        </p:nvSpPr>
        <p:spPr>
          <a:xfrm>
            <a:off x="2113020" y="89806"/>
            <a:ext cx="6753394" cy="489040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/>
          <a:lstStyle>
            <a:lvl1pPr marL="342900" indent="-342900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10000"/>
              <a:buChar char="•"/>
              <a:defRPr sz="3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 2" pitchFamily="18" charset="2"/>
              <a:buChar char="¡"/>
              <a:defRPr sz="28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fontAlgn="base">
              <a:spcBef>
                <a:spcPct val="30000"/>
              </a:spcBef>
              <a:spcAft>
                <a:spcPct val="0"/>
              </a:spcAft>
              <a:buChar char="•"/>
              <a:defRPr sz="24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fontAlgn="base">
              <a:spcBef>
                <a:spcPct val="30000"/>
              </a:spcBef>
              <a:spcAft>
                <a:spcPct val="0"/>
              </a:spcAft>
              <a:buChar char="–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fontAlgn="base">
              <a:spcBef>
                <a:spcPct val="3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3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3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3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3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Study Chairm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Gregg W. Stone, Columbia University Medical Center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endParaRPr lang="en-US" sz="600" b="0" kern="0" dirty="0">
              <a:solidFill>
                <a:srgbClr val="FDE25E">
                  <a:lumMod val="75000"/>
                </a:srgbClr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Principal Investigator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Allen Jeremias, St. Francis Hospital, Roslyn, N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Justin Davies, Imperial College Lond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Manesh Patel, Duke Health Care System</a:t>
            </a:r>
          </a:p>
          <a:p>
            <a:pPr marL="342900" lvl="1" indent="0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endParaRPr lang="en-US" sz="600" b="0" kern="0" dirty="0">
              <a:solidFill>
                <a:srgbClr val="FFFFFF"/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Steering Committe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Habib </a:t>
            </a:r>
            <a:r>
              <a:rPr lang="en-US" sz="1400" b="0" kern="0" dirty="0" err="1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Samady</a:t>
            </a: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, Emory Universit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Andrew Sharp, Royal Devon and Exet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Arnold Seto, VAMC, Long Beach, CA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endParaRPr lang="en-US" sz="600" b="0" kern="0" dirty="0">
              <a:solidFill>
                <a:srgbClr val="FFFFFF"/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Clinical Events Committee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Cardiovascular Research Foundation, New York, NY; Steven O. Marx, MD, chair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endParaRPr lang="en-US" sz="600" b="0" kern="0" dirty="0">
              <a:solidFill>
                <a:srgbClr val="FFFFFF"/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Physiology Core Laborator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Allen Jeremias, Cardiovascular Research Foundation, New York, N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Akiko Maehara, Cardiovascular Research Foundation, New York, N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Mitsuaki Matsumura, Cardiovascular Research Foundation, New York, N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endParaRPr lang="en-US" sz="600" b="0" kern="0" dirty="0">
              <a:solidFill>
                <a:srgbClr val="FFFFFF"/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Angiography Core Laborator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Ziad Ali, Cardiovascular Research Foundation, New York, NY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endParaRPr lang="en-US" sz="600" b="0" kern="0" dirty="0">
              <a:solidFill>
                <a:srgbClr val="FFFFFF"/>
              </a:solidFill>
              <a:effectLst/>
              <a:cs typeface="Arial" panose="020B0604020202020204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buNone/>
              <a:defRPr/>
            </a:pPr>
            <a:r>
              <a:rPr lang="en-US" sz="1400" kern="0" dirty="0">
                <a:effectLst/>
                <a:cs typeface="Arial" panose="020B0604020202020204" pitchFamily="34" charset="0"/>
              </a:rPr>
              <a:t>Sponso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DE25E"/>
              </a:buClr>
              <a:defRPr/>
            </a:pPr>
            <a:r>
              <a:rPr lang="en-US" sz="1400" b="0" kern="0" dirty="0">
                <a:solidFill>
                  <a:srgbClr val="FFFFFF"/>
                </a:solidFill>
                <a:effectLst/>
                <a:cs typeface="Arial" panose="020B0604020202020204" pitchFamily="34" charset="0"/>
              </a:rPr>
              <a:t>Philips/Volcano, Amsterdam, The Netherland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52EBDCB-40B4-442A-8CE1-74C08562A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8923" y="1677759"/>
            <a:ext cx="2406934" cy="857250"/>
          </a:xfrm>
        </p:spPr>
        <p:txBody>
          <a:bodyPr>
            <a:normAutofit/>
          </a:bodyPr>
          <a:lstStyle/>
          <a:p>
            <a:pPr algn="ctr"/>
            <a:r>
              <a:rPr lang="en-US" sz="2400" dirty="0">
                <a:solidFill>
                  <a:srgbClr val="002060"/>
                </a:solidFill>
                <a:latin typeface="+mj-lt"/>
              </a:rPr>
              <a:t>Study </a:t>
            </a:r>
            <a:br>
              <a:rPr lang="en-US" sz="2400" dirty="0">
                <a:solidFill>
                  <a:srgbClr val="002060"/>
                </a:solidFill>
                <a:latin typeface="+mj-lt"/>
              </a:rPr>
            </a:br>
            <a:r>
              <a:rPr lang="en-US" sz="2400" dirty="0">
                <a:solidFill>
                  <a:srgbClr val="002060"/>
                </a:solidFill>
                <a:latin typeface="+mj-lt"/>
              </a:rPr>
              <a:t>Leader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735DAC-6DAB-4F1F-A014-F09746D3D50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6" y="108265"/>
            <a:ext cx="1586594" cy="257588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802930" y="1071039"/>
            <a:ext cx="1324550" cy="5155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 err="1"/>
              <a:t>iFR</a:t>
            </a:r>
            <a:r>
              <a:rPr lang="en-US" sz="1350" b="1" dirty="0"/>
              <a:t> ≤0.89 in 1 or more vess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86373" y="1858402"/>
            <a:ext cx="1390391" cy="7155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/>
              <a:t>PCI of all vessels with abnormal baseline </a:t>
            </a:r>
            <a:r>
              <a:rPr lang="en-US" sz="1350" b="1" dirty="0" err="1"/>
              <a:t>iFR</a:t>
            </a:r>
            <a:endParaRPr lang="en-US" sz="135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86373" y="2897148"/>
            <a:ext cx="1390391" cy="71558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/>
              <a:t>Angiographic confirmation of PCI resul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75988" y="3885854"/>
            <a:ext cx="1611161" cy="92333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/>
              <a:t>Blinded </a:t>
            </a:r>
            <a:r>
              <a:rPr lang="en-US" sz="1350" b="1" dirty="0" err="1"/>
              <a:t>iFR</a:t>
            </a:r>
            <a:r>
              <a:rPr lang="en-US" sz="1350" b="1" dirty="0"/>
              <a:t> and blinded </a:t>
            </a:r>
            <a:r>
              <a:rPr lang="en-US" sz="1350" b="1" dirty="0" err="1"/>
              <a:t>iFR</a:t>
            </a:r>
            <a:r>
              <a:rPr lang="en-US" sz="1350" b="1" dirty="0"/>
              <a:t> pullback at end of procedu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36636" y="979646"/>
            <a:ext cx="2309779" cy="36009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   Inclusion Criteria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500" dirty="0"/>
              <a:t>Pts with stable or unstable angina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500" dirty="0"/>
              <a:t>Lesions of ≥40% angiographic severit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500" dirty="0"/>
              <a:t>Single vessel CAD with long lesion (≥20 mm), multi-lesion CAD of a single vessel or multi-vessel CAD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500" dirty="0"/>
              <a:t>Pre-PCI </a:t>
            </a:r>
            <a:r>
              <a:rPr lang="en-US" sz="1500" dirty="0" err="1"/>
              <a:t>iFR</a:t>
            </a:r>
            <a:r>
              <a:rPr lang="en-US" sz="1500" dirty="0"/>
              <a:t> performed in all vessels with angiographic lesion severity of ≥40%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500" dirty="0"/>
          </a:p>
        </p:txBody>
      </p:sp>
      <p:cxnSp>
        <p:nvCxnSpPr>
          <p:cNvPr id="12" name="Straight Arrow Connector 11"/>
          <p:cNvCxnSpPr>
            <a:cxnSpLocks/>
          </p:cNvCxnSpPr>
          <p:nvPr/>
        </p:nvCxnSpPr>
        <p:spPr>
          <a:xfrm>
            <a:off x="4481568" y="1568947"/>
            <a:ext cx="0" cy="25985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cxnSpLocks/>
            <a:stCxn id="7" idx="2"/>
          </p:cNvCxnSpPr>
          <p:nvPr/>
        </p:nvCxnSpPr>
        <p:spPr>
          <a:xfrm flipH="1">
            <a:off x="4481568" y="2573983"/>
            <a:ext cx="1" cy="34066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481568" y="3600450"/>
            <a:ext cx="0" cy="28540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19F30458-270E-4E65-ABD5-F876A81D109C}"/>
              </a:ext>
            </a:extLst>
          </p:cNvPr>
          <p:cNvSpPr txBox="1"/>
          <p:nvPr/>
        </p:nvSpPr>
        <p:spPr>
          <a:xfrm>
            <a:off x="1427258" y="500944"/>
            <a:ext cx="6164111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75" b="1" dirty="0">
                <a:solidFill>
                  <a:srgbClr val="002060"/>
                </a:solidFill>
              </a:rPr>
              <a:t>International, prospective, observational multi-center study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EDD9DD5-DB9D-41A9-8709-A998C92B99B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789" y="93728"/>
            <a:ext cx="2417050" cy="39241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874DFF6-210D-4C65-A479-B0D1DF8874DD}"/>
              </a:ext>
            </a:extLst>
          </p:cNvPr>
          <p:cNvSpPr txBox="1"/>
          <p:nvPr/>
        </p:nvSpPr>
        <p:spPr>
          <a:xfrm>
            <a:off x="5806118" y="896618"/>
            <a:ext cx="2309779" cy="406265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   Exclusion Criteria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STEMI within past 7 days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Cardiogenic shock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Ventricular arrhythmias 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Prior CABG 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CTO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EF &lt; 30%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Severe valvular heart disease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TIMI flow &lt;3 at baseline or post PCI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Intra-coronary thrombus on baseline angiography</a:t>
            </a:r>
          </a:p>
          <a:p>
            <a:pPr marL="257175" indent="-257175">
              <a:buFont typeface="Arial" charset="0"/>
              <a:buChar char="•"/>
            </a:pPr>
            <a:r>
              <a:rPr lang="en-US" sz="1500" dirty="0"/>
              <a:t>Procedural complications</a:t>
            </a:r>
          </a:p>
        </p:txBody>
      </p:sp>
    </p:spTree>
    <p:extLst>
      <p:ext uri="{BB962C8B-B14F-4D97-AF65-F5344CB8AC3E}">
        <p14:creationId xmlns:p14="http://schemas.microsoft.com/office/powerpoint/2010/main" val="5486569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008D8B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schemas.microsoft.com/sharepoint/v3/field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808</TotalTime>
  <Words>1931</Words>
  <Application>Microsoft Office PowerPoint</Application>
  <PresentationFormat>On-screen Show (16:9)</PresentationFormat>
  <Paragraphs>439</Paragraphs>
  <Slides>28</Slides>
  <Notes>3</Notes>
  <HiddenSlides>0</HiddenSlides>
  <MMClips>2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Arial Narrow</vt:lpstr>
      <vt:lpstr>Calibri</vt:lpstr>
      <vt:lpstr>Calibri Light</vt:lpstr>
      <vt:lpstr>Helvetica</vt:lpstr>
      <vt:lpstr>Wingdings</vt:lpstr>
      <vt:lpstr>Wingdings 2</vt:lpstr>
      <vt:lpstr>Office Theme</vt:lpstr>
      <vt:lpstr>Custom Design</vt:lpstr>
      <vt:lpstr>think-cell Slide</vt:lpstr>
      <vt:lpstr>PowerPoint Presentation</vt:lpstr>
      <vt:lpstr>Disclosure Statement of Financial Interest</vt:lpstr>
      <vt:lpstr>PowerPoint Presentation</vt:lpstr>
      <vt:lpstr>PowerPoint Presentation</vt:lpstr>
      <vt:lpstr>PowerPoint Presentation</vt:lpstr>
      <vt:lpstr>Study Objectives</vt:lpstr>
      <vt:lpstr>Study Endpoints</vt:lpstr>
      <vt:lpstr>Study  Leadershi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mitations</vt:lpstr>
      <vt:lpstr>Conclus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Allen Jeremias</cp:lastModifiedBy>
  <cp:revision>141</cp:revision>
  <dcterms:created xsi:type="dcterms:W3CDTF">2010-04-12T23:12:02Z</dcterms:created>
  <dcterms:modified xsi:type="dcterms:W3CDTF">2019-03-17T16:41:4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